
<file path=[Content_Types].xml><?xml version="1.0" encoding="utf-8"?>
<Types xmlns="http://schemas.openxmlformats.org/package/2006/content-types">
  <Default Extension="bin" ContentType="application/vnd.openxmlformats-officedocument.oleObject"/>
  <Default Extension="emf" ContentType="image/x-emf"/>
  <Default Extension="png" ContentType="image/png"/>
  <Default Extension="rels" ContentType="application/vnd.openxmlformats-package.relationships+xml"/>
  <Default Extension="svg" ContentType="image/svg+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tags/tag4.xml" ContentType="application/vnd.openxmlformats-officedocument.presentationml.tags+xml"/>
  <Override PartName="/ppt/notesSlides/notesSlide1.xml" ContentType="application/vnd.openxmlformats-officedocument.presentationml.notesSlide+xml"/>
  <Override PartName="/ppt/tags/tag5.xml" ContentType="application/vnd.openxmlformats-officedocument.presentationml.tags+xml"/>
  <Override PartName="/ppt/tags/tag6.xml" ContentType="application/vnd.openxmlformats-officedocument.presentationml.tags+xml"/>
  <Override PartName="/ppt/notesSlides/notesSlide2.xml" ContentType="application/vnd.openxmlformats-officedocument.presentationml.notesSlide+xml"/>
  <Override PartName="/ppt/tags/tag7.xml" ContentType="application/vnd.openxmlformats-officedocument.presentationml.tags+xml"/>
  <Override PartName="/ppt/tags/tag8.xml" ContentType="application/vnd.openxmlformats-officedocument.presentationml.tags+xml"/>
  <Override PartName="/ppt/notesSlides/notesSlide3.xml" ContentType="application/vnd.openxmlformats-officedocument.presentationml.notesSlide+xml"/>
  <Override PartName="/ppt/tags/tag9.xml" ContentType="application/vnd.openxmlformats-officedocument.presentationml.tags+xml"/>
  <Override PartName="/ppt/tags/tag10.xml" ContentType="application/vnd.openxmlformats-officedocument.presentationml.tags+xml"/>
  <Override PartName="/ppt/notesSlides/notesSlide4.xml" ContentType="application/vnd.openxmlformats-officedocument.presentationml.notesSlide+xml"/>
  <Override PartName="/ppt/tags/tag11.xml" ContentType="application/vnd.openxmlformats-officedocument.presentationml.tags+xml"/>
  <Override PartName="/ppt/tags/tag12.xml" ContentType="application/vnd.openxmlformats-officedocument.presentationml.tags+xml"/>
  <Override PartName="/ppt/notesSlides/notesSlide5.xml" ContentType="application/vnd.openxmlformats-officedocument.presentationml.notesSlide+xml"/>
  <Override PartName="/ppt/tags/tag13.xml" ContentType="application/vnd.openxmlformats-officedocument.presentationml.tags+xml"/>
  <Override PartName="/ppt/tags/tag14.xml" ContentType="application/vnd.openxmlformats-officedocument.presentationml.tags+xml"/>
  <Override PartName="/ppt/notesSlides/notesSlide6.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ags/tag15.xml" ContentType="application/vnd.openxmlformats-officedocument.presentationml.tags+xml"/>
  <Override PartName="/ppt/tags/tag16.xml" ContentType="application/vnd.openxmlformats-officedocument.presentationml.tags+xml"/>
  <Override PartName="/ppt/notesSlides/notesSlide7.xml" ContentType="application/vnd.openxmlformats-officedocument.presentationml.notesSl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tags/tag17.xml" ContentType="application/vnd.openxmlformats-officedocument.presentationml.tags+xml"/>
  <Override PartName="/ppt/tags/tag18.xml" ContentType="application/vnd.openxmlformats-officedocument.presentationml.tags+xml"/>
  <Override PartName="/ppt/notesSlides/notesSlide8.xml" ContentType="application/vnd.openxmlformats-officedocument.presentationml.notesSlid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drawings/drawing1.xml" ContentType="application/vnd.openxmlformats-officedocument.drawingml.chartshapes+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p:sldMasterIdLst>
    <p:sldMasterId id="2147483915" r:id="rId4"/>
  </p:sldMasterIdLst>
  <p:notesMasterIdLst>
    <p:notesMasterId r:id="rId14"/>
  </p:notesMasterIdLst>
  <p:sldIdLst>
    <p:sldId id="2145707094" r:id="rId5"/>
    <p:sldId id="2145707093" r:id="rId6"/>
    <p:sldId id="2145707129" r:id="rId7"/>
    <p:sldId id="2145707097" r:id="rId8"/>
    <p:sldId id="2145707105" r:id="rId9"/>
    <p:sldId id="2145707096" r:id="rId10"/>
    <p:sldId id="2145707100" r:id="rId11"/>
    <p:sldId id="2145707101" r:id="rId12"/>
    <p:sldId id="2145707130" r:id="rId13"/>
  </p:sldIdLst>
  <p:sldSz cx="12192000" cy="6858000"/>
  <p:notesSz cx="6807200" cy="9939338"/>
  <p:custDataLst>
    <p:tags r:id="rId15"/>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Main" id="{BE6D6636-5690-482B-8E4B-0EDDD92399A1}">
          <p14:sldIdLst>
            <p14:sldId id="2145707094"/>
            <p14:sldId id="2145707093"/>
            <p14:sldId id="2145707129"/>
            <p14:sldId id="2145707097"/>
            <p14:sldId id="2145707105"/>
            <p14:sldId id="2145707096"/>
            <p14:sldId id="2145707100"/>
            <p14:sldId id="2145707101"/>
            <p14:sldId id="2145707130"/>
          </p14:sldIdLst>
        </p14:section>
      </p14:sectionLst>
    </p:ext>
    <p:ext uri="{EFAFB233-063F-42B5-8137-9DF3F51BA10A}">
      <p15:sldGuideLst xmlns:p15="http://schemas.microsoft.com/office/powerpoint/2012/main">
        <p15:guide id="1" pos="3840" userDrawn="1">
          <p15:clr>
            <a:srgbClr val="A4A3A4"/>
          </p15:clr>
        </p15:guide>
        <p15:guide id="2" orient="horz" pos="2319"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Author" initials="A" lastIdx="20" clrIdx="0"/>
  <p:cmAuthor id="2" name="Jiang, Abi" initials="JA" lastIdx="1" clrIdx="1">
    <p:extLst>
      <p:ext uri="{19B8F6BF-5375-455C-9EA6-DF929625EA0E}">
        <p15:presenceInfo xmlns:p15="http://schemas.microsoft.com/office/powerpoint/2012/main" userId="S::xuanzhu.jiang@takeda.com::4c4697c9-796b-4a70-bf01-c40b4d7a63d9"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EF6F6"/>
    <a:srgbClr val="F0EFEF"/>
    <a:srgbClr val="FCE8E8"/>
    <a:srgbClr val="FDF1F2"/>
    <a:srgbClr val="1A1918"/>
    <a:srgbClr val="891515"/>
    <a:srgbClr val="F2F2F2"/>
    <a:srgbClr val="FDEDEE"/>
    <a:srgbClr val="FEFEEC"/>
    <a:srgbClr val="E95F64"/>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C631DD25-C541-475B-9DDE-ACCC3056B274}" v="8" dt="2023-07-14T02:36:52.577"/>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3B4B98B0-60AC-42C2-AFA5-B58CD77FA1E5}" styleName="浅色样式 1 - 强调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C083E6E3-FA7D-4D7B-A595-EF9225AFEA82}" styleName="浅色样式 1 - 强调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0E3FDE45-AF77-4B5C-9715-49D594BDF05E}" styleName="浅色样式 1 - 强调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5940675A-B579-460E-94D1-54222C63F5DA}" styleName="无样式，网格型">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8621" autoAdjust="0"/>
    <p:restoredTop sz="96349" autoAdjust="0"/>
  </p:normalViewPr>
  <p:slideViewPr>
    <p:cSldViewPr snapToGrid="0">
      <p:cViewPr varScale="1">
        <p:scale>
          <a:sx n="114" d="100"/>
          <a:sy n="114" d="100"/>
        </p:scale>
        <p:origin x="840" y="96"/>
      </p:cViewPr>
      <p:guideLst>
        <p:guide pos="3840"/>
        <p:guide orient="horz" pos="2319"/>
      </p:guideLst>
    </p:cSldViewPr>
  </p:slideViewPr>
  <p:notesTextViewPr>
    <p:cViewPr>
      <p:scale>
        <a:sx n="3" d="2"/>
        <a:sy n="3" d="2"/>
      </p:scale>
      <p:origin x="0" y="0"/>
    </p:cViewPr>
  </p:notesTextViewPr>
  <p:sorterViewPr>
    <p:cViewPr>
      <p:scale>
        <a:sx n="80" d="100"/>
        <a:sy n="80" d="100"/>
      </p:scale>
      <p:origin x="0" y="0"/>
    </p:cViewPr>
  </p:sorterViewPr>
  <p:notesViewPr>
    <p:cSldViewPr snapToGrid="0">
      <p:cViewPr>
        <p:scale>
          <a:sx n="1" d="2"/>
          <a:sy n="1" d="2"/>
        </p:scale>
        <p:origin x="5328" y="1400"/>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viewProps" Target="viewProps.xml"/><Relationship Id="rId3" Type="http://schemas.openxmlformats.org/officeDocument/2006/relationships/customXml" Target="../customXml/item3.xml"/><Relationship Id="rId21" Type="http://schemas.microsoft.com/office/2016/11/relationships/changesInfo" Target="changesInfos/changesInfo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commentAuthors" Target="commentAuthors.xml"/><Relationship Id="rId20"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5" Type="http://schemas.openxmlformats.org/officeDocument/2006/relationships/slide" Target="slides/slide1.xml"/><Relationship Id="rId15" Type="http://schemas.openxmlformats.org/officeDocument/2006/relationships/tags" Target="tags/tag1.xml"/><Relationship Id="rId10" Type="http://schemas.openxmlformats.org/officeDocument/2006/relationships/slide" Target="slides/slide6.xml"/><Relationship Id="rId19"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notesMaster" Target="notesMasters/notesMaster1.xml"/><Relationship Id="rId22" Type="http://schemas.microsoft.com/office/2015/10/relationships/revisionInfo" Target="revisionInfo.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Sheng, Yanan" userId="a8f760e9-50c6-421d-9788-7991509e9b00" providerId="ADAL" clId="{CE83D114-1C90-4F39-8D42-4D8D4E384834}"/>
    <pc:docChg chg="undo redo custSel addSld delSld modSld sldOrd modMainMaster modSection">
      <pc:chgData name="Sheng, Yanan" userId="a8f760e9-50c6-421d-9788-7991509e9b00" providerId="ADAL" clId="{CE83D114-1C90-4F39-8D42-4D8D4E384834}" dt="2023-07-07T07:32:50.925" v="6651" actId="1076"/>
      <pc:docMkLst>
        <pc:docMk/>
      </pc:docMkLst>
      <pc:sldChg chg="delSp modSp mod">
        <pc:chgData name="Sheng, Yanan" userId="a8f760e9-50c6-421d-9788-7991509e9b00" providerId="ADAL" clId="{CE83D114-1C90-4F39-8D42-4D8D4E384834}" dt="2023-07-02T06:55:31.188" v="4853" actId="207"/>
        <pc:sldMkLst>
          <pc:docMk/>
          <pc:sldMk cId="154888229" sldId="2145707093"/>
        </pc:sldMkLst>
        <pc:spChg chg="mod">
          <ac:chgData name="Sheng, Yanan" userId="a8f760e9-50c6-421d-9788-7991509e9b00" providerId="ADAL" clId="{CE83D114-1C90-4F39-8D42-4D8D4E384834}" dt="2023-07-02T06:55:22.718" v="4851" actId="207"/>
          <ac:spMkLst>
            <pc:docMk/>
            <pc:sldMk cId="154888229" sldId="2145707093"/>
            <ac:spMk id="5" creationId="{ECDC47DE-77D6-426C-B817-B00C44E8D1B1}"/>
          </ac:spMkLst>
        </pc:spChg>
        <pc:spChg chg="mod">
          <ac:chgData name="Sheng, Yanan" userId="a8f760e9-50c6-421d-9788-7991509e9b00" providerId="ADAL" clId="{CE83D114-1C90-4F39-8D42-4D8D4E384834}" dt="2023-07-02T06:55:27.217" v="4852" actId="207"/>
          <ac:spMkLst>
            <pc:docMk/>
            <pc:sldMk cId="154888229" sldId="2145707093"/>
            <ac:spMk id="7" creationId="{E5B49FAA-B59E-43F7-87A7-F2E7CD5F1AAD}"/>
          </ac:spMkLst>
        </pc:spChg>
        <pc:spChg chg="mod">
          <ac:chgData name="Sheng, Yanan" userId="a8f760e9-50c6-421d-9788-7991509e9b00" providerId="ADAL" clId="{CE83D114-1C90-4F39-8D42-4D8D4E384834}" dt="2023-07-02T06:55:27.217" v="4852" actId="207"/>
          <ac:spMkLst>
            <pc:docMk/>
            <pc:sldMk cId="154888229" sldId="2145707093"/>
            <ac:spMk id="9" creationId="{ACAA8949-3B4B-4C1F-9EFF-DF66223B8E3F}"/>
          </ac:spMkLst>
        </pc:spChg>
        <pc:spChg chg="mod">
          <ac:chgData name="Sheng, Yanan" userId="a8f760e9-50c6-421d-9788-7991509e9b00" providerId="ADAL" clId="{CE83D114-1C90-4F39-8D42-4D8D4E384834}" dt="2023-06-14T02:58:12.873" v="983"/>
          <ac:spMkLst>
            <pc:docMk/>
            <pc:sldMk cId="154888229" sldId="2145707093"/>
            <ac:spMk id="10" creationId="{70CAD0C0-AFE6-425F-95FD-7026CD76ECBE}"/>
          </ac:spMkLst>
        </pc:spChg>
        <pc:spChg chg="mod">
          <ac:chgData name="Sheng, Yanan" userId="a8f760e9-50c6-421d-9788-7991509e9b00" providerId="ADAL" clId="{CE83D114-1C90-4F39-8D42-4D8D4E384834}" dt="2023-07-02T06:55:31.188" v="4853" actId="207"/>
          <ac:spMkLst>
            <pc:docMk/>
            <pc:sldMk cId="154888229" sldId="2145707093"/>
            <ac:spMk id="13" creationId="{AF0F697D-3C75-455D-9742-E7D44D79D22D}"/>
          </ac:spMkLst>
        </pc:spChg>
        <pc:spChg chg="mod">
          <ac:chgData name="Sheng, Yanan" userId="a8f760e9-50c6-421d-9788-7991509e9b00" providerId="ADAL" clId="{CE83D114-1C90-4F39-8D42-4D8D4E384834}" dt="2023-07-02T06:55:31.188" v="4853" actId="207"/>
          <ac:spMkLst>
            <pc:docMk/>
            <pc:sldMk cId="154888229" sldId="2145707093"/>
            <ac:spMk id="15" creationId="{A766C1DC-DA77-4D0C-8C63-D18266644097}"/>
          </ac:spMkLst>
        </pc:spChg>
        <pc:spChg chg="mod">
          <ac:chgData name="Sheng, Yanan" userId="a8f760e9-50c6-421d-9788-7991509e9b00" providerId="ADAL" clId="{CE83D114-1C90-4F39-8D42-4D8D4E384834}" dt="2023-06-14T02:58:09.616" v="981"/>
          <ac:spMkLst>
            <pc:docMk/>
            <pc:sldMk cId="154888229" sldId="2145707093"/>
            <ac:spMk id="16" creationId="{FB93AF8E-7686-4365-9E21-A8F9A86945E6}"/>
          </ac:spMkLst>
        </pc:spChg>
        <pc:spChg chg="del">
          <ac:chgData name="Sheng, Yanan" userId="a8f760e9-50c6-421d-9788-7991509e9b00" providerId="ADAL" clId="{CE83D114-1C90-4F39-8D42-4D8D4E384834}" dt="2023-06-14T02:58:18.850" v="984" actId="478"/>
          <ac:spMkLst>
            <pc:docMk/>
            <pc:sldMk cId="154888229" sldId="2145707093"/>
            <ac:spMk id="17" creationId="{92C1B03C-24E2-4E98-8C1E-65729AB6EE4E}"/>
          </ac:spMkLst>
        </pc:spChg>
        <pc:spChg chg="del mod">
          <ac:chgData name="Sheng, Yanan" userId="a8f760e9-50c6-421d-9788-7991509e9b00" providerId="ADAL" clId="{CE83D114-1C90-4F39-8D42-4D8D4E384834}" dt="2023-06-14T02:58:18.850" v="984" actId="478"/>
          <ac:spMkLst>
            <pc:docMk/>
            <pc:sldMk cId="154888229" sldId="2145707093"/>
            <ac:spMk id="19" creationId="{7D941139-3B8E-439E-8C2A-F7362AB561C6}"/>
          </ac:spMkLst>
        </pc:spChg>
      </pc:sldChg>
      <pc:sldChg chg="addSp delSp modSp mod">
        <pc:chgData name="Sheng, Yanan" userId="a8f760e9-50c6-421d-9788-7991509e9b00" providerId="ADAL" clId="{CE83D114-1C90-4F39-8D42-4D8D4E384834}" dt="2023-07-02T06:55:08.473" v="4850" actId="207"/>
        <pc:sldMkLst>
          <pc:docMk/>
          <pc:sldMk cId="2625315683" sldId="2145707094"/>
        </pc:sldMkLst>
        <pc:spChg chg="mod">
          <ac:chgData name="Sheng, Yanan" userId="a8f760e9-50c6-421d-9788-7991509e9b00" providerId="ADAL" clId="{CE83D114-1C90-4F39-8D42-4D8D4E384834}" dt="2023-07-02T06:24:52.432" v="4459" actId="1036"/>
          <ac:spMkLst>
            <pc:docMk/>
            <pc:sldMk cId="2625315683" sldId="2145707094"/>
            <ac:spMk id="2" creationId="{AC944321-26F5-5841-9833-529382AC16FD}"/>
          </ac:spMkLst>
        </pc:spChg>
        <pc:spChg chg="add del mod">
          <ac:chgData name="Sheng, Yanan" userId="a8f760e9-50c6-421d-9788-7991509e9b00" providerId="ADAL" clId="{CE83D114-1C90-4F39-8D42-4D8D4E384834}" dt="2023-06-30T08:13:31.267" v="2643" actId="21"/>
          <ac:spMkLst>
            <pc:docMk/>
            <pc:sldMk cId="2625315683" sldId="2145707094"/>
            <ac:spMk id="4" creationId="{BDA784FD-0636-65C1-8C3B-B9FB0FD3AAA9}"/>
          </ac:spMkLst>
        </pc:spChg>
        <pc:spChg chg="add del mod">
          <ac:chgData name="Sheng, Yanan" userId="a8f760e9-50c6-421d-9788-7991509e9b00" providerId="ADAL" clId="{CE83D114-1C90-4F39-8D42-4D8D4E384834}" dt="2023-07-02T06:20:04.874" v="4363" actId="21"/>
          <ac:spMkLst>
            <pc:docMk/>
            <pc:sldMk cId="2625315683" sldId="2145707094"/>
            <ac:spMk id="5" creationId="{2155D344-BEAA-AB96-0C01-20E85A360B78}"/>
          </ac:spMkLst>
        </pc:spChg>
        <pc:spChg chg="del mod">
          <ac:chgData name="Sheng, Yanan" userId="a8f760e9-50c6-421d-9788-7991509e9b00" providerId="ADAL" clId="{CE83D114-1C90-4F39-8D42-4D8D4E384834}" dt="2023-06-30T08:15:15.470" v="2657" actId="478"/>
          <ac:spMkLst>
            <pc:docMk/>
            <pc:sldMk cId="2625315683" sldId="2145707094"/>
            <ac:spMk id="6" creationId="{19FF0BCA-4E4F-A34B-BDAB-116134A2BF16}"/>
          </ac:spMkLst>
        </pc:spChg>
        <pc:spChg chg="add mod">
          <ac:chgData name="Sheng, Yanan" userId="a8f760e9-50c6-421d-9788-7991509e9b00" providerId="ADAL" clId="{CE83D114-1C90-4F39-8D42-4D8D4E384834}" dt="2023-07-02T06:24:59.032" v="4478" actId="1035"/>
          <ac:spMkLst>
            <pc:docMk/>
            <pc:sldMk cId="2625315683" sldId="2145707094"/>
            <ac:spMk id="6" creationId="{FA34178F-1F7C-BB3C-C72A-72B4158D82A0}"/>
          </ac:spMkLst>
        </pc:spChg>
        <pc:spChg chg="add mod">
          <ac:chgData name="Sheng, Yanan" userId="a8f760e9-50c6-421d-9788-7991509e9b00" providerId="ADAL" clId="{CE83D114-1C90-4F39-8D42-4D8D4E384834}" dt="2023-07-02T06:24:59.032" v="4478" actId="1035"/>
          <ac:spMkLst>
            <pc:docMk/>
            <pc:sldMk cId="2625315683" sldId="2145707094"/>
            <ac:spMk id="7" creationId="{925282B5-4CD9-99F0-CF80-D43A9DBE10D5}"/>
          </ac:spMkLst>
        </pc:spChg>
        <pc:spChg chg="add del mod">
          <ac:chgData name="Sheng, Yanan" userId="a8f760e9-50c6-421d-9788-7991509e9b00" providerId="ADAL" clId="{CE83D114-1C90-4F39-8D42-4D8D4E384834}" dt="2023-06-30T08:13:05.659" v="2633" actId="21"/>
          <ac:spMkLst>
            <pc:docMk/>
            <pc:sldMk cId="2625315683" sldId="2145707094"/>
            <ac:spMk id="7" creationId="{BBA75B63-971B-1632-4F55-ADC7398FA8AE}"/>
          </ac:spMkLst>
        </pc:spChg>
        <pc:spChg chg="add mod">
          <ac:chgData name="Sheng, Yanan" userId="a8f760e9-50c6-421d-9788-7991509e9b00" providerId="ADAL" clId="{CE83D114-1C90-4F39-8D42-4D8D4E384834}" dt="2023-07-02T06:24:59.032" v="4478" actId="1035"/>
          <ac:spMkLst>
            <pc:docMk/>
            <pc:sldMk cId="2625315683" sldId="2145707094"/>
            <ac:spMk id="8" creationId="{008AFDC7-AC49-2950-5456-0DF61E01BB9D}"/>
          </ac:spMkLst>
        </pc:spChg>
        <pc:spChg chg="add del mod">
          <ac:chgData name="Sheng, Yanan" userId="a8f760e9-50c6-421d-9788-7991509e9b00" providerId="ADAL" clId="{CE83D114-1C90-4F39-8D42-4D8D4E384834}" dt="2023-06-30T08:11:02.650" v="2595" actId="478"/>
          <ac:spMkLst>
            <pc:docMk/>
            <pc:sldMk cId="2625315683" sldId="2145707094"/>
            <ac:spMk id="8" creationId="{FA2B4566-A3E9-96FC-5419-97388598C5D4}"/>
          </ac:spMkLst>
        </pc:spChg>
        <pc:spChg chg="add del mod">
          <ac:chgData name="Sheng, Yanan" userId="a8f760e9-50c6-421d-9788-7991509e9b00" providerId="ADAL" clId="{CE83D114-1C90-4F39-8D42-4D8D4E384834}" dt="2023-06-30T08:11:03.378" v="2596" actId="478"/>
          <ac:spMkLst>
            <pc:docMk/>
            <pc:sldMk cId="2625315683" sldId="2145707094"/>
            <ac:spMk id="9" creationId="{D0D0077B-F724-434A-E0AA-09C8602634E5}"/>
          </ac:spMkLst>
        </pc:spChg>
        <pc:spChg chg="add mod">
          <ac:chgData name="Sheng, Yanan" userId="a8f760e9-50c6-421d-9788-7991509e9b00" providerId="ADAL" clId="{CE83D114-1C90-4F39-8D42-4D8D4E384834}" dt="2023-07-02T06:55:04.285" v="4849" actId="207"/>
          <ac:spMkLst>
            <pc:docMk/>
            <pc:sldMk cId="2625315683" sldId="2145707094"/>
            <ac:spMk id="10" creationId="{193DAED4-35A4-4E06-E977-62412A0E0D07}"/>
          </ac:spMkLst>
        </pc:spChg>
        <pc:spChg chg="add del mod">
          <ac:chgData name="Sheng, Yanan" userId="a8f760e9-50c6-421d-9788-7991509e9b00" providerId="ADAL" clId="{CE83D114-1C90-4F39-8D42-4D8D4E384834}" dt="2023-06-30T08:11:03.908" v="2597" actId="478"/>
          <ac:spMkLst>
            <pc:docMk/>
            <pc:sldMk cId="2625315683" sldId="2145707094"/>
            <ac:spMk id="10" creationId="{2876726D-5D59-73A7-CE8D-8BD7EA489277}"/>
          </ac:spMkLst>
        </pc:spChg>
        <pc:spChg chg="add del mod">
          <ac:chgData name="Sheng, Yanan" userId="a8f760e9-50c6-421d-9788-7991509e9b00" providerId="ADAL" clId="{CE83D114-1C90-4F39-8D42-4D8D4E384834}" dt="2023-06-30T08:12:21.843" v="2619" actId="478"/>
          <ac:spMkLst>
            <pc:docMk/>
            <pc:sldMk cId="2625315683" sldId="2145707094"/>
            <ac:spMk id="11" creationId="{5E14E460-0682-A567-3E6A-CDF1E324703A}"/>
          </ac:spMkLst>
        </pc:spChg>
        <pc:spChg chg="add mod">
          <ac:chgData name="Sheng, Yanan" userId="a8f760e9-50c6-421d-9788-7991509e9b00" providerId="ADAL" clId="{CE83D114-1C90-4F39-8D42-4D8D4E384834}" dt="2023-07-02T06:55:08.473" v="4850" actId="207"/>
          <ac:spMkLst>
            <pc:docMk/>
            <pc:sldMk cId="2625315683" sldId="2145707094"/>
            <ac:spMk id="12" creationId="{43586C44-D175-22D6-26B5-72D047466E4B}"/>
          </ac:spMkLst>
        </pc:spChg>
        <pc:spChg chg="add del mod ord">
          <ac:chgData name="Sheng, Yanan" userId="a8f760e9-50c6-421d-9788-7991509e9b00" providerId="ADAL" clId="{CE83D114-1C90-4F39-8D42-4D8D4E384834}" dt="2023-06-30T08:44:21.070" v="2738" actId="478"/>
          <ac:spMkLst>
            <pc:docMk/>
            <pc:sldMk cId="2625315683" sldId="2145707094"/>
            <ac:spMk id="12" creationId="{E31EF22E-70C4-8A5B-BBA6-D71935374AF4}"/>
          </ac:spMkLst>
        </pc:spChg>
        <pc:spChg chg="add del mod">
          <ac:chgData name="Sheng, Yanan" userId="a8f760e9-50c6-421d-9788-7991509e9b00" providerId="ADAL" clId="{CE83D114-1C90-4F39-8D42-4D8D4E384834}" dt="2023-06-30T08:48:59.342" v="2816" actId="21"/>
          <ac:spMkLst>
            <pc:docMk/>
            <pc:sldMk cId="2625315683" sldId="2145707094"/>
            <ac:spMk id="13" creationId="{C6C69753-01B6-F19B-4663-41455C147EDB}"/>
          </ac:spMkLst>
        </pc:spChg>
        <pc:spChg chg="add del mod">
          <ac:chgData name="Sheng, Yanan" userId="a8f760e9-50c6-421d-9788-7991509e9b00" providerId="ADAL" clId="{CE83D114-1C90-4F39-8D42-4D8D4E384834}" dt="2023-07-02T06:22:19.182" v="4408" actId="21"/>
          <ac:spMkLst>
            <pc:docMk/>
            <pc:sldMk cId="2625315683" sldId="2145707094"/>
            <ac:spMk id="13" creationId="{E7928E5F-CF65-6FEB-7D72-56E57BB4EC3F}"/>
          </ac:spMkLst>
        </pc:spChg>
        <pc:spChg chg="add mod ord">
          <ac:chgData name="Sheng, Yanan" userId="a8f760e9-50c6-421d-9788-7991509e9b00" providerId="ADAL" clId="{CE83D114-1C90-4F39-8D42-4D8D4E384834}" dt="2023-07-02T06:24:59.032" v="4478" actId="1035"/>
          <ac:spMkLst>
            <pc:docMk/>
            <pc:sldMk cId="2625315683" sldId="2145707094"/>
            <ac:spMk id="14" creationId="{34758477-96F5-564F-3645-BD622ABF5646}"/>
          </ac:spMkLst>
        </pc:spChg>
        <pc:spChg chg="add del mod">
          <ac:chgData name="Sheng, Yanan" userId="a8f760e9-50c6-421d-9788-7991509e9b00" providerId="ADAL" clId="{CE83D114-1C90-4F39-8D42-4D8D4E384834}" dt="2023-06-30T08:17:38.053" v="2680" actId="478"/>
          <ac:spMkLst>
            <pc:docMk/>
            <pc:sldMk cId="2625315683" sldId="2145707094"/>
            <ac:spMk id="14" creationId="{4A6AFF3E-A60D-97C0-CA95-09E7E8EBA4C4}"/>
          </ac:spMkLst>
        </pc:spChg>
        <pc:spChg chg="add mod">
          <ac:chgData name="Sheng, Yanan" userId="a8f760e9-50c6-421d-9788-7991509e9b00" providerId="ADAL" clId="{CE83D114-1C90-4F39-8D42-4D8D4E384834}" dt="2023-07-02T06:18:57.632" v="4347" actId="1076"/>
          <ac:spMkLst>
            <pc:docMk/>
            <pc:sldMk cId="2625315683" sldId="2145707094"/>
            <ac:spMk id="16" creationId="{10691A26-FED5-63D7-21B6-FAE0AD85B954}"/>
          </ac:spMkLst>
        </pc:spChg>
        <pc:spChg chg="add del mod">
          <ac:chgData name="Sheng, Yanan" userId="a8f760e9-50c6-421d-9788-7991509e9b00" providerId="ADAL" clId="{CE83D114-1C90-4F39-8D42-4D8D4E384834}" dt="2023-06-30T08:49:34.581" v="2828" actId="21"/>
          <ac:spMkLst>
            <pc:docMk/>
            <pc:sldMk cId="2625315683" sldId="2145707094"/>
            <ac:spMk id="17" creationId="{7B683324-04BE-7743-F469-665B59E38AC7}"/>
          </ac:spMkLst>
        </pc:spChg>
        <pc:spChg chg="add del mod ord">
          <ac:chgData name="Sheng, Yanan" userId="a8f760e9-50c6-421d-9788-7991509e9b00" providerId="ADAL" clId="{CE83D114-1C90-4F39-8D42-4D8D4E384834}" dt="2023-06-30T08:48:53.759" v="2813" actId="478"/>
          <ac:spMkLst>
            <pc:docMk/>
            <pc:sldMk cId="2625315683" sldId="2145707094"/>
            <ac:spMk id="18" creationId="{3B37C25C-9CCD-C801-BCCA-1FEF625072DA}"/>
          </ac:spMkLst>
        </pc:spChg>
        <pc:spChg chg="add del">
          <ac:chgData name="Sheng, Yanan" userId="a8f760e9-50c6-421d-9788-7991509e9b00" providerId="ADAL" clId="{CE83D114-1C90-4F39-8D42-4D8D4E384834}" dt="2023-06-30T08:48:29.482" v="2809" actId="478"/>
          <ac:spMkLst>
            <pc:docMk/>
            <pc:sldMk cId="2625315683" sldId="2145707094"/>
            <ac:spMk id="19" creationId="{56CB2854-E7F1-4936-E5B8-80A83688F2F3}"/>
          </ac:spMkLst>
        </pc:spChg>
        <pc:spChg chg="add del mod">
          <ac:chgData name="Sheng, Yanan" userId="a8f760e9-50c6-421d-9788-7991509e9b00" providerId="ADAL" clId="{CE83D114-1C90-4F39-8D42-4D8D4E384834}" dt="2023-07-02T01:59:55.307" v="4246" actId="478"/>
          <ac:spMkLst>
            <pc:docMk/>
            <pc:sldMk cId="2625315683" sldId="2145707094"/>
            <ac:spMk id="20" creationId="{E9E07314-2D40-0557-A589-9B7F5E15E626}"/>
          </ac:spMkLst>
        </pc:spChg>
        <pc:spChg chg="add del mod">
          <ac:chgData name="Sheng, Yanan" userId="a8f760e9-50c6-421d-9788-7991509e9b00" providerId="ADAL" clId="{CE83D114-1C90-4F39-8D42-4D8D4E384834}" dt="2023-07-02T06:22:29.898" v="4412" actId="478"/>
          <ac:spMkLst>
            <pc:docMk/>
            <pc:sldMk cId="2625315683" sldId="2145707094"/>
            <ac:spMk id="21" creationId="{EFF3F55B-4C48-61AE-18CB-415B96AC949E}"/>
          </ac:spMkLst>
        </pc:spChg>
        <pc:spChg chg="add del mod">
          <ac:chgData name="Sheng, Yanan" userId="a8f760e9-50c6-421d-9788-7991509e9b00" providerId="ADAL" clId="{CE83D114-1C90-4F39-8D42-4D8D4E384834}" dt="2023-07-02T06:22:29.898" v="4412" actId="478"/>
          <ac:spMkLst>
            <pc:docMk/>
            <pc:sldMk cId="2625315683" sldId="2145707094"/>
            <ac:spMk id="22" creationId="{3A07F026-E197-6C23-6C59-89FA03DC8C4B}"/>
          </ac:spMkLst>
        </pc:spChg>
      </pc:sldChg>
      <pc:sldChg chg="delSp modSp mod">
        <pc:chgData name="Sheng, Yanan" userId="a8f760e9-50c6-421d-9788-7991509e9b00" providerId="ADAL" clId="{CE83D114-1C90-4F39-8D42-4D8D4E384834}" dt="2023-07-02T08:22:15.122" v="5201" actId="207"/>
        <pc:sldMkLst>
          <pc:docMk/>
          <pc:sldMk cId="1004141916" sldId="2145707096"/>
        </pc:sldMkLst>
        <pc:spChg chg="mod">
          <ac:chgData name="Sheng, Yanan" userId="a8f760e9-50c6-421d-9788-7991509e9b00" providerId="ADAL" clId="{CE83D114-1C90-4F39-8D42-4D8D4E384834}" dt="2023-07-02T07:25:17.863" v="5108" actId="207"/>
          <ac:spMkLst>
            <pc:docMk/>
            <pc:sldMk cId="1004141916" sldId="2145707096"/>
            <ac:spMk id="2" creationId="{7EDF5567-125D-46C1-B70E-FDBACDE4BE9E}"/>
          </ac:spMkLst>
        </pc:spChg>
        <pc:spChg chg="mod">
          <ac:chgData name="Sheng, Yanan" userId="a8f760e9-50c6-421d-9788-7991509e9b00" providerId="ADAL" clId="{CE83D114-1C90-4F39-8D42-4D8D4E384834}" dt="2023-07-02T07:27:44.537" v="5143" actId="1076"/>
          <ac:spMkLst>
            <pc:docMk/>
            <pc:sldMk cId="1004141916" sldId="2145707096"/>
            <ac:spMk id="16" creationId="{E76631C2-C3BE-4E1B-8089-0FA87677AF83}"/>
          </ac:spMkLst>
        </pc:spChg>
        <pc:spChg chg="del mod">
          <ac:chgData name="Sheng, Yanan" userId="a8f760e9-50c6-421d-9788-7991509e9b00" providerId="ADAL" clId="{CE83D114-1C90-4F39-8D42-4D8D4E384834}" dt="2023-07-02T07:25:51.213" v="5109" actId="478"/>
          <ac:spMkLst>
            <pc:docMk/>
            <pc:sldMk cId="1004141916" sldId="2145707096"/>
            <ac:spMk id="20" creationId="{9C35A01A-85BF-40B0-B9A4-57BE6CA70DD8}"/>
          </ac:spMkLst>
        </pc:spChg>
        <pc:spChg chg="mod">
          <ac:chgData name="Sheng, Yanan" userId="a8f760e9-50c6-421d-9788-7991509e9b00" providerId="ADAL" clId="{CE83D114-1C90-4F39-8D42-4D8D4E384834}" dt="2023-06-30T09:55:05.637" v="4229" actId="404"/>
          <ac:spMkLst>
            <pc:docMk/>
            <pc:sldMk cId="1004141916" sldId="2145707096"/>
            <ac:spMk id="21" creationId="{5EBDA718-B06B-438D-B8DC-EDB362727C2C}"/>
          </ac:spMkLst>
        </pc:spChg>
        <pc:spChg chg="mod">
          <ac:chgData name="Sheng, Yanan" userId="a8f760e9-50c6-421d-9788-7991509e9b00" providerId="ADAL" clId="{CE83D114-1C90-4F39-8D42-4D8D4E384834}" dt="2023-07-02T08:22:15.122" v="5201" actId="207"/>
          <ac:spMkLst>
            <pc:docMk/>
            <pc:sldMk cId="1004141916" sldId="2145707096"/>
            <ac:spMk id="22" creationId="{5F530736-32AD-42C7-B3FC-79FE10B74A3A}"/>
          </ac:spMkLst>
        </pc:spChg>
        <pc:spChg chg="mod">
          <ac:chgData name="Sheng, Yanan" userId="a8f760e9-50c6-421d-9788-7991509e9b00" providerId="ADAL" clId="{CE83D114-1C90-4F39-8D42-4D8D4E384834}" dt="2023-07-02T06:34:43.268" v="4519" actId="20577"/>
          <ac:spMkLst>
            <pc:docMk/>
            <pc:sldMk cId="1004141916" sldId="2145707096"/>
            <ac:spMk id="55" creationId="{8AA6B186-BA6D-4CF0-B4D0-B2A221005D92}"/>
          </ac:spMkLst>
        </pc:spChg>
        <pc:spChg chg="mod">
          <ac:chgData name="Sheng, Yanan" userId="a8f760e9-50c6-421d-9788-7991509e9b00" providerId="ADAL" clId="{CE83D114-1C90-4F39-8D42-4D8D4E384834}" dt="2023-06-30T09:54:48.828" v="4213" actId="1036"/>
          <ac:spMkLst>
            <pc:docMk/>
            <pc:sldMk cId="1004141916" sldId="2145707096"/>
            <ac:spMk id="79" creationId="{36D16ACF-8078-410D-8554-050536023D2E}"/>
          </ac:spMkLst>
        </pc:spChg>
        <pc:spChg chg="mod">
          <ac:chgData name="Sheng, Yanan" userId="a8f760e9-50c6-421d-9788-7991509e9b00" providerId="ADAL" clId="{CE83D114-1C90-4F39-8D42-4D8D4E384834}" dt="2023-06-30T09:54:48.828" v="4213" actId="1036"/>
          <ac:spMkLst>
            <pc:docMk/>
            <pc:sldMk cId="1004141916" sldId="2145707096"/>
            <ac:spMk id="80" creationId="{8AD6036E-D9CE-46AA-895A-B8F56D60F029}"/>
          </ac:spMkLst>
        </pc:spChg>
        <pc:spChg chg="mod">
          <ac:chgData name="Sheng, Yanan" userId="a8f760e9-50c6-421d-9788-7991509e9b00" providerId="ADAL" clId="{CE83D114-1C90-4F39-8D42-4D8D4E384834}" dt="2023-06-30T09:54:48.828" v="4213" actId="1036"/>
          <ac:spMkLst>
            <pc:docMk/>
            <pc:sldMk cId="1004141916" sldId="2145707096"/>
            <ac:spMk id="81" creationId="{9D5D76F7-35BB-4309-A287-03EAE4C1F2B4}"/>
          </ac:spMkLst>
        </pc:spChg>
        <pc:spChg chg="mod">
          <ac:chgData name="Sheng, Yanan" userId="a8f760e9-50c6-421d-9788-7991509e9b00" providerId="ADAL" clId="{CE83D114-1C90-4F39-8D42-4D8D4E384834}" dt="2023-06-30T09:54:48.828" v="4213" actId="1036"/>
          <ac:spMkLst>
            <pc:docMk/>
            <pc:sldMk cId="1004141916" sldId="2145707096"/>
            <ac:spMk id="82" creationId="{1F3666ED-4721-42F4-8DA2-38F03C4ACD3E}"/>
          </ac:spMkLst>
        </pc:spChg>
        <pc:spChg chg="mod">
          <ac:chgData name="Sheng, Yanan" userId="a8f760e9-50c6-421d-9788-7991509e9b00" providerId="ADAL" clId="{CE83D114-1C90-4F39-8D42-4D8D4E384834}" dt="2023-06-30T09:54:48.828" v="4213" actId="1036"/>
          <ac:spMkLst>
            <pc:docMk/>
            <pc:sldMk cId="1004141916" sldId="2145707096"/>
            <ac:spMk id="83" creationId="{26FD34FE-0559-4953-980E-802113160039}"/>
          </ac:spMkLst>
        </pc:spChg>
        <pc:spChg chg="mod">
          <ac:chgData name="Sheng, Yanan" userId="a8f760e9-50c6-421d-9788-7991509e9b00" providerId="ADAL" clId="{CE83D114-1C90-4F39-8D42-4D8D4E384834}" dt="2023-06-30T09:58:05.289" v="4236" actId="207"/>
          <ac:spMkLst>
            <pc:docMk/>
            <pc:sldMk cId="1004141916" sldId="2145707096"/>
            <ac:spMk id="107" creationId="{0902CB2C-C739-45E2-BC17-EA5FA5E67979}"/>
          </ac:spMkLst>
        </pc:spChg>
        <pc:grpChg chg="mod">
          <ac:chgData name="Sheng, Yanan" userId="a8f760e9-50c6-421d-9788-7991509e9b00" providerId="ADAL" clId="{CE83D114-1C90-4F39-8D42-4D8D4E384834}" dt="2023-07-02T07:29:09.071" v="5151" actId="1035"/>
          <ac:grpSpMkLst>
            <pc:docMk/>
            <pc:sldMk cId="1004141916" sldId="2145707096"/>
            <ac:grpSpMk id="23" creationId="{4CFFAF12-5662-48A0-ADDB-71DE2A79E7DC}"/>
          </ac:grpSpMkLst>
        </pc:grpChg>
        <pc:graphicFrameChg chg="mod">
          <ac:chgData name="Sheng, Yanan" userId="a8f760e9-50c6-421d-9788-7991509e9b00" providerId="ADAL" clId="{CE83D114-1C90-4F39-8D42-4D8D4E384834}" dt="2023-07-02T07:28:29.681" v="5148"/>
          <ac:graphicFrameMkLst>
            <pc:docMk/>
            <pc:sldMk cId="1004141916" sldId="2145707096"/>
            <ac:graphicFrameMk id="19" creationId="{BF86704A-DAF7-4943-ADE8-53ECBCC15309}"/>
          </ac:graphicFrameMkLst>
        </pc:graphicFrameChg>
      </pc:sldChg>
      <pc:sldChg chg="addSp delSp modSp mod">
        <pc:chgData name="Sheng, Yanan" userId="a8f760e9-50c6-421d-9788-7991509e9b00" providerId="ADAL" clId="{CE83D114-1C90-4F39-8D42-4D8D4E384834}" dt="2023-07-02T10:12:41.570" v="6328" actId="207"/>
        <pc:sldMkLst>
          <pc:docMk/>
          <pc:sldMk cId="3028108814" sldId="2145707097"/>
        </pc:sldMkLst>
        <pc:spChg chg="add del mod">
          <ac:chgData name="Sheng, Yanan" userId="a8f760e9-50c6-421d-9788-7991509e9b00" providerId="ADAL" clId="{CE83D114-1C90-4F39-8D42-4D8D4E384834}" dt="2023-06-30T09:23:37.237" v="3659" actId="478"/>
          <ac:spMkLst>
            <pc:docMk/>
            <pc:sldMk cId="3028108814" sldId="2145707097"/>
            <ac:spMk id="4" creationId="{A8AFFE7D-47DA-5F1F-0E4E-DE5A9397262F}"/>
          </ac:spMkLst>
        </pc:spChg>
        <pc:spChg chg="add del">
          <ac:chgData name="Sheng, Yanan" userId="a8f760e9-50c6-421d-9788-7991509e9b00" providerId="ADAL" clId="{CE83D114-1C90-4F39-8D42-4D8D4E384834}" dt="2023-06-30T09:19:11.599" v="3513" actId="478"/>
          <ac:spMkLst>
            <pc:docMk/>
            <pc:sldMk cId="3028108814" sldId="2145707097"/>
            <ac:spMk id="6" creationId="{A3509A5A-02F1-77A3-9838-B1CBB3DDC762}"/>
          </ac:spMkLst>
        </pc:spChg>
        <pc:spChg chg="mod">
          <ac:chgData name="Sheng, Yanan" userId="a8f760e9-50c6-421d-9788-7991509e9b00" providerId="ADAL" clId="{CE83D114-1C90-4F39-8D42-4D8D4E384834}" dt="2023-06-30T09:33:13.519" v="3994" actId="1076"/>
          <ac:spMkLst>
            <pc:docMk/>
            <pc:sldMk cId="3028108814" sldId="2145707097"/>
            <ac:spMk id="13" creationId="{B4418AEE-1ABD-49BC-A820-CD583E24CE2C}"/>
          </ac:spMkLst>
        </pc:spChg>
        <pc:spChg chg="mod">
          <ac:chgData name="Sheng, Yanan" userId="a8f760e9-50c6-421d-9788-7991509e9b00" providerId="ADAL" clId="{CE83D114-1C90-4F39-8D42-4D8D4E384834}" dt="2023-06-30T09:40:33.309" v="4046" actId="20577"/>
          <ac:spMkLst>
            <pc:docMk/>
            <pc:sldMk cId="3028108814" sldId="2145707097"/>
            <ac:spMk id="15" creationId="{7BB27FCA-474A-4FCB-8710-840F562412BA}"/>
          </ac:spMkLst>
        </pc:spChg>
        <pc:spChg chg="mod">
          <ac:chgData name="Sheng, Yanan" userId="a8f760e9-50c6-421d-9788-7991509e9b00" providerId="ADAL" clId="{CE83D114-1C90-4F39-8D42-4D8D4E384834}" dt="2023-07-02T08:22:27.046" v="5203" actId="207"/>
          <ac:spMkLst>
            <pc:docMk/>
            <pc:sldMk cId="3028108814" sldId="2145707097"/>
            <ac:spMk id="22" creationId="{5F530736-32AD-42C7-B3FC-79FE10B74A3A}"/>
          </ac:spMkLst>
        </pc:spChg>
        <pc:spChg chg="mod">
          <ac:chgData name="Sheng, Yanan" userId="a8f760e9-50c6-421d-9788-7991509e9b00" providerId="ADAL" clId="{CE83D114-1C90-4F39-8D42-4D8D4E384834}" dt="2023-07-02T07:29:21.509" v="5152" actId="207"/>
          <ac:spMkLst>
            <pc:docMk/>
            <pc:sldMk cId="3028108814" sldId="2145707097"/>
            <ac:spMk id="24" creationId="{89BF22C8-B669-43A3-88C1-1F21935D06A5}"/>
          </ac:spMkLst>
        </pc:spChg>
        <pc:spChg chg="mod">
          <ac:chgData name="Sheng, Yanan" userId="a8f760e9-50c6-421d-9788-7991509e9b00" providerId="ADAL" clId="{CE83D114-1C90-4F39-8D42-4D8D4E384834}" dt="2023-06-30T09:33:13.519" v="3994" actId="1076"/>
          <ac:spMkLst>
            <pc:docMk/>
            <pc:sldMk cId="3028108814" sldId="2145707097"/>
            <ac:spMk id="27" creationId="{B7DB02E4-8157-467C-B23B-EC61BCDEFB55}"/>
          </ac:spMkLst>
        </pc:spChg>
        <pc:spChg chg="mod">
          <ac:chgData name="Sheng, Yanan" userId="a8f760e9-50c6-421d-9788-7991509e9b00" providerId="ADAL" clId="{CE83D114-1C90-4F39-8D42-4D8D4E384834}" dt="2023-06-30T09:34:29.826" v="3998" actId="207"/>
          <ac:spMkLst>
            <pc:docMk/>
            <pc:sldMk cId="3028108814" sldId="2145707097"/>
            <ac:spMk id="28" creationId="{BC7D4A06-3BFE-4551-AE94-2DDC13F3250A}"/>
          </ac:spMkLst>
        </pc:spChg>
        <pc:spChg chg="mod">
          <ac:chgData name="Sheng, Yanan" userId="a8f760e9-50c6-421d-9788-7991509e9b00" providerId="ADAL" clId="{CE83D114-1C90-4F39-8D42-4D8D4E384834}" dt="2023-06-30T09:48:31.632" v="4170" actId="1076"/>
          <ac:spMkLst>
            <pc:docMk/>
            <pc:sldMk cId="3028108814" sldId="2145707097"/>
            <ac:spMk id="39" creationId="{B98ABDA0-B090-49FB-9C77-38148B03D12F}"/>
          </ac:spMkLst>
        </pc:spChg>
        <pc:spChg chg="mod">
          <ac:chgData name="Sheng, Yanan" userId="a8f760e9-50c6-421d-9788-7991509e9b00" providerId="ADAL" clId="{CE83D114-1C90-4F39-8D42-4D8D4E384834}" dt="2023-07-02T06:16:49.485" v="4338" actId="208"/>
          <ac:spMkLst>
            <pc:docMk/>
            <pc:sldMk cId="3028108814" sldId="2145707097"/>
            <ac:spMk id="48" creationId="{2EF42527-C9B4-4832-81A9-A5014C3753D9}"/>
          </ac:spMkLst>
        </pc:spChg>
        <pc:spChg chg="mod">
          <ac:chgData name="Sheng, Yanan" userId="a8f760e9-50c6-421d-9788-7991509e9b00" providerId="ADAL" clId="{CE83D114-1C90-4F39-8D42-4D8D4E384834}" dt="2023-06-30T09:40:53.445" v="4048" actId="208"/>
          <ac:spMkLst>
            <pc:docMk/>
            <pc:sldMk cId="3028108814" sldId="2145707097"/>
            <ac:spMk id="49" creationId="{8BBFB0DE-9878-4C13-AD42-FFDC8417AD8D}"/>
          </ac:spMkLst>
        </pc:spChg>
        <pc:spChg chg="mod">
          <ac:chgData name="Sheng, Yanan" userId="a8f760e9-50c6-421d-9788-7991509e9b00" providerId="ADAL" clId="{CE83D114-1C90-4F39-8D42-4D8D4E384834}" dt="2023-06-30T09:41:06.513" v="4051" actId="208"/>
          <ac:spMkLst>
            <pc:docMk/>
            <pc:sldMk cId="3028108814" sldId="2145707097"/>
            <ac:spMk id="52" creationId="{60D1236C-F3A5-48D0-85FA-97CEB3CDA975}"/>
          </ac:spMkLst>
        </pc:spChg>
        <pc:spChg chg="mod">
          <ac:chgData name="Sheng, Yanan" userId="a8f760e9-50c6-421d-9788-7991509e9b00" providerId="ADAL" clId="{CE83D114-1C90-4F39-8D42-4D8D4E384834}" dt="2023-07-02T06:16:55.794" v="4340" actId="208"/>
          <ac:spMkLst>
            <pc:docMk/>
            <pc:sldMk cId="3028108814" sldId="2145707097"/>
            <ac:spMk id="55" creationId="{952F07EB-2288-492B-A083-0E46C7DF67BE}"/>
          </ac:spMkLst>
        </pc:spChg>
        <pc:spChg chg="mod">
          <ac:chgData name="Sheng, Yanan" userId="a8f760e9-50c6-421d-9788-7991509e9b00" providerId="ADAL" clId="{CE83D114-1C90-4F39-8D42-4D8D4E384834}" dt="2023-06-30T09:33:06.715" v="3993" actId="1076"/>
          <ac:spMkLst>
            <pc:docMk/>
            <pc:sldMk cId="3028108814" sldId="2145707097"/>
            <ac:spMk id="64" creationId="{4BC56F7D-3BCB-4571-A4AB-C1CCD5CBF7A9}"/>
          </ac:spMkLst>
        </pc:spChg>
        <pc:spChg chg="mod">
          <ac:chgData name="Sheng, Yanan" userId="a8f760e9-50c6-421d-9788-7991509e9b00" providerId="ADAL" clId="{CE83D114-1C90-4F39-8D42-4D8D4E384834}" dt="2023-07-02T10:12:41.570" v="6328" actId="207"/>
          <ac:spMkLst>
            <pc:docMk/>
            <pc:sldMk cId="3028108814" sldId="2145707097"/>
            <ac:spMk id="65" creationId="{93A37C4D-9B7A-4BEE-BC7F-2ADD3D457F13}"/>
          </ac:spMkLst>
        </pc:spChg>
        <pc:grpChg chg="mod">
          <ac:chgData name="Sheng, Yanan" userId="a8f760e9-50c6-421d-9788-7991509e9b00" providerId="ADAL" clId="{CE83D114-1C90-4F39-8D42-4D8D4E384834}" dt="2023-06-30T09:47:56.080" v="4167" actId="1076"/>
          <ac:grpSpMkLst>
            <pc:docMk/>
            <pc:sldMk cId="3028108814" sldId="2145707097"/>
            <ac:grpSpMk id="38" creationId="{BDEEFE73-82DB-4D21-8F17-161D3E840956}"/>
          </ac:grpSpMkLst>
        </pc:grpChg>
      </pc:sldChg>
      <pc:sldChg chg="addSp delSp modSp mod">
        <pc:chgData name="Sheng, Yanan" userId="a8f760e9-50c6-421d-9788-7991509e9b00" providerId="ADAL" clId="{CE83D114-1C90-4F39-8D42-4D8D4E384834}" dt="2023-07-02T10:10:01.139" v="6317" actId="108"/>
        <pc:sldMkLst>
          <pc:docMk/>
          <pc:sldMk cId="1464758072" sldId="2145707100"/>
        </pc:sldMkLst>
        <pc:spChg chg="mod">
          <ac:chgData name="Sheng, Yanan" userId="a8f760e9-50c6-421d-9788-7991509e9b00" providerId="ADAL" clId="{CE83D114-1C90-4F39-8D42-4D8D4E384834}" dt="2023-07-02T06:37:08.254" v="4554" actId="1037"/>
          <ac:spMkLst>
            <pc:docMk/>
            <pc:sldMk cId="1464758072" sldId="2145707100"/>
            <ac:spMk id="25" creationId="{A04C7AE1-47F0-4DE8-8521-F41A6E6E9F53}"/>
          </ac:spMkLst>
        </pc:spChg>
        <pc:spChg chg="mod">
          <ac:chgData name="Sheng, Yanan" userId="a8f760e9-50c6-421d-9788-7991509e9b00" providerId="ADAL" clId="{CE83D114-1C90-4F39-8D42-4D8D4E384834}" dt="2023-07-02T06:45:48.370" v="4632" actId="1076"/>
          <ac:spMkLst>
            <pc:docMk/>
            <pc:sldMk cId="1464758072" sldId="2145707100"/>
            <ac:spMk id="227" creationId="{1EC62E9E-86C2-4746-A5AF-5163BA2B6554}"/>
          </ac:spMkLst>
        </pc:spChg>
        <pc:spChg chg="mod">
          <ac:chgData name="Sheng, Yanan" userId="a8f760e9-50c6-421d-9788-7991509e9b00" providerId="ADAL" clId="{CE83D114-1C90-4F39-8D42-4D8D4E384834}" dt="2023-07-02T06:43:59.945" v="4614" actId="1038"/>
          <ac:spMkLst>
            <pc:docMk/>
            <pc:sldMk cId="1464758072" sldId="2145707100"/>
            <ac:spMk id="229" creationId="{DCA14695-B56B-4310-AA03-4DB4936BF685}"/>
          </ac:spMkLst>
        </pc:spChg>
        <pc:spChg chg="mod">
          <ac:chgData name="Sheng, Yanan" userId="a8f760e9-50c6-421d-9788-7991509e9b00" providerId="ADAL" clId="{CE83D114-1C90-4F39-8D42-4D8D4E384834}" dt="2023-07-02T10:10:01.139" v="6317" actId="108"/>
          <ac:spMkLst>
            <pc:docMk/>
            <pc:sldMk cId="1464758072" sldId="2145707100"/>
            <ac:spMk id="230" creationId="{57D81BB8-9418-440F-9548-5DB188F948D7}"/>
          </ac:spMkLst>
        </pc:spChg>
        <pc:spChg chg="add del mod">
          <ac:chgData name="Sheng, Yanan" userId="a8f760e9-50c6-421d-9788-7991509e9b00" providerId="ADAL" clId="{CE83D114-1C90-4F39-8D42-4D8D4E384834}" dt="2023-07-02T07:46:50.509" v="5178" actId="478"/>
          <ac:spMkLst>
            <pc:docMk/>
            <pc:sldMk cId="1464758072" sldId="2145707100"/>
            <ac:spMk id="445" creationId="{A9F87D8E-7364-4C7E-9CDC-67DB2D19F6C1}"/>
          </ac:spMkLst>
        </pc:spChg>
        <pc:spChg chg="mod">
          <ac:chgData name="Sheng, Yanan" userId="a8f760e9-50c6-421d-9788-7991509e9b00" providerId="ADAL" clId="{CE83D114-1C90-4F39-8D42-4D8D4E384834}" dt="2023-07-02T07:50:54.890" v="5192" actId="403"/>
          <ac:spMkLst>
            <pc:docMk/>
            <pc:sldMk cId="1464758072" sldId="2145707100"/>
            <ac:spMk id="446" creationId="{97BA000B-18AE-4CD1-80A2-B91B1265F35D}"/>
          </ac:spMkLst>
        </pc:spChg>
        <pc:spChg chg="mod">
          <ac:chgData name="Sheng, Yanan" userId="a8f760e9-50c6-421d-9788-7991509e9b00" providerId="ADAL" clId="{CE83D114-1C90-4F39-8D42-4D8D4E384834}" dt="2023-07-02T06:37:08.254" v="4554" actId="1037"/>
          <ac:spMkLst>
            <pc:docMk/>
            <pc:sldMk cId="1464758072" sldId="2145707100"/>
            <ac:spMk id="447" creationId="{4DD2622F-F962-40CB-AFBB-35A7C99086A5}"/>
          </ac:spMkLst>
        </pc:spChg>
        <pc:spChg chg="mod">
          <ac:chgData name="Sheng, Yanan" userId="a8f760e9-50c6-421d-9788-7991509e9b00" providerId="ADAL" clId="{CE83D114-1C90-4F39-8D42-4D8D4E384834}" dt="2023-07-02T07:50:13.345" v="5190" actId="207"/>
          <ac:spMkLst>
            <pc:docMk/>
            <pc:sldMk cId="1464758072" sldId="2145707100"/>
            <ac:spMk id="448" creationId="{36C28501-B3C4-47BE-B6B3-172F5D75C18A}"/>
          </ac:spMkLst>
        </pc:spChg>
        <pc:spChg chg="del mod">
          <ac:chgData name="Sheng, Yanan" userId="a8f760e9-50c6-421d-9788-7991509e9b00" providerId="ADAL" clId="{CE83D114-1C90-4F39-8D42-4D8D4E384834}" dt="2023-07-02T07:46:54.524" v="5181" actId="478"/>
          <ac:spMkLst>
            <pc:docMk/>
            <pc:sldMk cId="1464758072" sldId="2145707100"/>
            <ac:spMk id="493" creationId="{980C7ED7-004D-4B79-83C6-553C87717E96}"/>
          </ac:spMkLst>
        </pc:spChg>
        <pc:spChg chg="mod">
          <ac:chgData name="Sheng, Yanan" userId="a8f760e9-50c6-421d-9788-7991509e9b00" providerId="ADAL" clId="{CE83D114-1C90-4F39-8D42-4D8D4E384834}" dt="2023-07-02T07:51:01.710" v="5194" actId="403"/>
          <ac:spMkLst>
            <pc:docMk/>
            <pc:sldMk cId="1464758072" sldId="2145707100"/>
            <ac:spMk id="494" creationId="{D99B1F71-0CFE-42C0-873E-7AB872DD1875}"/>
          </ac:spMkLst>
        </pc:spChg>
        <pc:spChg chg="mod">
          <ac:chgData name="Sheng, Yanan" userId="a8f760e9-50c6-421d-9788-7991509e9b00" providerId="ADAL" clId="{CE83D114-1C90-4F39-8D42-4D8D4E384834}" dt="2023-07-02T06:37:08.254" v="4554" actId="1037"/>
          <ac:spMkLst>
            <pc:docMk/>
            <pc:sldMk cId="1464758072" sldId="2145707100"/>
            <ac:spMk id="495" creationId="{5339E97A-F01A-4BBA-AB9E-3192EA1C68FD}"/>
          </ac:spMkLst>
        </pc:spChg>
        <pc:spChg chg="mod">
          <ac:chgData name="Sheng, Yanan" userId="a8f760e9-50c6-421d-9788-7991509e9b00" providerId="ADAL" clId="{CE83D114-1C90-4F39-8D42-4D8D4E384834}" dt="2023-07-02T07:50:16.030" v="5191" actId="207"/>
          <ac:spMkLst>
            <pc:docMk/>
            <pc:sldMk cId="1464758072" sldId="2145707100"/>
            <ac:spMk id="496" creationId="{09693E37-9D9A-47F3-992E-9D38BF11D584}"/>
          </ac:spMkLst>
        </pc:spChg>
        <pc:spChg chg="del mod">
          <ac:chgData name="Sheng, Yanan" userId="a8f760e9-50c6-421d-9788-7991509e9b00" providerId="ADAL" clId="{CE83D114-1C90-4F39-8D42-4D8D4E384834}" dt="2023-07-02T07:46:51.364" v="5179" actId="478"/>
          <ac:spMkLst>
            <pc:docMk/>
            <pc:sldMk cId="1464758072" sldId="2145707100"/>
            <ac:spMk id="497" creationId="{DC10CAE5-8D6F-4365-A1B9-0A0F959D7691}"/>
          </ac:spMkLst>
        </pc:spChg>
        <pc:spChg chg="mod">
          <ac:chgData name="Sheng, Yanan" userId="a8f760e9-50c6-421d-9788-7991509e9b00" providerId="ADAL" clId="{CE83D114-1C90-4F39-8D42-4D8D4E384834}" dt="2023-07-02T07:50:58.382" v="5193" actId="403"/>
          <ac:spMkLst>
            <pc:docMk/>
            <pc:sldMk cId="1464758072" sldId="2145707100"/>
            <ac:spMk id="498" creationId="{F2AB03CC-E3A6-497C-8ABD-6D0EA97FFF95}"/>
          </ac:spMkLst>
        </pc:spChg>
        <pc:spChg chg="mod">
          <ac:chgData name="Sheng, Yanan" userId="a8f760e9-50c6-421d-9788-7991509e9b00" providerId="ADAL" clId="{CE83D114-1C90-4F39-8D42-4D8D4E384834}" dt="2023-07-02T06:37:08.254" v="4554" actId="1037"/>
          <ac:spMkLst>
            <pc:docMk/>
            <pc:sldMk cId="1464758072" sldId="2145707100"/>
            <ac:spMk id="499" creationId="{D76EE23A-00C1-4800-A8B4-B5F14B71A418}"/>
          </ac:spMkLst>
        </pc:spChg>
        <pc:spChg chg="mod">
          <ac:chgData name="Sheng, Yanan" userId="a8f760e9-50c6-421d-9788-7991509e9b00" providerId="ADAL" clId="{CE83D114-1C90-4F39-8D42-4D8D4E384834}" dt="2023-07-02T07:47:28.588" v="5187" actId="207"/>
          <ac:spMkLst>
            <pc:docMk/>
            <pc:sldMk cId="1464758072" sldId="2145707100"/>
            <ac:spMk id="500" creationId="{21279EE5-8AB7-489E-8ED0-7DC88D28CA04}"/>
          </ac:spMkLst>
        </pc:spChg>
        <pc:spChg chg="del mod">
          <ac:chgData name="Sheng, Yanan" userId="a8f760e9-50c6-421d-9788-7991509e9b00" providerId="ADAL" clId="{CE83D114-1C90-4F39-8D42-4D8D4E384834}" dt="2023-07-02T07:46:53.935" v="5180" actId="478"/>
          <ac:spMkLst>
            <pc:docMk/>
            <pc:sldMk cId="1464758072" sldId="2145707100"/>
            <ac:spMk id="505" creationId="{AB589BBE-FC40-413A-A9A2-289D6AEF659E}"/>
          </ac:spMkLst>
        </pc:spChg>
        <pc:spChg chg="mod">
          <ac:chgData name="Sheng, Yanan" userId="a8f760e9-50c6-421d-9788-7991509e9b00" providerId="ADAL" clId="{CE83D114-1C90-4F39-8D42-4D8D4E384834}" dt="2023-07-02T07:51:04.135" v="5195" actId="403"/>
          <ac:spMkLst>
            <pc:docMk/>
            <pc:sldMk cId="1464758072" sldId="2145707100"/>
            <ac:spMk id="506" creationId="{248D9C9D-E930-43D4-8721-3A8817F5B18B}"/>
          </ac:spMkLst>
        </pc:spChg>
        <pc:spChg chg="mod">
          <ac:chgData name="Sheng, Yanan" userId="a8f760e9-50c6-421d-9788-7991509e9b00" providerId="ADAL" clId="{CE83D114-1C90-4F39-8D42-4D8D4E384834}" dt="2023-07-02T06:37:08.254" v="4554" actId="1037"/>
          <ac:spMkLst>
            <pc:docMk/>
            <pc:sldMk cId="1464758072" sldId="2145707100"/>
            <ac:spMk id="507" creationId="{AF3E395B-AAD8-401D-9FAC-901FFA3A484F}"/>
          </ac:spMkLst>
        </pc:spChg>
        <pc:spChg chg="mod">
          <ac:chgData name="Sheng, Yanan" userId="a8f760e9-50c6-421d-9788-7991509e9b00" providerId="ADAL" clId="{CE83D114-1C90-4F39-8D42-4D8D4E384834}" dt="2023-07-02T07:47:28.588" v="5187" actId="207"/>
          <ac:spMkLst>
            <pc:docMk/>
            <pc:sldMk cId="1464758072" sldId="2145707100"/>
            <ac:spMk id="508" creationId="{29D4621A-594F-4B77-B682-C7B406CED3ED}"/>
          </ac:spMkLst>
        </pc:spChg>
        <pc:spChg chg="mod">
          <ac:chgData name="Sheng, Yanan" userId="a8f760e9-50c6-421d-9788-7991509e9b00" providerId="ADAL" clId="{CE83D114-1C90-4F39-8D42-4D8D4E384834}" dt="2023-07-02T06:37:08.254" v="4554" actId="1037"/>
          <ac:spMkLst>
            <pc:docMk/>
            <pc:sldMk cId="1464758072" sldId="2145707100"/>
            <ac:spMk id="510" creationId="{D076DA2C-2E6A-4C71-808C-1E93D2CE98C0}"/>
          </ac:spMkLst>
        </pc:spChg>
        <pc:spChg chg="mod">
          <ac:chgData name="Sheng, Yanan" userId="a8f760e9-50c6-421d-9788-7991509e9b00" providerId="ADAL" clId="{CE83D114-1C90-4F39-8D42-4D8D4E384834}" dt="2023-07-02T06:37:08.254" v="4554" actId="1037"/>
          <ac:spMkLst>
            <pc:docMk/>
            <pc:sldMk cId="1464758072" sldId="2145707100"/>
            <ac:spMk id="511" creationId="{61F38356-82EC-44A6-8E66-EA2E7EDC78BA}"/>
          </ac:spMkLst>
        </pc:spChg>
        <pc:spChg chg="mod">
          <ac:chgData name="Sheng, Yanan" userId="a8f760e9-50c6-421d-9788-7991509e9b00" providerId="ADAL" clId="{CE83D114-1C90-4F39-8D42-4D8D4E384834}" dt="2023-07-02T06:37:08.254" v="4554" actId="1037"/>
          <ac:spMkLst>
            <pc:docMk/>
            <pc:sldMk cId="1464758072" sldId="2145707100"/>
            <ac:spMk id="512" creationId="{FAC043B5-F7A2-4304-89C2-775F114E10FA}"/>
          </ac:spMkLst>
        </pc:spChg>
        <pc:spChg chg="mod">
          <ac:chgData name="Sheng, Yanan" userId="a8f760e9-50c6-421d-9788-7991509e9b00" providerId="ADAL" clId="{CE83D114-1C90-4F39-8D42-4D8D4E384834}" dt="2023-07-02T06:37:08.254" v="4554" actId="1037"/>
          <ac:spMkLst>
            <pc:docMk/>
            <pc:sldMk cId="1464758072" sldId="2145707100"/>
            <ac:spMk id="513" creationId="{EE8645A5-F61F-4CAF-A032-F3519E80178F}"/>
          </ac:spMkLst>
        </pc:spChg>
        <pc:spChg chg="mod">
          <ac:chgData name="Sheng, Yanan" userId="a8f760e9-50c6-421d-9788-7991509e9b00" providerId="ADAL" clId="{CE83D114-1C90-4F39-8D42-4D8D4E384834}" dt="2023-07-02T06:37:08.254" v="4554" actId="1037"/>
          <ac:spMkLst>
            <pc:docMk/>
            <pc:sldMk cId="1464758072" sldId="2145707100"/>
            <ac:spMk id="514" creationId="{563CC93A-9CF6-4473-8F54-1516EF5519C6}"/>
          </ac:spMkLst>
        </pc:spChg>
        <pc:spChg chg="mod">
          <ac:chgData name="Sheng, Yanan" userId="a8f760e9-50c6-421d-9788-7991509e9b00" providerId="ADAL" clId="{CE83D114-1C90-4F39-8D42-4D8D4E384834}" dt="2023-07-02T06:37:08.254" v="4554" actId="1037"/>
          <ac:spMkLst>
            <pc:docMk/>
            <pc:sldMk cId="1464758072" sldId="2145707100"/>
            <ac:spMk id="515" creationId="{DF472101-363B-4B43-8F45-60D44FD5289D}"/>
          </ac:spMkLst>
        </pc:spChg>
        <pc:spChg chg="mod">
          <ac:chgData name="Sheng, Yanan" userId="a8f760e9-50c6-421d-9788-7991509e9b00" providerId="ADAL" clId="{CE83D114-1C90-4F39-8D42-4D8D4E384834}" dt="2023-07-02T06:37:08.254" v="4554" actId="1037"/>
          <ac:spMkLst>
            <pc:docMk/>
            <pc:sldMk cId="1464758072" sldId="2145707100"/>
            <ac:spMk id="516" creationId="{E8F9D912-3A81-4C1D-9B15-852CF45AE17F}"/>
          </ac:spMkLst>
        </pc:spChg>
        <pc:spChg chg="mod">
          <ac:chgData name="Sheng, Yanan" userId="a8f760e9-50c6-421d-9788-7991509e9b00" providerId="ADAL" clId="{CE83D114-1C90-4F39-8D42-4D8D4E384834}" dt="2023-07-02T06:37:08.254" v="4554" actId="1037"/>
          <ac:spMkLst>
            <pc:docMk/>
            <pc:sldMk cId="1464758072" sldId="2145707100"/>
            <ac:spMk id="517" creationId="{6BCB02EF-9228-4555-A9C3-62EAC2B8D963}"/>
          </ac:spMkLst>
        </pc:spChg>
        <pc:spChg chg="mod">
          <ac:chgData name="Sheng, Yanan" userId="a8f760e9-50c6-421d-9788-7991509e9b00" providerId="ADAL" clId="{CE83D114-1C90-4F39-8D42-4D8D4E384834}" dt="2023-07-02T06:37:08.254" v="4554" actId="1037"/>
          <ac:spMkLst>
            <pc:docMk/>
            <pc:sldMk cId="1464758072" sldId="2145707100"/>
            <ac:spMk id="518" creationId="{848F7A7C-3A6F-4261-9CA4-415FF409E2B7}"/>
          </ac:spMkLst>
        </pc:spChg>
        <pc:spChg chg="mod">
          <ac:chgData name="Sheng, Yanan" userId="a8f760e9-50c6-421d-9788-7991509e9b00" providerId="ADAL" clId="{CE83D114-1C90-4F39-8D42-4D8D4E384834}" dt="2023-07-02T06:37:08.254" v="4554" actId="1037"/>
          <ac:spMkLst>
            <pc:docMk/>
            <pc:sldMk cId="1464758072" sldId="2145707100"/>
            <ac:spMk id="519" creationId="{39F0D6B5-3AED-40D6-B0EC-02C89FE568DD}"/>
          </ac:spMkLst>
        </pc:spChg>
        <pc:spChg chg="mod">
          <ac:chgData name="Sheng, Yanan" userId="a8f760e9-50c6-421d-9788-7991509e9b00" providerId="ADAL" clId="{CE83D114-1C90-4F39-8D42-4D8D4E384834}" dt="2023-07-02T06:37:08.254" v="4554" actId="1037"/>
          <ac:spMkLst>
            <pc:docMk/>
            <pc:sldMk cId="1464758072" sldId="2145707100"/>
            <ac:spMk id="520" creationId="{FADE93D9-28CB-4D63-9492-17421157A998}"/>
          </ac:spMkLst>
        </pc:spChg>
        <pc:spChg chg="mod">
          <ac:chgData name="Sheng, Yanan" userId="a8f760e9-50c6-421d-9788-7991509e9b00" providerId="ADAL" clId="{CE83D114-1C90-4F39-8D42-4D8D4E384834}" dt="2023-07-02T06:37:08.254" v="4554" actId="1037"/>
          <ac:spMkLst>
            <pc:docMk/>
            <pc:sldMk cId="1464758072" sldId="2145707100"/>
            <ac:spMk id="521" creationId="{1C0AE6BB-1433-4AC4-8D07-2C6C6DF97C88}"/>
          </ac:spMkLst>
        </pc:spChg>
        <pc:spChg chg="mod">
          <ac:chgData name="Sheng, Yanan" userId="a8f760e9-50c6-421d-9788-7991509e9b00" providerId="ADAL" clId="{CE83D114-1C90-4F39-8D42-4D8D4E384834}" dt="2023-07-02T06:37:08.254" v="4554" actId="1037"/>
          <ac:spMkLst>
            <pc:docMk/>
            <pc:sldMk cId="1464758072" sldId="2145707100"/>
            <ac:spMk id="522" creationId="{653F8693-EEA1-488E-ADEA-A206CE3E69FD}"/>
          </ac:spMkLst>
        </pc:spChg>
        <pc:spChg chg="mod">
          <ac:chgData name="Sheng, Yanan" userId="a8f760e9-50c6-421d-9788-7991509e9b00" providerId="ADAL" clId="{CE83D114-1C90-4F39-8D42-4D8D4E384834}" dt="2023-07-02T06:37:08.254" v="4554" actId="1037"/>
          <ac:spMkLst>
            <pc:docMk/>
            <pc:sldMk cId="1464758072" sldId="2145707100"/>
            <ac:spMk id="523" creationId="{A3A9E775-38C5-489F-9A33-3FBB6E35C3DE}"/>
          </ac:spMkLst>
        </pc:spChg>
        <pc:spChg chg="mod">
          <ac:chgData name="Sheng, Yanan" userId="a8f760e9-50c6-421d-9788-7991509e9b00" providerId="ADAL" clId="{CE83D114-1C90-4F39-8D42-4D8D4E384834}" dt="2023-07-02T06:37:08.254" v="4554" actId="1037"/>
          <ac:spMkLst>
            <pc:docMk/>
            <pc:sldMk cId="1464758072" sldId="2145707100"/>
            <ac:spMk id="524" creationId="{AEF5EBAC-B5B0-4E34-BFE8-8B6D8C7373AC}"/>
          </ac:spMkLst>
        </pc:spChg>
        <pc:spChg chg="mod">
          <ac:chgData name="Sheng, Yanan" userId="a8f760e9-50c6-421d-9788-7991509e9b00" providerId="ADAL" clId="{CE83D114-1C90-4F39-8D42-4D8D4E384834}" dt="2023-07-02T06:37:08.254" v="4554" actId="1037"/>
          <ac:spMkLst>
            <pc:docMk/>
            <pc:sldMk cId="1464758072" sldId="2145707100"/>
            <ac:spMk id="525" creationId="{C1772C18-A8DC-4546-AFEE-A0A8054AC0C4}"/>
          </ac:spMkLst>
        </pc:spChg>
        <pc:spChg chg="mod">
          <ac:chgData name="Sheng, Yanan" userId="a8f760e9-50c6-421d-9788-7991509e9b00" providerId="ADAL" clId="{CE83D114-1C90-4F39-8D42-4D8D4E384834}" dt="2023-07-02T06:37:08.254" v="4554" actId="1037"/>
          <ac:spMkLst>
            <pc:docMk/>
            <pc:sldMk cId="1464758072" sldId="2145707100"/>
            <ac:spMk id="526" creationId="{A77E4C17-041D-4A06-9B92-C48F22B247DB}"/>
          </ac:spMkLst>
        </pc:spChg>
        <pc:spChg chg="mod">
          <ac:chgData name="Sheng, Yanan" userId="a8f760e9-50c6-421d-9788-7991509e9b00" providerId="ADAL" clId="{CE83D114-1C90-4F39-8D42-4D8D4E384834}" dt="2023-07-02T06:37:08.254" v="4554" actId="1037"/>
          <ac:spMkLst>
            <pc:docMk/>
            <pc:sldMk cId="1464758072" sldId="2145707100"/>
            <ac:spMk id="527" creationId="{44487485-CC2D-40C3-952B-EEC9A9ADF804}"/>
          </ac:spMkLst>
        </pc:spChg>
        <pc:spChg chg="mod">
          <ac:chgData name="Sheng, Yanan" userId="a8f760e9-50c6-421d-9788-7991509e9b00" providerId="ADAL" clId="{CE83D114-1C90-4F39-8D42-4D8D4E384834}" dt="2023-07-02T06:37:08.254" v="4554" actId="1037"/>
          <ac:spMkLst>
            <pc:docMk/>
            <pc:sldMk cId="1464758072" sldId="2145707100"/>
            <ac:spMk id="528" creationId="{BBCB4BFF-659B-43B0-828D-9DDC97C8C1F1}"/>
          </ac:spMkLst>
        </pc:spChg>
        <pc:spChg chg="mod">
          <ac:chgData name="Sheng, Yanan" userId="a8f760e9-50c6-421d-9788-7991509e9b00" providerId="ADAL" clId="{CE83D114-1C90-4F39-8D42-4D8D4E384834}" dt="2023-07-02T06:37:08.254" v="4554" actId="1037"/>
          <ac:spMkLst>
            <pc:docMk/>
            <pc:sldMk cId="1464758072" sldId="2145707100"/>
            <ac:spMk id="529" creationId="{65892A3A-A95E-4723-9EE1-110C3EBC54FE}"/>
          </ac:spMkLst>
        </pc:spChg>
        <pc:spChg chg="mod">
          <ac:chgData name="Sheng, Yanan" userId="a8f760e9-50c6-421d-9788-7991509e9b00" providerId="ADAL" clId="{CE83D114-1C90-4F39-8D42-4D8D4E384834}" dt="2023-07-02T06:37:08.254" v="4554" actId="1037"/>
          <ac:spMkLst>
            <pc:docMk/>
            <pc:sldMk cId="1464758072" sldId="2145707100"/>
            <ac:spMk id="530" creationId="{A133A3BB-0B75-4FC4-A9B8-94A0937749D0}"/>
          </ac:spMkLst>
        </pc:spChg>
        <pc:spChg chg="mod">
          <ac:chgData name="Sheng, Yanan" userId="a8f760e9-50c6-421d-9788-7991509e9b00" providerId="ADAL" clId="{CE83D114-1C90-4F39-8D42-4D8D4E384834}" dt="2023-07-02T06:37:08.254" v="4554" actId="1037"/>
          <ac:spMkLst>
            <pc:docMk/>
            <pc:sldMk cId="1464758072" sldId="2145707100"/>
            <ac:spMk id="531" creationId="{3E2C6016-3ACD-4571-956F-B0105C42C975}"/>
          </ac:spMkLst>
        </pc:spChg>
        <pc:spChg chg="mod">
          <ac:chgData name="Sheng, Yanan" userId="a8f760e9-50c6-421d-9788-7991509e9b00" providerId="ADAL" clId="{CE83D114-1C90-4F39-8D42-4D8D4E384834}" dt="2023-07-02T06:37:08.254" v="4554" actId="1037"/>
          <ac:spMkLst>
            <pc:docMk/>
            <pc:sldMk cId="1464758072" sldId="2145707100"/>
            <ac:spMk id="532" creationId="{FC3A265E-EAEA-4057-90C0-9FF2A5468972}"/>
          </ac:spMkLst>
        </pc:spChg>
        <pc:spChg chg="mod">
          <ac:chgData name="Sheng, Yanan" userId="a8f760e9-50c6-421d-9788-7991509e9b00" providerId="ADAL" clId="{CE83D114-1C90-4F39-8D42-4D8D4E384834}" dt="2023-07-02T06:37:08.254" v="4554" actId="1037"/>
          <ac:spMkLst>
            <pc:docMk/>
            <pc:sldMk cId="1464758072" sldId="2145707100"/>
            <ac:spMk id="533" creationId="{E074B17B-D7BE-4AED-9DC7-1C7C6EE909EE}"/>
          </ac:spMkLst>
        </pc:spChg>
        <pc:spChg chg="mod">
          <ac:chgData name="Sheng, Yanan" userId="a8f760e9-50c6-421d-9788-7991509e9b00" providerId="ADAL" clId="{CE83D114-1C90-4F39-8D42-4D8D4E384834}" dt="2023-07-02T06:37:08.254" v="4554" actId="1037"/>
          <ac:spMkLst>
            <pc:docMk/>
            <pc:sldMk cId="1464758072" sldId="2145707100"/>
            <ac:spMk id="534" creationId="{25842DEC-BE3D-42DD-AF0D-C7E4919CA500}"/>
          </ac:spMkLst>
        </pc:spChg>
        <pc:spChg chg="mod">
          <ac:chgData name="Sheng, Yanan" userId="a8f760e9-50c6-421d-9788-7991509e9b00" providerId="ADAL" clId="{CE83D114-1C90-4F39-8D42-4D8D4E384834}" dt="2023-07-02T06:37:08.254" v="4554" actId="1037"/>
          <ac:spMkLst>
            <pc:docMk/>
            <pc:sldMk cId="1464758072" sldId="2145707100"/>
            <ac:spMk id="535" creationId="{D1FAAD50-FC5A-48B3-A50A-B95604D14038}"/>
          </ac:spMkLst>
        </pc:spChg>
        <pc:spChg chg="mod">
          <ac:chgData name="Sheng, Yanan" userId="a8f760e9-50c6-421d-9788-7991509e9b00" providerId="ADAL" clId="{CE83D114-1C90-4F39-8D42-4D8D4E384834}" dt="2023-07-02T06:37:08.254" v="4554" actId="1037"/>
          <ac:spMkLst>
            <pc:docMk/>
            <pc:sldMk cId="1464758072" sldId="2145707100"/>
            <ac:spMk id="536" creationId="{DB11B458-AE32-41C0-A55A-973861E74EA4}"/>
          </ac:spMkLst>
        </pc:spChg>
        <pc:spChg chg="mod">
          <ac:chgData name="Sheng, Yanan" userId="a8f760e9-50c6-421d-9788-7991509e9b00" providerId="ADAL" clId="{CE83D114-1C90-4F39-8D42-4D8D4E384834}" dt="2023-07-02T06:37:08.254" v="4554" actId="1037"/>
          <ac:spMkLst>
            <pc:docMk/>
            <pc:sldMk cId="1464758072" sldId="2145707100"/>
            <ac:spMk id="537" creationId="{E31B91F6-0AC1-4592-BFF4-7F12A9E1018C}"/>
          </ac:spMkLst>
        </pc:spChg>
        <pc:spChg chg="mod">
          <ac:chgData name="Sheng, Yanan" userId="a8f760e9-50c6-421d-9788-7991509e9b00" providerId="ADAL" clId="{CE83D114-1C90-4F39-8D42-4D8D4E384834}" dt="2023-07-02T06:37:08.254" v="4554" actId="1037"/>
          <ac:spMkLst>
            <pc:docMk/>
            <pc:sldMk cId="1464758072" sldId="2145707100"/>
            <ac:spMk id="538" creationId="{854F7612-BB35-4A8B-951C-D051EE7B338D}"/>
          </ac:spMkLst>
        </pc:spChg>
        <pc:spChg chg="mod">
          <ac:chgData name="Sheng, Yanan" userId="a8f760e9-50c6-421d-9788-7991509e9b00" providerId="ADAL" clId="{CE83D114-1C90-4F39-8D42-4D8D4E384834}" dt="2023-07-02T06:37:08.254" v="4554" actId="1037"/>
          <ac:spMkLst>
            <pc:docMk/>
            <pc:sldMk cId="1464758072" sldId="2145707100"/>
            <ac:spMk id="539" creationId="{CC96B3B9-B14C-47E3-871B-460CA51AE690}"/>
          </ac:spMkLst>
        </pc:spChg>
        <pc:spChg chg="mod">
          <ac:chgData name="Sheng, Yanan" userId="a8f760e9-50c6-421d-9788-7991509e9b00" providerId="ADAL" clId="{CE83D114-1C90-4F39-8D42-4D8D4E384834}" dt="2023-07-02T06:37:08.254" v="4554" actId="1037"/>
          <ac:spMkLst>
            <pc:docMk/>
            <pc:sldMk cId="1464758072" sldId="2145707100"/>
            <ac:spMk id="540" creationId="{73BB0C9C-8D08-4F42-B727-FBC16BB2628A}"/>
          </ac:spMkLst>
        </pc:spChg>
        <pc:spChg chg="mod">
          <ac:chgData name="Sheng, Yanan" userId="a8f760e9-50c6-421d-9788-7991509e9b00" providerId="ADAL" clId="{CE83D114-1C90-4F39-8D42-4D8D4E384834}" dt="2023-07-02T06:37:08.254" v="4554" actId="1037"/>
          <ac:spMkLst>
            <pc:docMk/>
            <pc:sldMk cId="1464758072" sldId="2145707100"/>
            <ac:spMk id="541" creationId="{6E73862B-2717-48FA-926D-2D58C5E9D9AA}"/>
          </ac:spMkLst>
        </pc:spChg>
        <pc:spChg chg="mod">
          <ac:chgData name="Sheng, Yanan" userId="a8f760e9-50c6-421d-9788-7991509e9b00" providerId="ADAL" clId="{CE83D114-1C90-4F39-8D42-4D8D4E384834}" dt="2023-07-02T06:37:08.254" v="4554" actId="1037"/>
          <ac:spMkLst>
            <pc:docMk/>
            <pc:sldMk cId="1464758072" sldId="2145707100"/>
            <ac:spMk id="542" creationId="{3498CC9F-1DA8-4E1E-9B92-BA2D720E9E1F}"/>
          </ac:spMkLst>
        </pc:spChg>
        <pc:spChg chg="mod">
          <ac:chgData name="Sheng, Yanan" userId="a8f760e9-50c6-421d-9788-7991509e9b00" providerId="ADAL" clId="{CE83D114-1C90-4F39-8D42-4D8D4E384834}" dt="2023-07-02T06:37:08.254" v="4554" actId="1037"/>
          <ac:spMkLst>
            <pc:docMk/>
            <pc:sldMk cId="1464758072" sldId="2145707100"/>
            <ac:spMk id="543" creationId="{C7BE07BF-F237-4F62-AA5A-F88956E3363C}"/>
          </ac:spMkLst>
        </pc:spChg>
        <pc:spChg chg="mod">
          <ac:chgData name="Sheng, Yanan" userId="a8f760e9-50c6-421d-9788-7991509e9b00" providerId="ADAL" clId="{CE83D114-1C90-4F39-8D42-4D8D4E384834}" dt="2023-07-02T06:37:08.254" v="4554" actId="1037"/>
          <ac:spMkLst>
            <pc:docMk/>
            <pc:sldMk cId="1464758072" sldId="2145707100"/>
            <ac:spMk id="544" creationId="{F75C3B01-89B8-4045-A5DB-E34738F8F1DF}"/>
          </ac:spMkLst>
        </pc:spChg>
        <pc:spChg chg="mod">
          <ac:chgData name="Sheng, Yanan" userId="a8f760e9-50c6-421d-9788-7991509e9b00" providerId="ADAL" clId="{CE83D114-1C90-4F39-8D42-4D8D4E384834}" dt="2023-07-02T06:37:08.254" v="4554" actId="1037"/>
          <ac:spMkLst>
            <pc:docMk/>
            <pc:sldMk cId="1464758072" sldId="2145707100"/>
            <ac:spMk id="545" creationId="{1FA1CCA2-A120-4B2B-817E-61810088D6BB}"/>
          </ac:spMkLst>
        </pc:spChg>
        <pc:spChg chg="mod">
          <ac:chgData name="Sheng, Yanan" userId="a8f760e9-50c6-421d-9788-7991509e9b00" providerId="ADAL" clId="{CE83D114-1C90-4F39-8D42-4D8D4E384834}" dt="2023-07-02T06:37:08.254" v="4554" actId="1037"/>
          <ac:spMkLst>
            <pc:docMk/>
            <pc:sldMk cId="1464758072" sldId="2145707100"/>
            <ac:spMk id="546" creationId="{49FDAA1F-71FB-497E-A9F2-B0195B0E9EAE}"/>
          </ac:spMkLst>
        </pc:spChg>
        <pc:spChg chg="mod">
          <ac:chgData name="Sheng, Yanan" userId="a8f760e9-50c6-421d-9788-7991509e9b00" providerId="ADAL" clId="{CE83D114-1C90-4F39-8D42-4D8D4E384834}" dt="2023-07-02T06:37:08.254" v="4554" actId="1037"/>
          <ac:spMkLst>
            <pc:docMk/>
            <pc:sldMk cId="1464758072" sldId="2145707100"/>
            <ac:spMk id="547" creationId="{7D93872F-21BE-456D-823C-E91505920AB9}"/>
          </ac:spMkLst>
        </pc:spChg>
        <pc:spChg chg="mod">
          <ac:chgData name="Sheng, Yanan" userId="a8f760e9-50c6-421d-9788-7991509e9b00" providerId="ADAL" clId="{CE83D114-1C90-4F39-8D42-4D8D4E384834}" dt="2023-07-02T06:37:08.254" v="4554" actId="1037"/>
          <ac:spMkLst>
            <pc:docMk/>
            <pc:sldMk cId="1464758072" sldId="2145707100"/>
            <ac:spMk id="548" creationId="{15334C86-81F3-48B3-A65E-FA630E399812}"/>
          </ac:spMkLst>
        </pc:spChg>
        <pc:spChg chg="mod">
          <ac:chgData name="Sheng, Yanan" userId="a8f760e9-50c6-421d-9788-7991509e9b00" providerId="ADAL" clId="{CE83D114-1C90-4F39-8D42-4D8D4E384834}" dt="2023-07-02T06:37:08.254" v="4554" actId="1037"/>
          <ac:spMkLst>
            <pc:docMk/>
            <pc:sldMk cId="1464758072" sldId="2145707100"/>
            <ac:spMk id="549" creationId="{34F42900-CAF0-4CAF-9C00-18B734EE0F3C}"/>
          </ac:spMkLst>
        </pc:spChg>
        <pc:spChg chg="mod">
          <ac:chgData name="Sheng, Yanan" userId="a8f760e9-50c6-421d-9788-7991509e9b00" providerId="ADAL" clId="{CE83D114-1C90-4F39-8D42-4D8D4E384834}" dt="2023-07-02T06:37:08.254" v="4554" actId="1037"/>
          <ac:spMkLst>
            <pc:docMk/>
            <pc:sldMk cId="1464758072" sldId="2145707100"/>
            <ac:spMk id="550" creationId="{FF51DD4D-76EF-43B3-AC95-47EECF19FCB1}"/>
          </ac:spMkLst>
        </pc:spChg>
        <pc:spChg chg="mod">
          <ac:chgData name="Sheng, Yanan" userId="a8f760e9-50c6-421d-9788-7991509e9b00" providerId="ADAL" clId="{CE83D114-1C90-4F39-8D42-4D8D4E384834}" dt="2023-07-02T06:37:08.254" v="4554" actId="1037"/>
          <ac:spMkLst>
            <pc:docMk/>
            <pc:sldMk cId="1464758072" sldId="2145707100"/>
            <ac:spMk id="553" creationId="{38C235C4-BF7E-4347-BAC6-FFAB99B9EFC1}"/>
          </ac:spMkLst>
        </pc:spChg>
        <pc:spChg chg="mod">
          <ac:chgData name="Sheng, Yanan" userId="a8f760e9-50c6-421d-9788-7991509e9b00" providerId="ADAL" clId="{CE83D114-1C90-4F39-8D42-4D8D4E384834}" dt="2023-07-02T06:37:08.254" v="4554" actId="1037"/>
          <ac:spMkLst>
            <pc:docMk/>
            <pc:sldMk cId="1464758072" sldId="2145707100"/>
            <ac:spMk id="556" creationId="{F93DD2EE-6F2D-4F0C-A813-DA57136497FA}"/>
          </ac:spMkLst>
        </pc:spChg>
        <pc:spChg chg="mod">
          <ac:chgData name="Sheng, Yanan" userId="a8f760e9-50c6-421d-9788-7991509e9b00" providerId="ADAL" clId="{CE83D114-1C90-4F39-8D42-4D8D4E384834}" dt="2023-07-02T06:37:08.254" v="4554" actId="1037"/>
          <ac:spMkLst>
            <pc:docMk/>
            <pc:sldMk cId="1464758072" sldId="2145707100"/>
            <ac:spMk id="557" creationId="{0B39D985-546A-406C-877B-3AF39C9F0E20}"/>
          </ac:spMkLst>
        </pc:spChg>
        <pc:spChg chg="mod">
          <ac:chgData name="Sheng, Yanan" userId="a8f760e9-50c6-421d-9788-7991509e9b00" providerId="ADAL" clId="{CE83D114-1C90-4F39-8D42-4D8D4E384834}" dt="2023-07-02T06:37:08.254" v="4554" actId="1037"/>
          <ac:spMkLst>
            <pc:docMk/>
            <pc:sldMk cId="1464758072" sldId="2145707100"/>
            <ac:spMk id="558" creationId="{73F05663-0FE3-4833-84ED-CCF491A2F6EC}"/>
          </ac:spMkLst>
        </pc:spChg>
        <pc:spChg chg="mod">
          <ac:chgData name="Sheng, Yanan" userId="a8f760e9-50c6-421d-9788-7991509e9b00" providerId="ADAL" clId="{CE83D114-1C90-4F39-8D42-4D8D4E384834}" dt="2023-07-02T06:37:08.254" v="4554" actId="1037"/>
          <ac:spMkLst>
            <pc:docMk/>
            <pc:sldMk cId="1464758072" sldId="2145707100"/>
            <ac:spMk id="559" creationId="{C309C20B-DA21-4DC9-BD00-355998F602BE}"/>
          </ac:spMkLst>
        </pc:spChg>
        <pc:spChg chg="mod">
          <ac:chgData name="Sheng, Yanan" userId="a8f760e9-50c6-421d-9788-7991509e9b00" providerId="ADAL" clId="{CE83D114-1C90-4F39-8D42-4D8D4E384834}" dt="2023-07-02T06:37:08.254" v="4554" actId="1037"/>
          <ac:spMkLst>
            <pc:docMk/>
            <pc:sldMk cId="1464758072" sldId="2145707100"/>
            <ac:spMk id="560" creationId="{D5D3AED2-DEB3-4980-886D-B3FF24C9450E}"/>
          </ac:spMkLst>
        </pc:spChg>
        <pc:spChg chg="mod">
          <ac:chgData name="Sheng, Yanan" userId="a8f760e9-50c6-421d-9788-7991509e9b00" providerId="ADAL" clId="{CE83D114-1C90-4F39-8D42-4D8D4E384834}" dt="2023-07-02T06:37:08.254" v="4554" actId="1037"/>
          <ac:spMkLst>
            <pc:docMk/>
            <pc:sldMk cId="1464758072" sldId="2145707100"/>
            <ac:spMk id="561" creationId="{8CBEFF8F-3E9A-4DB2-A01B-A9029585FC56}"/>
          </ac:spMkLst>
        </pc:spChg>
        <pc:spChg chg="mod">
          <ac:chgData name="Sheng, Yanan" userId="a8f760e9-50c6-421d-9788-7991509e9b00" providerId="ADAL" clId="{CE83D114-1C90-4F39-8D42-4D8D4E384834}" dt="2023-07-02T06:37:08.254" v="4554" actId="1037"/>
          <ac:spMkLst>
            <pc:docMk/>
            <pc:sldMk cId="1464758072" sldId="2145707100"/>
            <ac:spMk id="562" creationId="{9154D7AA-BB19-4F24-A65C-D0A3BA7919F9}"/>
          </ac:spMkLst>
        </pc:spChg>
        <pc:spChg chg="mod">
          <ac:chgData name="Sheng, Yanan" userId="a8f760e9-50c6-421d-9788-7991509e9b00" providerId="ADAL" clId="{CE83D114-1C90-4F39-8D42-4D8D4E384834}" dt="2023-07-02T06:37:08.254" v="4554" actId="1037"/>
          <ac:spMkLst>
            <pc:docMk/>
            <pc:sldMk cId="1464758072" sldId="2145707100"/>
            <ac:spMk id="563" creationId="{F2D378E0-9167-47E1-9332-42130D3CF6E6}"/>
          </ac:spMkLst>
        </pc:spChg>
        <pc:spChg chg="mod">
          <ac:chgData name="Sheng, Yanan" userId="a8f760e9-50c6-421d-9788-7991509e9b00" providerId="ADAL" clId="{CE83D114-1C90-4F39-8D42-4D8D4E384834}" dt="2023-07-02T06:37:08.254" v="4554" actId="1037"/>
          <ac:spMkLst>
            <pc:docMk/>
            <pc:sldMk cId="1464758072" sldId="2145707100"/>
            <ac:spMk id="564" creationId="{6EBA471F-1AEA-495A-8275-3F9D566AE5F0}"/>
          </ac:spMkLst>
        </pc:spChg>
        <pc:spChg chg="mod">
          <ac:chgData name="Sheng, Yanan" userId="a8f760e9-50c6-421d-9788-7991509e9b00" providerId="ADAL" clId="{CE83D114-1C90-4F39-8D42-4D8D4E384834}" dt="2023-07-02T06:37:08.254" v="4554" actId="1037"/>
          <ac:spMkLst>
            <pc:docMk/>
            <pc:sldMk cId="1464758072" sldId="2145707100"/>
            <ac:spMk id="565" creationId="{31156EC9-379F-43C6-8481-250F2F826F34}"/>
          </ac:spMkLst>
        </pc:spChg>
        <pc:spChg chg="mod">
          <ac:chgData name="Sheng, Yanan" userId="a8f760e9-50c6-421d-9788-7991509e9b00" providerId="ADAL" clId="{CE83D114-1C90-4F39-8D42-4D8D4E384834}" dt="2023-07-02T06:37:08.254" v="4554" actId="1037"/>
          <ac:spMkLst>
            <pc:docMk/>
            <pc:sldMk cId="1464758072" sldId="2145707100"/>
            <ac:spMk id="566" creationId="{ACDA5AAE-AA54-4DBC-86FB-4D7EE13C75D5}"/>
          </ac:spMkLst>
        </pc:spChg>
        <pc:spChg chg="mod">
          <ac:chgData name="Sheng, Yanan" userId="a8f760e9-50c6-421d-9788-7991509e9b00" providerId="ADAL" clId="{CE83D114-1C90-4F39-8D42-4D8D4E384834}" dt="2023-07-02T06:37:08.254" v="4554" actId="1037"/>
          <ac:spMkLst>
            <pc:docMk/>
            <pc:sldMk cId="1464758072" sldId="2145707100"/>
            <ac:spMk id="567" creationId="{09CB9B02-A661-4BAB-8B3C-7796C943BD69}"/>
          </ac:spMkLst>
        </pc:spChg>
        <pc:spChg chg="mod">
          <ac:chgData name="Sheng, Yanan" userId="a8f760e9-50c6-421d-9788-7991509e9b00" providerId="ADAL" clId="{CE83D114-1C90-4F39-8D42-4D8D4E384834}" dt="2023-07-02T06:37:08.254" v="4554" actId="1037"/>
          <ac:spMkLst>
            <pc:docMk/>
            <pc:sldMk cId="1464758072" sldId="2145707100"/>
            <ac:spMk id="568" creationId="{60EBA305-852E-4669-9015-14446C87EFFE}"/>
          </ac:spMkLst>
        </pc:spChg>
        <pc:spChg chg="mod">
          <ac:chgData name="Sheng, Yanan" userId="a8f760e9-50c6-421d-9788-7991509e9b00" providerId="ADAL" clId="{CE83D114-1C90-4F39-8D42-4D8D4E384834}" dt="2023-07-02T06:37:08.254" v="4554" actId="1037"/>
          <ac:spMkLst>
            <pc:docMk/>
            <pc:sldMk cId="1464758072" sldId="2145707100"/>
            <ac:spMk id="569" creationId="{79E28F11-11A8-4591-99DC-A859539C0583}"/>
          </ac:spMkLst>
        </pc:spChg>
        <pc:spChg chg="mod">
          <ac:chgData name="Sheng, Yanan" userId="a8f760e9-50c6-421d-9788-7991509e9b00" providerId="ADAL" clId="{CE83D114-1C90-4F39-8D42-4D8D4E384834}" dt="2023-07-02T06:37:08.254" v="4554" actId="1037"/>
          <ac:spMkLst>
            <pc:docMk/>
            <pc:sldMk cId="1464758072" sldId="2145707100"/>
            <ac:spMk id="570" creationId="{004A6FEB-FFBC-4577-BEF7-F77DAF436531}"/>
          </ac:spMkLst>
        </pc:spChg>
        <pc:spChg chg="mod">
          <ac:chgData name="Sheng, Yanan" userId="a8f760e9-50c6-421d-9788-7991509e9b00" providerId="ADAL" clId="{CE83D114-1C90-4F39-8D42-4D8D4E384834}" dt="2023-07-02T06:37:08.254" v="4554" actId="1037"/>
          <ac:spMkLst>
            <pc:docMk/>
            <pc:sldMk cId="1464758072" sldId="2145707100"/>
            <ac:spMk id="571" creationId="{312FB994-107F-431F-B749-E4C7294C29C2}"/>
          </ac:spMkLst>
        </pc:spChg>
        <pc:spChg chg="mod">
          <ac:chgData name="Sheng, Yanan" userId="a8f760e9-50c6-421d-9788-7991509e9b00" providerId="ADAL" clId="{CE83D114-1C90-4F39-8D42-4D8D4E384834}" dt="2023-07-02T06:37:08.254" v="4554" actId="1037"/>
          <ac:spMkLst>
            <pc:docMk/>
            <pc:sldMk cId="1464758072" sldId="2145707100"/>
            <ac:spMk id="572" creationId="{057E4F7B-91B4-4EB6-A353-3E7BD61FBDB5}"/>
          </ac:spMkLst>
        </pc:spChg>
        <pc:spChg chg="mod">
          <ac:chgData name="Sheng, Yanan" userId="a8f760e9-50c6-421d-9788-7991509e9b00" providerId="ADAL" clId="{CE83D114-1C90-4F39-8D42-4D8D4E384834}" dt="2023-07-02T06:37:08.254" v="4554" actId="1037"/>
          <ac:spMkLst>
            <pc:docMk/>
            <pc:sldMk cId="1464758072" sldId="2145707100"/>
            <ac:spMk id="573" creationId="{9585D230-7DAD-4841-8CFA-CB3D23D2EE0B}"/>
          </ac:spMkLst>
        </pc:spChg>
        <pc:spChg chg="mod">
          <ac:chgData name="Sheng, Yanan" userId="a8f760e9-50c6-421d-9788-7991509e9b00" providerId="ADAL" clId="{CE83D114-1C90-4F39-8D42-4D8D4E384834}" dt="2023-07-02T06:37:08.254" v="4554" actId="1037"/>
          <ac:spMkLst>
            <pc:docMk/>
            <pc:sldMk cId="1464758072" sldId="2145707100"/>
            <ac:spMk id="574" creationId="{0CD47750-77EF-47D5-9FE0-F6F981B20E9B}"/>
          </ac:spMkLst>
        </pc:spChg>
        <pc:spChg chg="mod">
          <ac:chgData name="Sheng, Yanan" userId="a8f760e9-50c6-421d-9788-7991509e9b00" providerId="ADAL" clId="{CE83D114-1C90-4F39-8D42-4D8D4E384834}" dt="2023-07-02T06:37:08.254" v="4554" actId="1037"/>
          <ac:spMkLst>
            <pc:docMk/>
            <pc:sldMk cId="1464758072" sldId="2145707100"/>
            <ac:spMk id="575" creationId="{966E75FD-E446-4B94-9D0B-B58FC65AF610}"/>
          </ac:spMkLst>
        </pc:spChg>
        <pc:spChg chg="mod">
          <ac:chgData name="Sheng, Yanan" userId="a8f760e9-50c6-421d-9788-7991509e9b00" providerId="ADAL" clId="{CE83D114-1C90-4F39-8D42-4D8D4E384834}" dt="2023-07-02T06:37:08.254" v="4554" actId="1037"/>
          <ac:spMkLst>
            <pc:docMk/>
            <pc:sldMk cId="1464758072" sldId="2145707100"/>
            <ac:spMk id="576" creationId="{4C952123-59C5-42F7-8423-17B446EAB6C0}"/>
          </ac:spMkLst>
        </pc:spChg>
        <pc:spChg chg="mod">
          <ac:chgData name="Sheng, Yanan" userId="a8f760e9-50c6-421d-9788-7991509e9b00" providerId="ADAL" clId="{CE83D114-1C90-4F39-8D42-4D8D4E384834}" dt="2023-07-02T06:37:08.254" v="4554" actId="1037"/>
          <ac:spMkLst>
            <pc:docMk/>
            <pc:sldMk cId="1464758072" sldId="2145707100"/>
            <ac:spMk id="577" creationId="{B6FE59AF-4C76-4FE5-A68F-15EB633712D7}"/>
          </ac:spMkLst>
        </pc:spChg>
        <pc:spChg chg="mod">
          <ac:chgData name="Sheng, Yanan" userId="a8f760e9-50c6-421d-9788-7991509e9b00" providerId="ADAL" clId="{CE83D114-1C90-4F39-8D42-4D8D4E384834}" dt="2023-07-02T06:37:08.254" v="4554" actId="1037"/>
          <ac:spMkLst>
            <pc:docMk/>
            <pc:sldMk cId="1464758072" sldId="2145707100"/>
            <ac:spMk id="578" creationId="{9AAAE2BF-DCE0-4A1B-9DB8-7F7F0823884A}"/>
          </ac:spMkLst>
        </pc:spChg>
        <pc:spChg chg="mod">
          <ac:chgData name="Sheng, Yanan" userId="a8f760e9-50c6-421d-9788-7991509e9b00" providerId="ADAL" clId="{CE83D114-1C90-4F39-8D42-4D8D4E384834}" dt="2023-07-02T06:37:08.254" v="4554" actId="1037"/>
          <ac:spMkLst>
            <pc:docMk/>
            <pc:sldMk cId="1464758072" sldId="2145707100"/>
            <ac:spMk id="580" creationId="{E1879832-91D8-487C-9F96-CFFEFC2E562A}"/>
          </ac:spMkLst>
        </pc:spChg>
        <pc:spChg chg="mod">
          <ac:chgData name="Sheng, Yanan" userId="a8f760e9-50c6-421d-9788-7991509e9b00" providerId="ADAL" clId="{CE83D114-1C90-4F39-8D42-4D8D4E384834}" dt="2023-07-02T06:37:08.254" v="4554" actId="1037"/>
          <ac:spMkLst>
            <pc:docMk/>
            <pc:sldMk cId="1464758072" sldId="2145707100"/>
            <ac:spMk id="581" creationId="{16045D89-8C54-45EA-88BF-70E6E5050D2D}"/>
          </ac:spMkLst>
        </pc:spChg>
        <pc:spChg chg="mod">
          <ac:chgData name="Sheng, Yanan" userId="a8f760e9-50c6-421d-9788-7991509e9b00" providerId="ADAL" clId="{CE83D114-1C90-4F39-8D42-4D8D4E384834}" dt="2023-07-02T06:37:08.254" v="4554" actId="1037"/>
          <ac:spMkLst>
            <pc:docMk/>
            <pc:sldMk cId="1464758072" sldId="2145707100"/>
            <ac:spMk id="582" creationId="{5EA1C7FC-5BA6-4212-BC0F-0ADF14EF4DF5}"/>
          </ac:spMkLst>
        </pc:spChg>
        <pc:spChg chg="mod">
          <ac:chgData name="Sheng, Yanan" userId="a8f760e9-50c6-421d-9788-7991509e9b00" providerId="ADAL" clId="{CE83D114-1C90-4F39-8D42-4D8D4E384834}" dt="2023-07-02T06:37:08.254" v="4554" actId="1037"/>
          <ac:spMkLst>
            <pc:docMk/>
            <pc:sldMk cId="1464758072" sldId="2145707100"/>
            <ac:spMk id="583" creationId="{FA6DABF7-4CED-4220-9B3A-0EF6ED02A559}"/>
          </ac:spMkLst>
        </pc:spChg>
        <pc:spChg chg="mod">
          <ac:chgData name="Sheng, Yanan" userId="a8f760e9-50c6-421d-9788-7991509e9b00" providerId="ADAL" clId="{CE83D114-1C90-4F39-8D42-4D8D4E384834}" dt="2023-07-02T06:37:08.254" v="4554" actId="1037"/>
          <ac:spMkLst>
            <pc:docMk/>
            <pc:sldMk cId="1464758072" sldId="2145707100"/>
            <ac:spMk id="584" creationId="{11387534-D5E4-4C7D-BD38-B79006B6C724}"/>
          </ac:spMkLst>
        </pc:spChg>
        <pc:spChg chg="mod">
          <ac:chgData name="Sheng, Yanan" userId="a8f760e9-50c6-421d-9788-7991509e9b00" providerId="ADAL" clId="{CE83D114-1C90-4F39-8D42-4D8D4E384834}" dt="2023-07-02T06:37:08.254" v="4554" actId="1037"/>
          <ac:spMkLst>
            <pc:docMk/>
            <pc:sldMk cId="1464758072" sldId="2145707100"/>
            <ac:spMk id="585" creationId="{30AD9F7D-7E87-44AD-97B5-28E4026183B2}"/>
          </ac:spMkLst>
        </pc:spChg>
        <pc:spChg chg="mod">
          <ac:chgData name="Sheng, Yanan" userId="a8f760e9-50c6-421d-9788-7991509e9b00" providerId="ADAL" clId="{CE83D114-1C90-4F39-8D42-4D8D4E384834}" dt="2023-07-02T06:37:08.254" v="4554" actId="1037"/>
          <ac:spMkLst>
            <pc:docMk/>
            <pc:sldMk cId="1464758072" sldId="2145707100"/>
            <ac:spMk id="586" creationId="{A444221B-3FE8-4FB5-A753-0714D8EDB534}"/>
          </ac:spMkLst>
        </pc:spChg>
        <pc:spChg chg="mod">
          <ac:chgData name="Sheng, Yanan" userId="a8f760e9-50c6-421d-9788-7991509e9b00" providerId="ADAL" clId="{CE83D114-1C90-4F39-8D42-4D8D4E384834}" dt="2023-07-02T06:37:08.254" v="4554" actId="1037"/>
          <ac:spMkLst>
            <pc:docMk/>
            <pc:sldMk cId="1464758072" sldId="2145707100"/>
            <ac:spMk id="587" creationId="{D125A163-7B29-48B5-9494-89FE6DFD8BDB}"/>
          </ac:spMkLst>
        </pc:spChg>
        <pc:spChg chg="mod">
          <ac:chgData name="Sheng, Yanan" userId="a8f760e9-50c6-421d-9788-7991509e9b00" providerId="ADAL" clId="{CE83D114-1C90-4F39-8D42-4D8D4E384834}" dt="2023-07-02T06:37:08.254" v="4554" actId="1037"/>
          <ac:spMkLst>
            <pc:docMk/>
            <pc:sldMk cId="1464758072" sldId="2145707100"/>
            <ac:spMk id="588" creationId="{287838AD-03AF-49D8-AA31-E370F0F8E649}"/>
          </ac:spMkLst>
        </pc:spChg>
        <pc:spChg chg="mod">
          <ac:chgData name="Sheng, Yanan" userId="a8f760e9-50c6-421d-9788-7991509e9b00" providerId="ADAL" clId="{CE83D114-1C90-4F39-8D42-4D8D4E384834}" dt="2023-07-02T06:37:08.254" v="4554" actId="1037"/>
          <ac:spMkLst>
            <pc:docMk/>
            <pc:sldMk cId="1464758072" sldId="2145707100"/>
            <ac:spMk id="589" creationId="{E64071A0-9EFA-490F-81B9-F67082CFF9D3}"/>
          </ac:spMkLst>
        </pc:spChg>
        <pc:spChg chg="mod">
          <ac:chgData name="Sheng, Yanan" userId="a8f760e9-50c6-421d-9788-7991509e9b00" providerId="ADAL" clId="{CE83D114-1C90-4F39-8D42-4D8D4E384834}" dt="2023-07-02T06:37:08.254" v="4554" actId="1037"/>
          <ac:spMkLst>
            <pc:docMk/>
            <pc:sldMk cId="1464758072" sldId="2145707100"/>
            <ac:spMk id="590" creationId="{17025C31-A0D9-4C2A-8AA6-53CC3CD38DE7}"/>
          </ac:spMkLst>
        </pc:spChg>
        <pc:spChg chg="mod">
          <ac:chgData name="Sheng, Yanan" userId="a8f760e9-50c6-421d-9788-7991509e9b00" providerId="ADAL" clId="{CE83D114-1C90-4F39-8D42-4D8D4E384834}" dt="2023-07-02T06:37:08.254" v="4554" actId="1037"/>
          <ac:spMkLst>
            <pc:docMk/>
            <pc:sldMk cId="1464758072" sldId="2145707100"/>
            <ac:spMk id="592" creationId="{9CC78F04-4C88-411A-B478-F76728DC647A}"/>
          </ac:spMkLst>
        </pc:spChg>
        <pc:spChg chg="mod">
          <ac:chgData name="Sheng, Yanan" userId="a8f760e9-50c6-421d-9788-7991509e9b00" providerId="ADAL" clId="{CE83D114-1C90-4F39-8D42-4D8D4E384834}" dt="2023-07-02T06:37:08.254" v="4554" actId="1037"/>
          <ac:spMkLst>
            <pc:docMk/>
            <pc:sldMk cId="1464758072" sldId="2145707100"/>
            <ac:spMk id="593" creationId="{75B681DD-2193-4864-B60D-15816853E5AD}"/>
          </ac:spMkLst>
        </pc:spChg>
        <pc:spChg chg="mod">
          <ac:chgData name="Sheng, Yanan" userId="a8f760e9-50c6-421d-9788-7991509e9b00" providerId="ADAL" clId="{CE83D114-1C90-4F39-8D42-4D8D4E384834}" dt="2023-07-02T06:37:08.254" v="4554" actId="1037"/>
          <ac:spMkLst>
            <pc:docMk/>
            <pc:sldMk cId="1464758072" sldId="2145707100"/>
            <ac:spMk id="594" creationId="{9E14C5B5-75C7-43CC-9FFE-D2606C120EC4}"/>
          </ac:spMkLst>
        </pc:spChg>
        <pc:spChg chg="mod">
          <ac:chgData name="Sheng, Yanan" userId="a8f760e9-50c6-421d-9788-7991509e9b00" providerId="ADAL" clId="{CE83D114-1C90-4F39-8D42-4D8D4E384834}" dt="2023-07-02T06:37:08.254" v="4554" actId="1037"/>
          <ac:spMkLst>
            <pc:docMk/>
            <pc:sldMk cId="1464758072" sldId="2145707100"/>
            <ac:spMk id="595" creationId="{A76B2E05-1C2C-4E24-BD14-A6BE144CEA72}"/>
          </ac:spMkLst>
        </pc:spChg>
        <pc:spChg chg="mod">
          <ac:chgData name="Sheng, Yanan" userId="a8f760e9-50c6-421d-9788-7991509e9b00" providerId="ADAL" clId="{CE83D114-1C90-4F39-8D42-4D8D4E384834}" dt="2023-07-02T06:37:08.254" v="4554" actId="1037"/>
          <ac:spMkLst>
            <pc:docMk/>
            <pc:sldMk cId="1464758072" sldId="2145707100"/>
            <ac:spMk id="596" creationId="{4BF88FA0-5C76-4CA1-B7A2-F6AE355B7F79}"/>
          </ac:spMkLst>
        </pc:spChg>
        <pc:spChg chg="mod">
          <ac:chgData name="Sheng, Yanan" userId="a8f760e9-50c6-421d-9788-7991509e9b00" providerId="ADAL" clId="{CE83D114-1C90-4F39-8D42-4D8D4E384834}" dt="2023-07-02T06:37:08.254" v="4554" actId="1037"/>
          <ac:spMkLst>
            <pc:docMk/>
            <pc:sldMk cId="1464758072" sldId="2145707100"/>
            <ac:spMk id="597" creationId="{D51B9D90-F595-426E-8B49-E696E2D34372}"/>
          </ac:spMkLst>
        </pc:spChg>
        <pc:spChg chg="mod">
          <ac:chgData name="Sheng, Yanan" userId="a8f760e9-50c6-421d-9788-7991509e9b00" providerId="ADAL" clId="{CE83D114-1C90-4F39-8D42-4D8D4E384834}" dt="2023-07-02T06:37:08.254" v="4554" actId="1037"/>
          <ac:spMkLst>
            <pc:docMk/>
            <pc:sldMk cId="1464758072" sldId="2145707100"/>
            <ac:spMk id="598" creationId="{0835E31D-9AB9-4814-9A09-7B66196465CB}"/>
          </ac:spMkLst>
        </pc:spChg>
        <pc:spChg chg="mod">
          <ac:chgData name="Sheng, Yanan" userId="a8f760e9-50c6-421d-9788-7991509e9b00" providerId="ADAL" clId="{CE83D114-1C90-4F39-8D42-4D8D4E384834}" dt="2023-07-02T06:37:08.254" v="4554" actId="1037"/>
          <ac:spMkLst>
            <pc:docMk/>
            <pc:sldMk cId="1464758072" sldId="2145707100"/>
            <ac:spMk id="599" creationId="{7FBCC81F-E0A0-417D-A52C-B5F0AB47BDD4}"/>
          </ac:spMkLst>
        </pc:spChg>
        <pc:spChg chg="mod">
          <ac:chgData name="Sheng, Yanan" userId="a8f760e9-50c6-421d-9788-7991509e9b00" providerId="ADAL" clId="{CE83D114-1C90-4F39-8D42-4D8D4E384834}" dt="2023-07-02T06:37:08.254" v="4554" actId="1037"/>
          <ac:spMkLst>
            <pc:docMk/>
            <pc:sldMk cId="1464758072" sldId="2145707100"/>
            <ac:spMk id="600" creationId="{49B0979B-28D9-4CFA-9675-9D3650A3ED9B}"/>
          </ac:spMkLst>
        </pc:spChg>
        <pc:spChg chg="mod">
          <ac:chgData name="Sheng, Yanan" userId="a8f760e9-50c6-421d-9788-7991509e9b00" providerId="ADAL" clId="{CE83D114-1C90-4F39-8D42-4D8D4E384834}" dt="2023-07-02T06:37:08.254" v="4554" actId="1037"/>
          <ac:spMkLst>
            <pc:docMk/>
            <pc:sldMk cId="1464758072" sldId="2145707100"/>
            <ac:spMk id="601" creationId="{EDE5883E-D3C4-48E7-8151-F96B224EAA4A}"/>
          </ac:spMkLst>
        </pc:spChg>
        <pc:spChg chg="mod">
          <ac:chgData name="Sheng, Yanan" userId="a8f760e9-50c6-421d-9788-7991509e9b00" providerId="ADAL" clId="{CE83D114-1C90-4F39-8D42-4D8D4E384834}" dt="2023-07-02T06:37:08.254" v="4554" actId="1037"/>
          <ac:spMkLst>
            <pc:docMk/>
            <pc:sldMk cId="1464758072" sldId="2145707100"/>
            <ac:spMk id="602" creationId="{8361006D-9A2D-4A8D-8D57-F34D3E7859EC}"/>
          </ac:spMkLst>
        </pc:spChg>
        <pc:spChg chg="mod">
          <ac:chgData name="Sheng, Yanan" userId="a8f760e9-50c6-421d-9788-7991509e9b00" providerId="ADAL" clId="{CE83D114-1C90-4F39-8D42-4D8D4E384834}" dt="2023-07-02T06:37:08.254" v="4554" actId="1037"/>
          <ac:spMkLst>
            <pc:docMk/>
            <pc:sldMk cId="1464758072" sldId="2145707100"/>
            <ac:spMk id="603" creationId="{48E8A346-2085-4B53-96A4-FEB0FA9C9DE5}"/>
          </ac:spMkLst>
        </pc:spChg>
        <pc:spChg chg="mod">
          <ac:chgData name="Sheng, Yanan" userId="a8f760e9-50c6-421d-9788-7991509e9b00" providerId="ADAL" clId="{CE83D114-1C90-4F39-8D42-4D8D4E384834}" dt="2023-07-02T06:37:08.254" v="4554" actId="1037"/>
          <ac:spMkLst>
            <pc:docMk/>
            <pc:sldMk cId="1464758072" sldId="2145707100"/>
            <ac:spMk id="605" creationId="{3D7BD638-C4C1-495C-921F-B1701B3CCB62}"/>
          </ac:spMkLst>
        </pc:spChg>
        <pc:spChg chg="mod">
          <ac:chgData name="Sheng, Yanan" userId="a8f760e9-50c6-421d-9788-7991509e9b00" providerId="ADAL" clId="{CE83D114-1C90-4F39-8D42-4D8D4E384834}" dt="2023-07-02T06:37:08.254" v="4554" actId="1037"/>
          <ac:spMkLst>
            <pc:docMk/>
            <pc:sldMk cId="1464758072" sldId="2145707100"/>
            <ac:spMk id="606" creationId="{A2118657-FCAB-430D-959A-4574FAB778FA}"/>
          </ac:spMkLst>
        </pc:spChg>
        <pc:spChg chg="mod">
          <ac:chgData name="Sheng, Yanan" userId="a8f760e9-50c6-421d-9788-7991509e9b00" providerId="ADAL" clId="{CE83D114-1C90-4F39-8D42-4D8D4E384834}" dt="2023-07-02T06:37:08.254" v="4554" actId="1037"/>
          <ac:spMkLst>
            <pc:docMk/>
            <pc:sldMk cId="1464758072" sldId="2145707100"/>
            <ac:spMk id="607" creationId="{AB3A419A-5507-42A3-9E62-DF4070722E9C}"/>
          </ac:spMkLst>
        </pc:spChg>
        <pc:spChg chg="mod">
          <ac:chgData name="Sheng, Yanan" userId="a8f760e9-50c6-421d-9788-7991509e9b00" providerId="ADAL" clId="{CE83D114-1C90-4F39-8D42-4D8D4E384834}" dt="2023-07-02T06:37:08.254" v="4554" actId="1037"/>
          <ac:spMkLst>
            <pc:docMk/>
            <pc:sldMk cId="1464758072" sldId="2145707100"/>
            <ac:spMk id="608" creationId="{1F8130A0-B0C7-4E5C-B4AD-7665DA99F2A6}"/>
          </ac:spMkLst>
        </pc:spChg>
        <pc:spChg chg="mod">
          <ac:chgData name="Sheng, Yanan" userId="a8f760e9-50c6-421d-9788-7991509e9b00" providerId="ADAL" clId="{CE83D114-1C90-4F39-8D42-4D8D4E384834}" dt="2023-07-02T06:37:08.254" v="4554" actId="1037"/>
          <ac:spMkLst>
            <pc:docMk/>
            <pc:sldMk cId="1464758072" sldId="2145707100"/>
            <ac:spMk id="609" creationId="{6DF63987-51F4-44DF-908E-96A8CEFCA94C}"/>
          </ac:spMkLst>
        </pc:spChg>
        <pc:spChg chg="mod">
          <ac:chgData name="Sheng, Yanan" userId="a8f760e9-50c6-421d-9788-7991509e9b00" providerId="ADAL" clId="{CE83D114-1C90-4F39-8D42-4D8D4E384834}" dt="2023-07-02T06:37:08.254" v="4554" actId="1037"/>
          <ac:spMkLst>
            <pc:docMk/>
            <pc:sldMk cId="1464758072" sldId="2145707100"/>
            <ac:spMk id="610" creationId="{ECD7321E-A83C-4C36-A37B-A5AFE62E6A89}"/>
          </ac:spMkLst>
        </pc:spChg>
        <pc:spChg chg="mod">
          <ac:chgData name="Sheng, Yanan" userId="a8f760e9-50c6-421d-9788-7991509e9b00" providerId="ADAL" clId="{CE83D114-1C90-4F39-8D42-4D8D4E384834}" dt="2023-07-02T06:37:08.254" v="4554" actId="1037"/>
          <ac:spMkLst>
            <pc:docMk/>
            <pc:sldMk cId="1464758072" sldId="2145707100"/>
            <ac:spMk id="611" creationId="{944390D1-449D-4B8E-9221-E0EF9C48327C}"/>
          </ac:spMkLst>
        </pc:spChg>
        <pc:spChg chg="mod">
          <ac:chgData name="Sheng, Yanan" userId="a8f760e9-50c6-421d-9788-7991509e9b00" providerId="ADAL" clId="{CE83D114-1C90-4F39-8D42-4D8D4E384834}" dt="2023-07-02T06:37:08.254" v="4554" actId="1037"/>
          <ac:spMkLst>
            <pc:docMk/>
            <pc:sldMk cId="1464758072" sldId="2145707100"/>
            <ac:spMk id="612" creationId="{41B9E758-3E9D-4A31-837F-97ED8315C477}"/>
          </ac:spMkLst>
        </pc:spChg>
        <pc:spChg chg="mod">
          <ac:chgData name="Sheng, Yanan" userId="a8f760e9-50c6-421d-9788-7991509e9b00" providerId="ADAL" clId="{CE83D114-1C90-4F39-8D42-4D8D4E384834}" dt="2023-07-02T06:37:08.254" v="4554" actId="1037"/>
          <ac:spMkLst>
            <pc:docMk/>
            <pc:sldMk cId="1464758072" sldId="2145707100"/>
            <ac:spMk id="613" creationId="{7704360D-C07B-495F-AF94-B315C411BA17}"/>
          </ac:spMkLst>
        </pc:spChg>
        <pc:spChg chg="mod">
          <ac:chgData name="Sheng, Yanan" userId="a8f760e9-50c6-421d-9788-7991509e9b00" providerId="ADAL" clId="{CE83D114-1C90-4F39-8D42-4D8D4E384834}" dt="2023-07-02T06:37:08.254" v="4554" actId="1037"/>
          <ac:spMkLst>
            <pc:docMk/>
            <pc:sldMk cId="1464758072" sldId="2145707100"/>
            <ac:spMk id="614" creationId="{4E212592-0B97-4B5B-A8E3-18D8334C5EF9}"/>
          </ac:spMkLst>
        </pc:spChg>
        <pc:spChg chg="mod">
          <ac:chgData name="Sheng, Yanan" userId="a8f760e9-50c6-421d-9788-7991509e9b00" providerId="ADAL" clId="{CE83D114-1C90-4F39-8D42-4D8D4E384834}" dt="2023-07-02T06:37:08.254" v="4554" actId="1037"/>
          <ac:spMkLst>
            <pc:docMk/>
            <pc:sldMk cId="1464758072" sldId="2145707100"/>
            <ac:spMk id="615" creationId="{B9C29411-B897-4925-9A8A-5CCC825E2E61}"/>
          </ac:spMkLst>
        </pc:spChg>
        <pc:spChg chg="mod">
          <ac:chgData name="Sheng, Yanan" userId="a8f760e9-50c6-421d-9788-7991509e9b00" providerId="ADAL" clId="{CE83D114-1C90-4F39-8D42-4D8D4E384834}" dt="2023-07-02T06:37:08.254" v="4554" actId="1037"/>
          <ac:spMkLst>
            <pc:docMk/>
            <pc:sldMk cId="1464758072" sldId="2145707100"/>
            <ac:spMk id="616" creationId="{944051B7-7A97-4E99-BDE7-FFA6955E82DF}"/>
          </ac:spMkLst>
        </pc:spChg>
        <pc:spChg chg="mod">
          <ac:chgData name="Sheng, Yanan" userId="a8f760e9-50c6-421d-9788-7991509e9b00" providerId="ADAL" clId="{CE83D114-1C90-4F39-8D42-4D8D4E384834}" dt="2023-07-02T06:37:08.254" v="4554" actId="1037"/>
          <ac:spMkLst>
            <pc:docMk/>
            <pc:sldMk cId="1464758072" sldId="2145707100"/>
            <ac:spMk id="617" creationId="{72DB59ED-1A7A-4BE1-ACC0-7121BA10B7A8}"/>
          </ac:spMkLst>
        </pc:spChg>
        <pc:spChg chg="mod">
          <ac:chgData name="Sheng, Yanan" userId="a8f760e9-50c6-421d-9788-7991509e9b00" providerId="ADAL" clId="{CE83D114-1C90-4F39-8D42-4D8D4E384834}" dt="2023-07-02T06:37:08.254" v="4554" actId="1037"/>
          <ac:spMkLst>
            <pc:docMk/>
            <pc:sldMk cId="1464758072" sldId="2145707100"/>
            <ac:spMk id="618" creationId="{193F31D6-DC3B-4155-9356-46386CA51BA4}"/>
          </ac:spMkLst>
        </pc:spChg>
        <pc:spChg chg="mod">
          <ac:chgData name="Sheng, Yanan" userId="a8f760e9-50c6-421d-9788-7991509e9b00" providerId="ADAL" clId="{CE83D114-1C90-4F39-8D42-4D8D4E384834}" dt="2023-07-02T06:37:08.254" v="4554" actId="1037"/>
          <ac:spMkLst>
            <pc:docMk/>
            <pc:sldMk cId="1464758072" sldId="2145707100"/>
            <ac:spMk id="619" creationId="{A7585CE1-A984-4B52-B04C-0CB0992C4BBE}"/>
          </ac:spMkLst>
        </pc:spChg>
        <pc:spChg chg="mod">
          <ac:chgData name="Sheng, Yanan" userId="a8f760e9-50c6-421d-9788-7991509e9b00" providerId="ADAL" clId="{CE83D114-1C90-4F39-8D42-4D8D4E384834}" dt="2023-07-02T06:37:08.254" v="4554" actId="1037"/>
          <ac:spMkLst>
            <pc:docMk/>
            <pc:sldMk cId="1464758072" sldId="2145707100"/>
            <ac:spMk id="620" creationId="{3ABD4FEF-8337-4A8F-BD39-2626D66DD16E}"/>
          </ac:spMkLst>
        </pc:spChg>
        <pc:spChg chg="mod">
          <ac:chgData name="Sheng, Yanan" userId="a8f760e9-50c6-421d-9788-7991509e9b00" providerId="ADAL" clId="{CE83D114-1C90-4F39-8D42-4D8D4E384834}" dt="2023-07-02T06:37:08.254" v="4554" actId="1037"/>
          <ac:spMkLst>
            <pc:docMk/>
            <pc:sldMk cId="1464758072" sldId="2145707100"/>
            <ac:spMk id="621" creationId="{21EAAFEA-02BE-4D45-B395-D07444432839}"/>
          </ac:spMkLst>
        </pc:spChg>
        <pc:spChg chg="mod">
          <ac:chgData name="Sheng, Yanan" userId="a8f760e9-50c6-421d-9788-7991509e9b00" providerId="ADAL" clId="{CE83D114-1C90-4F39-8D42-4D8D4E384834}" dt="2023-07-02T06:37:08.254" v="4554" actId="1037"/>
          <ac:spMkLst>
            <pc:docMk/>
            <pc:sldMk cId="1464758072" sldId="2145707100"/>
            <ac:spMk id="622" creationId="{33134A9B-B685-4845-A3B5-0FE2C28776C1}"/>
          </ac:spMkLst>
        </pc:spChg>
        <pc:spChg chg="mod">
          <ac:chgData name="Sheng, Yanan" userId="a8f760e9-50c6-421d-9788-7991509e9b00" providerId="ADAL" clId="{CE83D114-1C90-4F39-8D42-4D8D4E384834}" dt="2023-07-02T06:37:08.254" v="4554" actId="1037"/>
          <ac:spMkLst>
            <pc:docMk/>
            <pc:sldMk cId="1464758072" sldId="2145707100"/>
            <ac:spMk id="623" creationId="{6CE44D96-B78B-4515-8644-A90F52539A22}"/>
          </ac:spMkLst>
        </pc:spChg>
        <pc:spChg chg="mod">
          <ac:chgData name="Sheng, Yanan" userId="a8f760e9-50c6-421d-9788-7991509e9b00" providerId="ADAL" clId="{CE83D114-1C90-4F39-8D42-4D8D4E384834}" dt="2023-07-02T06:37:08.254" v="4554" actId="1037"/>
          <ac:spMkLst>
            <pc:docMk/>
            <pc:sldMk cId="1464758072" sldId="2145707100"/>
            <ac:spMk id="624" creationId="{F24A6014-BCC4-49A3-A07B-DF5A6C0B1C2F}"/>
          </ac:spMkLst>
        </pc:spChg>
        <pc:spChg chg="mod">
          <ac:chgData name="Sheng, Yanan" userId="a8f760e9-50c6-421d-9788-7991509e9b00" providerId="ADAL" clId="{CE83D114-1C90-4F39-8D42-4D8D4E384834}" dt="2023-07-02T06:37:08.254" v="4554" actId="1037"/>
          <ac:spMkLst>
            <pc:docMk/>
            <pc:sldMk cId="1464758072" sldId="2145707100"/>
            <ac:spMk id="625" creationId="{DD60E664-E64D-467F-9378-91FA4FD5D817}"/>
          </ac:spMkLst>
        </pc:spChg>
        <pc:spChg chg="mod">
          <ac:chgData name="Sheng, Yanan" userId="a8f760e9-50c6-421d-9788-7991509e9b00" providerId="ADAL" clId="{CE83D114-1C90-4F39-8D42-4D8D4E384834}" dt="2023-07-02T06:37:08.254" v="4554" actId="1037"/>
          <ac:spMkLst>
            <pc:docMk/>
            <pc:sldMk cId="1464758072" sldId="2145707100"/>
            <ac:spMk id="626" creationId="{3F8B75CB-0052-431E-9891-ED8BBCEF72FC}"/>
          </ac:spMkLst>
        </pc:spChg>
        <pc:spChg chg="mod">
          <ac:chgData name="Sheng, Yanan" userId="a8f760e9-50c6-421d-9788-7991509e9b00" providerId="ADAL" clId="{CE83D114-1C90-4F39-8D42-4D8D4E384834}" dt="2023-07-02T06:37:08.254" v="4554" actId="1037"/>
          <ac:spMkLst>
            <pc:docMk/>
            <pc:sldMk cId="1464758072" sldId="2145707100"/>
            <ac:spMk id="627" creationId="{3DDED50D-885B-4CD3-8A65-71D466FAA79F}"/>
          </ac:spMkLst>
        </pc:spChg>
        <pc:spChg chg="mod">
          <ac:chgData name="Sheng, Yanan" userId="a8f760e9-50c6-421d-9788-7991509e9b00" providerId="ADAL" clId="{CE83D114-1C90-4F39-8D42-4D8D4E384834}" dt="2023-07-02T06:37:08.254" v="4554" actId="1037"/>
          <ac:spMkLst>
            <pc:docMk/>
            <pc:sldMk cId="1464758072" sldId="2145707100"/>
            <ac:spMk id="628" creationId="{985C598D-CB94-4C5A-A27D-344A5DDEA0D6}"/>
          </ac:spMkLst>
        </pc:spChg>
        <pc:spChg chg="mod">
          <ac:chgData name="Sheng, Yanan" userId="a8f760e9-50c6-421d-9788-7991509e9b00" providerId="ADAL" clId="{CE83D114-1C90-4F39-8D42-4D8D4E384834}" dt="2023-07-02T06:37:08.254" v="4554" actId="1037"/>
          <ac:spMkLst>
            <pc:docMk/>
            <pc:sldMk cId="1464758072" sldId="2145707100"/>
            <ac:spMk id="629" creationId="{D67BFB44-657C-4214-9D11-430BA10ACB59}"/>
          </ac:spMkLst>
        </pc:spChg>
        <pc:spChg chg="mod">
          <ac:chgData name="Sheng, Yanan" userId="a8f760e9-50c6-421d-9788-7991509e9b00" providerId="ADAL" clId="{CE83D114-1C90-4F39-8D42-4D8D4E384834}" dt="2023-07-02T06:37:08.254" v="4554" actId="1037"/>
          <ac:spMkLst>
            <pc:docMk/>
            <pc:sldMk cId="1464758072" sldId="2145707100"/>
            <ac:spMk id="630" creationId="{0E8B86BE-6059-4684-B669-B746FFED2EF3}"/>
          </ac:spMkLst>
        </pc:spChg>
        <pc:spChg chg="mod">
          <ac:chgData name="Sheng, Yanan" userId="a8f760e9-50c6-421d-9788-7991509e9b00" providerId="ADAL" clId="{CE83D114-1C90-4F39-8D42-4D8D4E384834}" dt="2023-07-02T06:37:08.254" v="4554" actId="1037"/>
          <ac:spMkLst>
            <pc:docMk/>
            <pc:sldMk cId="1464758072" sldId="2145707100"/>
            <ac:spMk id="631" creationId="{F9E7BFB7-F58F-4236-8565-6B5389AA06C8}"/>
          </ac:spMkLst>
        </pc:spChg>
        <pc:spChg chg="mod">
          <ac:chgData name="Sheng, Yanan" userId="a8f760e9-50c6-421d-9788-7991509e9b00" providerId="ADAL" clId="{CE83D114-1C90-4F39-8D42-4D8D4E384834}" dt="2023-07-02T06:37:08.254" v="4554" actId="1037"/>
          <ac:spMkLst>
            <pc:docMk/>
            <pc:sldMk cId="1464758072" sldId="2145707100"/>
            <ac:spMk id="632" creationId="{A906D699-C22D-46B5-B029-7223CB75D009}"/>
          </ac:spMkLst>
        </pc:spChg>
        <pc:spChg chg="mod">
          <ac:chgData name="Sheng, Yanan" userId="a8f760e9-50c6-421d-9788-7991509e9b00" providerId="ADAL" clId="{CE83D114-1C90-4F39-8D42-4D8D4E384834}" dt="2023-07-02T06:37:08.254" v="4554" actId="1037"/>
          <ac:spMkLst>
            <pc:docMk/>
            <pc:sldMk cId="1464758072" sldId="2145707100"/>
            <ac:spMk id="633" creationId="{284718B7-FD30-40F6-AA1B-59097FB1CC0E}"/>
          </ac:spMkLst>
        </pc:spChg>
        <pc:spChg chg="mod">
          <ac:chgData name="Sheng, Yanan" userId="a8f760e9-50c6-421d-9788-7991509e9b00" providerId="ADAL" clId="{CE83D114-1C90-4F39-8D42-4D8D4E384834}" dt="2023-07-02T06:37:08.254" v="4554" actId="1037"/>
          <ac:spMkLst>
            <pc:docMk/>
            <pc:sldMk cId="1464758072" sldId="2145707100"/>
            <ac:spMk id="634" creationId="{C8FD1635-DD6D-47E4-8A89-22D11691FD16}"/>
          </ac:spMkLst>
        </pc:spChg>
        <pc:spChg chg="mod">
          <ac:chgData name="Sheng, Yanan" userId="a8f760e9-50c6-421d-9788-7991509e9b00" providerId="ADAL" clId="{CE83D114-1C90-4F39-8D42-4D8D4E384834}" dt="2023-07-02T06:37:08.254" v="4554" actId="1037"/>
          <ac:spMkLst>
            <pc:docMk/>
            <pc:sldMk cId="1464758072" sldId="2145707100"/>
            <ac:spMk id="635" creationId="{19CF8345-34BE-49B5-AA43-E36458E8C3CE}"/>
          </ac:spMkLst>
        </pc:spChg>
        <pc:spChg chg="mod">
          <ac:chgData name="Sheng, Yanan" userId="a8f760e9-50c6-421d-9788-7991509e9b00" providerId="ADAL" clId="{CE83D114-1C90-4F39-8D42-4D8D4E384834}" dt="2023-07-02T06:37:08.254" v="4554" actId="1037"/>
          <ac:spMkLst>
            <pc:docMk/>
            <pc:sldMk cId="1464758072" sldId="2145707100"/>
            <ac:spMk id="636" creationId="{0DF5C624-3D55-4ED5-87A3-A17F6F63F159}"/>
          </ac:spMkLst>
        </pc:spChg>
        <pc:spChg chg="mod">
          <ac:chgData name="Sheng, Yanan" userId="a8f760e9-50c6-421d-9788-7991509e9b00" providerId="ADAL" clId="{CE83D114-1C90-4F39-8D42-4D8D4E384834}" dt="2023-07-02T06:37:08.254" v="4554" actId="1037"/>
          <ac:spMkLst>
            <pc:docMk/>
            <pc:sldMk cId="1464758072" sldId="2145707100"/>
            <ac:spMk id="637" creationId="{20FE18ED-2DD3-494E-B866-F01B335928AD}"/>
          </ac:spMkLst>
        </pc:spChg>
        <pc:spChg chg="mod">
          <ac:chgData name="Sheng, Yanan" userId="a8f760e9-50c6-421d-9788-7991509e9b00" providerId="ADAL" clId="{CE83D114-1C90-4F39-8D42-4D8D4E384834}" dt="2023-07-02T06:37:08.254" v="4554" actId="1037"/>
          <ac:spMkLst>
            <pc:docMk/>
            <pc:sldMk cId="1464758072" sldId="2145707100"/>
            <ac:spMk id="638" creationId="{A4288ACB-48DA-43E7-B1BC-134E8949A3FF}"/>
          </ac:spMkLst>
        </pc:spChg>
        <pc:spChg chg="mod">
          <ac:chgData name="Sheng, Yanan" userId="a8f760e9-50c6-421d-9788-7991509e9b00" providerId="ADAL" clId="{CE83D114-1C90-4F39-8D42-4D8D4E384834}" dt="2023-07-02T06:37:08.254" v="4554" actId="1037"/>
          <ac:spMkLst>
            <pc:docMk/>
            <pc:sldMk cId="1464758072" sldId="2145707100"/>
            <ac:spMk id="639" creationId="{A7304CB2-092F-4C48-8F05-7FC4D21B49AD}"/>
          </ac:spMkLst>
        </pc:spChg>
        <pc:spChg chg="mod">
          <ac:chgData name="Sheng, Yanan" userId="a8f760e9-50c6-421d-9788-7991509e9b00" providerId="ADAL" clId="{CE83D114-1C90-4F39-8D42-4D8D4E384834}" dt="2023-07-02T06:37:08.254" v="4554" actId="1037"/>
          <ac:spMkLst>
            <pc:docMk/>
            <pc:sldMk cId="1464758072" sldId="2145707100"/>
            <ac:spMk id="640" creationId="{69732B57-8285-418E-94B9-56247CED89D2}"/>
          </ac:spMkLst>
        </pc:spChg>
        <pc:spChg chg="mod">
          <ac:chgData name="Sheng, Yanan" userId="a8f760e9-50c6-421d-9788-7991509e9b00" providerId="ADAL" clId="{CE83D114-1C90-4F39-8D42-4D8D4E384834}" dt="2023-07-02T06:37:08.254" v="4554" actId="1037"/>
          <ac:spMkLst>
            <pc:docMk/>
            <pc:sldMk cId="1464758072" sldId="2145707100"/>
            <ac:spMk id="641" creationId="{644A330A-C709-41CE-ADAD-A3BAA57D595B}"/>
          </ac:spMkLst>
        </pc:spChg>
        <pc:spChg chg="mod">
          <ac:chgData name="Sheng, Yanan" userId="a8f760e9-50c6-421d-9788-7991509e9b00" providerId="ADAL" clId="{CE83D114-1C90-4F39-8D42-4D8D4E384834}" dt="2023-07-02T06:37:08.254" v="4554" actId="1037"/>
          <ac:spMkLst>
            <pc:docMk/>
            <pc:sldMk cId="1464758072" sldId="2145707100"/>
            <ac:spMk id="642" creationId="{18839346-E6C7-4282-AC2E-8AA52B6E87C8}"/>
          </ac:spMkLst>
        </pc:spChg>
        <pc:spChg chg="mod">
          <ac:chgData name="Sheng, Yanan" userId="a8f760e9-50c6-421d-9788-7991509e9b00" providerId="ADAL" clId="{CE83D114-1C90-4F39-8D42-4D8D4E384834}" dt="2023-07-02T06:37:08.254" v="4554" actId="1037"/>
          <ac:spMkLst>
            <pc:docMk/>
            <pc:sldMk cId="1464758072" sldId="2145707100"/>
            <ac:spMk id="643" creationId="{66F7A3FA-E0DF-4264-9C1B-2974BF1924B0}"/>
          </ac:spMkLst>
        </pc:spChg>
        <pc:spChg chg="mod">
          <ac:chgData name="Sheng, Yanan" userId="a8f760e9-50c6-421d-9788-7991509e9b00" providerId="ADAL" clId="{CE83D114-1C90-4F39-8D42-4D8D4E384834}" dt="2023-07-02T06:37:08.254" v="4554" actId="1037"/>
          <ac:spMkLst>
            <pc:docMk/>
            <pc:sldMk cId="1464758072" sldId="2145707100"/>
            <ac:spMk id="644" creationId="{530F7ED0-7E58-4328-AC4E-04DD2622BA4F}"/>
          </ac:spMkLst>
        </pc:spChg>
        <pc:spChg chg="mod">
          <ac:chgData name="Sheng, Yanan" userId="a8f760e9-50c6-421d-9788-7991509e9b00" providerId="ADAL" clId="{CE83D114-1C90-4F39-8D42-4D8D4E384834}" dt="2023-07-02T06:37:08.254" v="4554" actId="1037"/>
          <ac:spMkLst>
            <pc:docMk/>
            <pc:sldMk cId="1464758072" sldId="2145707100"/>
            <ac:spMk id="645" creationId="{4175A4E5-4A00-4048-9EEE-CAC99F3603CD}"/>
          </ac:spMkLst>
        </pc:spChg>
        <pc:spChg chg="mod">
          <ac:chgData name="Sheng, Yanan" userId="a8f760e9-50c6-421d-9788-7991509e9b00" providerId="ADAL" clId="{CE83D114-1C90-4F39-8D42-4D8D4E384834}" dt="2023-07-02T06:37:08.254" v="4554" actId="1037"/>
          <ac:spMkLst>
            <pc:docMk/>
            <pc:sldMk cId="1464758072" sldId="2145707100"/>
            <ac:spMk id="647" creationId="{D433F283-41B7-4FF9-9663-F01C69492D91}"/>
          </ac:spMkLst>
        </pc:spChg>
        <pc:spChg chg="mod">
          <ac:chgData name="Sheng, Yanan" userId="a8f760e9-50c6-421d-9788-7991509e9b00" providerId="ADAL" clId="{CE83D114-1C90-4F39-8D42-4D8D4E384834}" dt="2023-07-02T06:37:08.254" v="4554" actId="1037"/>
          <ac:spMkLst>
            <pc:docMk/>
            <pc:sldMk cId="1464758072" sldId="2145707100"/>
            <ac:spMk id="648" creationId="{B787A622-C849-48D2-B58E-9FF0DFAC03B5}"/>
          </ac:spMkLst>
        </pc:spChg>
        <pc:spChg chg="mod">
          <ac:chgData name="Sheng, Yanan" userId="a8f760e9-50c6-421d-9788-7991509e9b00" providerId="ADAL" clId="{CE83D114-1C90-4F39-8D42-4D8D4E384834}" dt="2023-07-02T06:37:08.254" v="4554" actId="1037"/>
          <ac:spMkLst>
            <pc:docMk/>
            <pc:sldMk cId="1464758072" sldId="2145707100"/>
            <ac:spMk id="649" creationId="{A5AE31C4-EE47-46B6-9E3A-523A31329D9B}"/>
          </ac:spMkLst>
        </pc:spChg>
        <pc:spChg chg="mod">
          <ac:chgData name="Sheng, Yanan" userId="a8f760e9-50c6-421d-9788-7991509e9b00" providerId="ADAL" clId="{CE83D114-1C90-4F39-8D42-4D8D4E384834}" dt="2023-07-02T06:37:08.254" v="4554" actId="1037"/>
          <ac:spMkLst>
            <pc:docMk/>
            <pc:sldMk cId="1464758072" sldId="2145707100"/>
            <ac:spMk id="650" creationId="{5B7CD9CA-5260-402D-AD65-1697A483BD4D}"/>
          </ac:spMkLst>
        </pc:spChg>
        <pc:spChg chg="mod">
          <ac:chgData name="Sheng, Yanan" userId="a8f760e9-50c6-421d-9788-7991509e9b00" providerId="ADAL" clId="{CE83D114-1C90-4F39-8D42-4D8D4E384834}" dt="2023-07-02T06:37:08.254" v="4554" actId="1037"/>
          <ac:spMkLst>
            <pc:docMk/>
            <pc:sldMk cId="1464758072" sldId="2145707100"/>
            <ac:spMk id="651" creationId="{7AA95F5C-70DF-447E-ADE3-F6A68CB1474D}"/>
          </ac:spMkLst>
        </pc:spChg>
        <pc:spChg chg="mod">
          <ac:chgData name="Sheng, Yanan" userId="a8f760e9-50c6-421d-9788-7991509e9b00" providerId="ADAL" clId="{CE83D114-1C90-4F39-8D42-4D8D4E384834}" dt="2023-07-02T06:37:08.254" v="4554" actId="1037"/>
          <ac:spMkLst>
            <pc:docMk/>
            <pc:sldMk cId="1464758072" sldId="2145707100"/>
            <ac:spMk id="652" creationId="{59BF6E1C-C821-40DC-9CCE-D656A6FC985F}"/>
          </ac:spMkLst>
        </pc:spChg>
        <pc:spChg chg="mod">
          <ac:chgData name="Sheng, Yanan" userId="a8f760e9-50c6-421d-9788-7991509e9b00" providerId="ADAL" clId="{CE83D114-1C90-4F39-8D42-4D8D4E384834}" dt="2023-07-02T06:37:08.254" v="4554" actId="1037"/>
          <ac:spMkLst>
            <pc:docMk/>
            <pc:sldMk cId="1464758072" sldId="2145707100"/>
            <ac:spMk id="653" creationId="{FD62D0BD-9A1B-4A9D-8CA6-F3DDBCE04102}"/>
          </ac:spMkLst>
        </pc:spChg>
        <pc:spChg chg="mod">
          <ac:chgData name="Sheng, Yanan" userId="a8f760e9-50c6-421d-9788-7991509e9b00" providerId="ADAL" clId="{CE83D114-1C90-4F39-8D42-4D8D4E384834}" dt="2023-07-02T06:37:08.254" v="4554" actId="1037"/>
          <ac:spMkLst>
            <pc:docMk/>
            <pc:sldMk cId="1464758072" sldId="2145707100"/>
            <ac:spMk id="654" creationId="{8FDC27B6-4100-4E01-80DB-A2CE78B3E16E}"/>
          </ac:spMkLst>
        </pc:spChg>
        <pc:spChg chg="mod">
          <ac:chgData name="Sheng, Yanan" userId="a8f760e9-50c6-421d-9788-7991509e9b00" providerId="ADAL" clId="{CE83D114-1C90-4F39-8D42-4D8D4E384834}" dt="2023-07-02T06:37:08.254" v="4554" actId="1037"/>
          <ac:spMkLst>
            <pc:docMk/>
            <pc:sldMk cId="1464758072" sldId="2145707100"/>
            <ac:spMk id="655" creationId="{300AF2E5-092D-474B-8BE8-6F033F665C0E}"/>
          </ac:spMkLst>
        </pc:spChg>
        <pc:spChg chg="mod">
          <ac:chgData name="Sheng, Yanan" userId="a8f760e9-50c6-421d-9788-7991509e9b00" providerId="ADAL" clId="{CE83D114-1C90-4F39-8D42-4D8D4E384834}" dt="2023-07-02T06:37:08.254" v="4554" actId="1037"/>
          <ac:spMkLst>
            <pc:docMk/>
            <pc:sldMk cId="1464758072" sldId="2145707100"/>
            <ac:spMk id="656" creationId="{B65E19CD-6AC6-4980-B510-C8D227EE6948}"/>
          </ac:spMkLst>
        </pc:spChg>
        <pc:spChg chg="mod">
          <ac:chgData name="Sheng, Yanan" userId="a8f760e9-50c6-421d-9788-7991509e9b00" providerId="ADAL" clId="{CE83D114-1C90-4F39-8D42-4D8D4E384834}" dt="2023-07-02T06:37:08.254" v="4554" actId="1037"/>
          <ac:spMkLst>
            <pc:docMk/>
            <pc:sldMk cId="1464758072" sldId="2145707100"/>
            <ac:spMk id="657" creationId="{7D465D28-42D4-4CFD-AC06-83CE0393BDD3}"/>
          </ac:spMkLst>
        </pc:spChg>
        <pc:spChg chg="mod">
          <ac:chgData name="Sheng, Yanan" userId="a8f760e9-50c6-421d-9788-7991509e9b00" providerId="ADAL" clId="{CE83D114-1C90-4F39-8D42-4D8D4E384834}" dt="2023-07-02T06:37:08.254" v="4554" actId="1037"/>
          <ac:spMkLst>
            <pc:docMk/>
            <pc:sldMk cId="1464758072" sldId="2145707100"/>
            <ac:spMk id="658" creationId="{233884CF-833C-4ABF-80E5-8A93B17B7222}"/>
          </ac:spMkLst>
        </pc:spChg>
        <pc:spChg chg="mod">
          <ac:chgData name="Sheng, Yanan" userId="a8f760e9-50c6-421d-9788-7991509e9b00" providerId="ADAL" clId="{CE83D114-1C90-4F39-8D42-4D8D4E384834}" dt="2023-07-02T06:37:08.254" v="4554" actId="1037"/>
          <ac:spMkLst>
            <pc:docMk/>
            <pc:sldMk cId="1464758072" sldId="2145707100"/>
            <ac:spMk id="659" creationId="{29AA1EAB-142E-4632-9E3F-E9619F1E920E}"/>
          </ac:spMkLst>
        </pc:spChg>
        <pc:spChg chg="mod">
          <ac:chgData name="Sheng, Yanan" userId="a8f760e9-50c6-421d-9788-7991509e9b00" providerId="ADAL" clId="{CE83D114-1C90-4F39-8D42-4D8D4E384834}" dt="2023-07-02T06:37:08.254" v="4554" actId="1037"/>
          <ac:spMkLst>
            <pc:docMk/>
            <pc:sldMk cId="1464758072" sldId="2145707100"/>
            <ac:spMk id="660" creationId="{AA51A4F0-A590-487F-AEED-026F41E223B5}"/>
          </ac:spMkLst>
        </pc:spChg>
        <pc:spChg chg="mod">
          <ac:chgData name="Sheng, Yanan" userId="a8f760e9-50c6-421d-9788-7991509e9b00" providerId="ADAL" clId="{CE83D114-1C90-4F39-8D42-4D8D4E384834}" dt="2023-07-02T06:37:08.254" v="4554" actId="1037"/>
          <ac:spMkLst>
            <pc:docMk/>
            <pc:sldMk cId="1464758072" sldId="2145707100"/>
            <ac:spMk id="661" creationId="{6196D62D-FBF9-4F47-81BC-ABA85723DFD9}"/>
          </ac:spMkLst>
        </pc:spChg>
        <pc:spChg chg="mod">
          <ac:chgData name="Sheng, Yanan" userId="a8f760e9-50c6-421d-9788-7991509e9b00" providerId="ADAL" clId="{CE83D114-1C90-4F39-8D42-4D8D4E384834}" dt="2023-07-02T06:37:08.254" v="4554" actId="1037"/>
          <ac:spMkLst>
            <pc:docMk/>
            <pc:sldMk cId="1464758072" sldId="2145707100"/>
            <ac:spMk id="662" creationId="{3267E120-3515-463F-B0C9-B67692E732A2}"/>
          </ac:spMkLst>
        </pc:spChg>
        <pc:spChg chg="mod">
          <ac:chgData name="Sheng, Yanan" userId="a8f760e9-50c6-421d-9788-7991509e9b00" providerId="ADAL" clId="{CE83D114-1C90-4F39-8D42-4D8D4E384834}" dt="2023-07-02T06:37:08.254" v="4554" actId="1037"/>
          <ac:spMkLst>
            <pc:docMk/>
            <pc:sldMk cId="1464758072" sldId="2145707100"/>
            <ac:spMk id="664" creationId="{E4C61E4A-7E33-4527-B72F-47F77B0EF01E}"/>
          </ac:spMkLst>
        </pc:spChg>
        <pc:spChg chg="mod">
          <ac:chgData name="Sheng, Yanan" userId="a8f760e9-50c6-421d-9788-7991509e9b00" providerId="ADAL" clId="{CE83D114-1C90-4F39-8D42-4D8D4E384834}" dt="2023-07-02T06:37:08.254" v="4554" actId="1037"/>
          <ac:spMkLst>
            <pc:docMk/>
            <pc:sldMk cId="1464758072" sldId="2145707100"/>
            <ac:spMk id="665" creationId="{A9292D4D-4336-472C-A06C-37D596AC9499}"/>
          </ac:spMkLst>
        </pc:spChg>
        <pc:spChg chg="mod">
          <ac:chgData name="Sheng, Yanan" userId="a8f760e9-50c6-421d-9788-7991509e9b00" providerId="ADAL" clId="{CE83D114-1C90-4F39-8D42-4D8D4E384834}" dt="2023-07-02T06:37:08.254" v="4554" actId="1037"/>
          <ac:spMkLst>
            <pc:docMk/>
            <pc:sldMk cId="1464758072" sldId="2145707100"/>
            <ac:spMk id="666" creationId="{27204129-8DDC-4994-9402-842F9360F99D}"/>
          </ac:spMkLst>
        </pc:spChg>
        <pc:spChg chg="mod">
          <ac:chgData name="Sheng, Yanan" userId="a8f760e9-50c6-421d-9788-7991509e9b00" providerId="ADAL" clId="{CE83D114-1C90-4F39-8D42-4D8D4E384834}" dt="2023-07-02T06:37:08.254" v="4554" actId="1037"/>
          <ac:spMkLst>
            <pc:docMk/>
            <pc:sldMk cId="1464758072" sldId="2145707100"/>
            <ac:spMk id="667" creationId="{C7EDEE84-2FB7-4071-8440-13D16F89163D}"/>
          </ac:spMkLst>
        </pc:spChg>
        <pc:spChg chg="mod">
          <ac:chgData name="Sheng, Yanan" userId="a8f760e9-50c6-421d-9788-7991509e9b00" providerId="ADAL" clId="{CE83D114-1C90-4F39-8D42-4D8D4E384834}" dt="2023-07-02T06:37:08.254" v="4554" actId="1037"/>
          <ac:spMkLst>
            <pc:docMk/>
            <pc:sldMk cId="1464758072" sldId="2145707100"/>
            <ac:spMk id="668" creationId="{9586E819-8997-4A8D-9197-2FB2E76B6421}"/>
          </ac:spMkLst>
        </pc:spChg>
        <pc:spChg chg="mod">
          <ac:chgData name="Sheng, Yanan" userId="a8f760e9-50c6-421d-9788-7991509e9b00" providerId="ADAL" clId="{CE83D114-1C90-4F39-8D42-4D8D4E384834}" dt="2023-07-02T06:37:08.254" v="4554" actId="1037"/>
          <ac:spMkLst>
            <pc:docMk/>
            <pc:sldMk cId="1464758072" sldId="2145707100"/>
            <ac:spMk id="669" creationId="{045B2E5E-A337-4572-A393-92853A26A72E}"/>
          </ac:spMkLst>
        </pc:spChg>
        <pc:spChg chg="mod">
          <ac:chgData name="Sheng, Yanan" userId="a8f760e9-50c6-421d-9788-7991509e9b00" providerId="ADAL" clId="{CE83D114-1C90-4F39-8D42-4D8D4E384834}" dt="2023-07-02T06:37:08.254" v="4554" actId="1037"/>
          <ac:spMkLst>
            <pc:docMk/>
            <pc:sldMk cId="1464758072" sldId="2145707100"/>
            <ac:spMk id="670" creationId="{CCE171FA-4D9D-44C9-A47B-B21333773A5E}"/>
          </ac:spMkLst>
        </pc:spChg>
        <pc:spChg chg="mod">
          <ac:chgData name="Sheng, Yanan" userId="a8f760e9-50c6-421d-9788-7991509e9b00" providerId="ADAL" clId="{CE83D114-1C90-4F39-8D42-4D8D4E384834}" dt="2023-07-02T06:37:08.254" v="4554" actId="1037"/>
          <ac:spMkLst>
            <pc:docMk/>
            <pc:sldMk cId="1464758072" sldId="2145707100"/>
            <ac:spMk id="671" creationId="{D081A47C-5E9F-489D-AD9A-1909D45D9372}"/>
          </ac:spMkLst>
        </pc:spChg>
        <pc:spChg chg="mod">
          <ac:chgData name="Sheng, Yanan" userId="a8f760e9-50c6-421d-9788-7991509e9b00" providerId="ADAL" clId="{CE83D114-1C90-4F39-8D42-4D8D4E384834}" dt="2023-07-02T06:37:08.254" v="4554" actId="1037"/>
          <ac:spMkLst>
            <pc:docMk/>
            <pc:sldMk cId="1464758072" sldId="2145707100"/>
            <ac:spMk id="672" creationId="{608C4984-E06B-49EB-AEF9-F916E92DF049}"/>
          </ac:spMkLst>
        </pc:spChg>
        <pc:spChg chg="mod">
          <ac:chgData name="Sheng, Yanan" userId="a8f760e9-50c6-421d-9788-7991509e9b00" providerId="ADAL" clId="{CE83D114-1C90-4F39-8D42-4D8D4E384834}" dt="2023-07-02T06:37:08.254" v="4554" actId="1037"/>
          <ac:spMkLst>
            <pc:docMk/>
            <pc:sldMk cId="1464758072" sldId="2145707100"/>
            <ac:spMk id="673" creationId="{39D13A80-800D-4943-BF69-8146BDD2E4D1}"/>
          </ac:spMkLst>
        </pc:spChg>
        <pc:spChg chg="mod">
          <ac:chgData name="Sheng, Yanan" userId="a8f760e9-50c6-421d-9788-7991509e9b00" providerId="ADAL" clId="{CE83D114-1C90-4F39-8D42-4D8D4E384834}" dt="2023-07-02T06:37:08.254" v="4554" actId="1037"/>
          <ac:spMkLst>
            <pc:docMk/>
            <pc:sldMk cId="1464758072" sldId="2145707100"/>
            <ac:spMk id="674" creationId="{86F5FCC4-B6CE-42FA-A575-2297D2E5524A}"/>
          </ac:spMkLst>
        </pc:spChg>
        <pc:spChg chg="mod">
          <ac:chgData name="Sheng, Yanan" userId="a8f760e9-50c6-421d-9788-7991509e9b00" providerId="ADAL" clId="{CE83D114-1C90-4F39-8D42-4D8D4E384834}" dt="2023-07-02T06:37:08.254" v="4554" actId="1037"/>
          <ac:spMkLst>
            <pc:docMk/>
            <pc:sldMk cId="1464758072" sldId="2145707100"/>
            <ac:spMk id="675" creationId="{0172377A-4E81-41E1-B1C8-8A019BCDECC9}"/>
          </ac:spMkLst>
        </pc:spChg>
        <pc:spChg chg="mod">
          <ac:chgData name="Sheng, Yanan" userId="a8f760e9-50c6-421d-9788-7991509e9b00" providerId="ADAL" clId="{CE83D114-1C90-4F39-8D42-4D8D4E384834}" dt="2023-07-02T06:37:08.254" v="4554" actId="1037"/>
          <ac:spMkLst>
            <pc:docMk/>
            <pc:sldMk cId="1464758072" sldId="2145707100"/>
            <ac:spMk id="676" creationId="{EC5FDB62-8D04-4825-AC68-2748B6111463}"/>
          </ac:spMkLst>
        </pc:spChg>
        <pc:spChg chg="mod">
          <ac:chgData name="Sheng, Yanan" userId="a8f760e9-50c6-421d-9788-7991509e9b00" providerId="ADAL" clId="{CE83D114-1C90-4F39-8D42-4D8D4E384834}" dt="2023-07-02T06:37:08.254" v="4554" actId="1037"/>
          <ac:spMkLst>
            <pc:docMk/>
            <pc:sldMk cId="1464758072" sldId="2145707100"/>
            <ac:spMk id="677" creationId="{0DED7F8D-1C0D-4F00-9C60-9DFB2D6588F1}"/>
          </ac:spMkLst>
        </pc:spChg>
        <pc:spChg chg="mod">
          <ac:chgData name="Sheng, Yanan" userId="a8f760e9-50c6-421d-9788-7991509e9b00" providerId="ADAL" clId="{CE83D114-1C90-4F39-8D42-4D8D4E384834}" dt="2023-07-02T06:37:08.254" v="4554" actId="1037"/>
          <ac:spMkLst>
            <pc:docMk/>
            <pc:sldMk cId="1464758072" sldId="2145707100"/>
            <ac:spMk id="678" creationId="{8D4DE3BC-540C-41FD-BF6B-8B69ED51D5A9}"/>
          </ac:spMkLst>
        </pc:spChg>
        <pc:spChg chg="mod">
          <ac:chgData name="Sheng, Yanan" userId="a8f760e9-50c6-421d-9788-7991509e9b00" providerId="ADAL" clId="{CE83D114-1C90-4F39-8D42-4D8D4E384834}" dt="2023-07-02T06:37:08.254" v="4554" actId="1037"/>
          <ac:spMkLst>
            <pc:docMk/>
            <pc:sldMk cId="1464758072" sldId="2145707100"/>
            <ac:spMk id="679" creationId="{ED82EB51-2572-44E0-9964-8E27EF208514}"/>
          </ac:spMkLst>
        </pc:spChg>
        <pc:spChg chg="mod">
          <ac:chgData name="Sheng, Yanan" userId="a8f760e9-50c6-421d-9788-7991509e9b00" providerId="ADAL" clId="{CE83D114-1C90-4F39-8D42-4D8D4E384834}" dt="2023-07-02T06:37:08.254" v="4554" actId="1037"/>
          <ac:spMkLst>
            <pc:docMk/>
            <pc:sldMk cId="1464758072" sldId="2145707100"/>
            <ac:spMk id="680" creationId="{BC177BC3-21AA-494A-8717-DB9035BC07B3}"/>
          </ac:spMkLst>
        </pc:spChg>
        <pc:spChg chg="mod">
          <ac:chgData name="Sheng, Yanan" userId="a8f760e9-50c6-421d-9788-7991509e9b00" providerId="ADAL" clId="{CE83D114-1C90-4F39-8D42-4D8D4E384834}" dt="2023-07-02T06:37:08.254" v="4554" actId="1037"/>
          <ac:spMkLst>
            <pc:docMk/>
            <pc:sldMk cId="1464758072" sldId="2145707100"/>
            <ac:spMk id="681" creationId="{E190EBC7-CB6C-40FE-99AD-F21AF2A82AF5}"/>
          </ac:spMkLst>
        </pc:spChg>
        <pc:spChg chg="mod">
          <ac:chgData name="Sheng, Yanan" userId="a8f760e9-50c6-421d-9788-7991509e9b00" providerId="ADAL" clId="{CE83D114-1C90-4F39-8D42-4D8D4E384834}" dt="2023-07-02T06:37:08.254" v="4554" actId="1037"/>
          <ac:spMkLst>
            <pc:docMk/>
            <pc:sldMk cId="1464758072" sldId="2145707100"/>
            <ac:spMk id="682" creationId="{664077C4-AF59-416F-8B20-5D4BF169D54F}"/>
          </ac:spMkLst>
        </pc:spChg>
        <pc:spChg chg="mod">
          <ac:chgData name="Sheng, Yanan" userId="a8f760e9-50c6-421d-9788-7991509e9b00" providerId="ADAL" clId="{CE83D114-1C90-4F39-8D42-4D8D4E384834}" dt="2023-07-02T06:37:08.254" v="4554" actId="1037"/>
          <ac:spMkLst>
            <pc:docMk/>
            <pc:sldMk cId="1464758072" sldId="2145707100"/>
            <ac:spMk id="683" creationId="{C01D3DE1-16C9-4500-8B52-9858C4FCD436}"/>
          </ac:spMkLst>
        </pc:spChg>
        <pc:spChg chg="mod">
          <ac:chgData name="Sheng, Yanan" userId="a8f760e9-50c6-421d-9788-7991509e9b00" providerId="ADAL" clId="{CE83D114-1C90-4F39-8D42-4D8D4E384834}" dt="2023-07-02T06:37:08.254" v="4554" actId="1037"/>
          <ac:spMkLst>
            <pc:docMk/>
            <pc:sldMk cId="1464758072" sldId="2145707100"/>
            <ac:spMk id="684" creationId="{D045D0A5-F708-4846-8555-8E905A8ADE3B}"/>
          </ac:spMkLst>
        </pc:spChg>
        <pc:spChg chg="mod">
          <ac:chgData name="Sheng, Yanan" userId="a8f760e9-50c6-421d-9788-7991509e9b00" providerId="ADAL" clId="{CE83D114-1C90-4F39-8D42-4D8D4E384834}" dt="2023-07-02T06:37:08.254" v="4554" actId="1037"/>
          <ac:spMkLst>
            <pc:docMk/>
            <pc:sldMk cId="1464758072" sldId="2145707100"/>
            <ac:spMk id="685" creationId="{16F30DFB-95E0-41DD-A68B-4EEECD465978}"/>
          </ac:spMkLst>
        </pc:spChg>
        <pc:spChg chg="mod">
          <ac:chgData name="Sheng, Yanan" userId="a8f760e9-50c6-421d-9788-7991509e9b00" providerId="ADAL" clId="{CE83D114-1C90-4F39-8D42-4D8D4E384834}" dt="2023-07-02T06:37:08.254" v="4554" actId="1037"/>
          <ac:spMkLst>
            <pc:docMk/>
            <pc:sldMk cId="1464758072" sldId="2145707100"/>
            <ac:spMk id="686" creationId="{6E401BBF-81BB-43F0-A73D-FEEB47AD57DC}"/>
          </ac:spMkLst>
        </pc:spChg>
        <pc:spChg chg="mod">
          <ac:chgData name="Sheng, Yanan" userId="a8f760e9-50c6-421d-9788-7991509e9b00" providerId="ADAL" clId="{CE83D114-1C90-4F39-8D42-4D8D4E384834}" dt="2023-07-02T06:37:08.254" v="4554" actId="1037"/>
          <ac:spMkLst>
            <pc:docMk/>
            <pc:sldMk cId="1464758072" sldId="2145707100"/>
            <ac:spMk id="687" creationId="{9EC779C2-4802-4B8C-AFBF-F3A9C35B6243}"/>
          </ac:spMkLst>
        </pc:spChg>
        <pc:spChg chg="mod">
          <ac:chgData name="Sheng, Yanan" userId="a8f760e9-50c6-421d-9788-7991509e9b00" providerId="ADAL" clId="{CE83D114-1C90-4F39-8D42-4D8D4E384834}" dt="2023-07-02T06:37:08.254" v="4554" actId="1037"/>
          <ac:spMkLst>
            <pc:docMk/>
            <pc:sldMk cId="1464758072" sldId="2145707100"/>
            <ac:spMk id="688" creationId="{838C6B22-B799-4271-B49A-5292265891DA}"/>
          </ac:spMkLst>
        </pc:spChg>
        <pc:spChg chg="mod">
          <ac:chgData name="Sheng, Yanan" userId="a8f760e9-50c6-421d-9788-7991509e9b00" providerId="ADAL" clId="{CE83D114-1C90-4F39-8D42-4D8D4E384834}" dt="2023-07-02T06:37:08.254" v="4554" actId="1037"/>
          <ac:spMkLst>
            <pc:docMk/>
            <pc:sldMk cId="1464758072" sldId="2145707100"/>
            <ac:spMk id="689" creationId="{84E8823A-5F76-4F55-A726-E791D8CBB174}"/>
          </ac:spMkLst>
        </pc:spChg>
        <pc:spChg chg="mod">
          <ac:chgData name="Sheng, Yanan" userId="a8f760e9-50c6-421d-9788-7991509e9b00" providerId="ADAL" clId="{CE83D114-1C90-4F39-8D42-4D8D4E384834}" dt="2023-07-02T06:37:08.254" v="4554" actId="1037"/>
          <ac:spMkLst>
            <pc:docMk/>
            <pc:sldMk cId="1464758072" sldId="2145707100"/>
            <ac:spMk id="690" creationId="{01AADBBF-2910-4FC1-AE6F-4534CED87F30}"/>
          </ac:spMkLst>
        </pc:spChg>
        <pc:spChg chg="mod">
          <ac:chgData name="Sheng, Yanan" userId="a8f760e9-50c6-421d-9788-7991509e9b00" providerId="ADAL" clId="{CE83D114-1C90-4F39-8D42-4D8D4E384834}" dt="2023-07-02T06:37:08.254" v="4554" actId="1037"/>
          <ac:spMkLst>
            <pc:docMk/>
            <pc:sldMk cId="1464758072" sldId="2145707100"/>
            <ac:spMk id="691" creationId="{2637F386-8C68-438D-98EA-B8C92D082A17}"/>
          </ac:spMkLst>
        </pc:spChg>
        <pc:spChg chg="mod">
          <ac:chgData name="Sheng, Yanan" userId="a8f760e9-50c6-421d-9788-7991509e9b00" providerId="ADAL" clId="{CE83D114-1C90-4F39-8D42-4D8D4E384834}" dt="2023-07-02T06:37:08.254" v="4554" actId="1037"/>
          <ac:spMkLst>
            <pc:docMk/>
            <pc:sldMk cId="1464758072" sldId="2145707100"/>
            <ac:spMk id="692" creationId="{67D9E070-D8BF-4F06-90DC-F8897A619F23}"/>
          </ac:spMkLst>
        </pc:spChg>
        <pc:spChg chg="mod">
          <ac:chgData name="Sheng, Yanan" userId="a8f760e9-50c6-421d-9788-7991509e9b00" providerId="ADAL" clId="{CE83D114-1C90-4F39-8D42-4D8D4E384834}" dt="2023-07-02T06:37:08.254" v="4554" actId="1037"/>
          <ac:spMkLst>
            <pc:docMk/>
            <pc:sldMk cId="1464758072" sldId="2145707100"/>
            <ac:spMk id="693" creationId="{8C547E1B-0EEB-4143-AEEF-DDCCEA3371FE}"/>
          </ac:spMkLst>
        </pc:spChg>
        <pc:spChg chg="mod">
          <ac:chgData name="Sheng, Yanan" userId="a8f760e9-50c6-421d-9788-7991509e9b00" providerId="ADAL" clId="{CE83D114-1C90-4F39-8D42-4D8D4E384834}" dt="2023-07-02T06:37:08.254" v="4554" actId="1037"/>
          <ac:spMkLst>
            <pc:docMk/>
            <pc:sldMk cId="1464758072" sldId="2145707100"/>
            <ac:spMk id="694" creationId="{43354001-9020-4BA3-A088-F677F33E331C}"/>
          </ac:spMkLst>
        </pc:spChg>
        <pc:spChg chg="mod">
          <ac:chgData name="Sheng, Yanan" userId="a8f760e9-50c6-421d-9788-7991509e9b00" providerId="ADAL" clId="{CE83D114-1C90-4F39-8D42-4D8D4E384834}" dt="2023-07-02T06:37:08.254" v="4554" actId="1037"/>
          <ac:spMkLst>
            <pc:docMk/>
            <pc:sldMk cId="1464758072" sldId="2145707100"/>
            <ac:spMk id="695" creationId="{C5EC073B-CD9E-48C0-B8A0-BA59E0BFA142}"/>
          </ac:spMkLst>
        </pc:spChg>
        <pc:spChg chg="mod">
          <ac:chgData name="Sheng, Yanan" userId="a8f760e9-50c6-421d-9788-7991509e9b00" providerId="ADAL" clId="{CE83D114-1C90-4F39-8D42-4D8D4E384834}" dt="2023-07-02T06:37:08.254" v="4554" actId="1037"/>
          <ac:spMkLst>
            <pc:docMk/>
            <pc:sldMk cId="1464758072" sldId="2145707100"/>
            <ac:spMk id="696" creationId="{ADD53F77-C556-4F56-9B21-888E7D84F598}"/>
          </ac:spMkLst>
        </pc:spChg>
        <pc:spChg chg="mod">
          <ac:chgData name="Sheng, Yanan" userId="a8f760e9-50c6-421d-9788-7991509e9b00" providerId="ADAL" clId="{CE83D114-1C90-4F39-8D42-4D8D4E384834}" dt="2023-07-02T06:37:08.254" v="4554" actId="1037"/>
          <ac:spMkLst>
            <pc:docMk/>
            <pc:sldMk cId="1464758072" sldId="2145707100"/>
            <ac:spMk id="697" creationId="{244AB475-F664-4F6E-9E4C-0559D6BB0CE9}"/>
          </ac:spMkLst>
        </pc:spChg>
        <pc:spChg chg="mod">
          <ac:chgData name="Sheng, Yanan" userId="a8f760e9-50c6-421d-9788-7991509e9b00" providerId="ADAL" clId="{CE83D114-1C90-4F39-8D42-4D8D4E384834}" dt="2023-07-02T06:37:08.254" v="4554" actId="1037"/>
          <ac:spMkLst>
            <pc:docMk/>
            <pc:sldMk cId="1464758072" sldId="2145707100"/>
            <ac:spMk id="698" creationId="{023A3124-A8EA-4B58-A385-A6C91D0511C7}"/>
          </ac:spMkLst>
        </pc:spChg>
        <pc:spChg chg="mod">
          <ac:chgData name="Sheng, Yanan" userId="a8f760e9-50c6-421d-9788-7991509e9b00" providerId="ADAL" clId="{CE83D114-1C90-4F39-8D42-4D8D4E384834}" dt="2023-07-02T06:37:08.254" v="4554" actId="1037"/>
          <ac:spMkLst>
            <pc:docMk/>
            <pc:sldMk cId="1464758072" sldId="2145707100"/>
            <ac:spMk id="699" creationId="{E4482526-1C6D-453D-AC99-BB297B5A3AAE}"/>
          </ac:spMkLst>
        </pc:spChg>
        <pc:spChg chg="mod">
          <ac:chgData name="Sheng, Yanan" userId="a8f760e9-50c6-421d-9788-7991509e9b00" providerId="ADAL" clId="{CE83D114-1C90-4F39-8D42-4D8D4E384834}" dt="2023-07-02T06:37:08.254" v="4554" actId="1037"/>
          <ac:spMkLst>
            <pc:docMk/>
            <pc:sldMk cId="1464758072" sldId="2145707100"/>
            <ac:spMk id="700" creationId="{C42CE460-9298-4715-9D3F-1923FC20FF48}"/>
          </ac:spMkLst>
        </pc:spChg>
        <pc:spChg chg="mod">
          <ac:chgData name="Sheng, Yanan" userId="a8f760e9-50c6-421d-9788-7991509e9b00" providerId="ADAL" clId="{CE83D114-1C90-4F39-8D42-4D8D4E384834}" dt="2023-07-02T06:37:08.254" v="4554" actId="1037"/>
          <ac:spMkLst>
            <pc:docMk/>
            <pc:sldMk cId="1464758072" sldId="2145707100"/>
            <ac:spMk id="701" creationId="{76F6ACF0-9EFF-43D7-B41B-42C17E02544B}"/>
          </ac:spMkLst>
        </pc:spChg>
        <pc:spChg chg="mod">
          <ac:chgData name="Sheng, Yanan" userId="a8f760e9-50c6-421d-9788-7991509e9b00" providerId="ADAL" clId="{CE83D114-1C90-4F39-8D42-4D8D4E384834}" dt="2023-07-02T06:37:08.254" v="4554" actId="1037"/>
          <ac:spMkLst>
            <pc:docMk/>
            <pc:sldMk cId="1464758072" sldId="2145707100"/>
            <ac:spMk id="702" creationId="{F33655B4-94A8-479F-B83F-869A45204B1B}"/>
          </ac:spMkLst>
        </pc:spChg>
        <pc:spChg chg="mod">
          <ac:chgData name="Sheng, Yanan" userId="a8f760e9-50c6-421d-9788-7991509e9b00" providerId="ADAL" clId="{CE83D114-1C90-4F39-8D42-4D8D4E384834}" dt="2023-07-02T06:37:08.254" v="4554" actId="1037"/>
          <ac:spMkLst>
            <pc:docMk/>
            <pc:sldMk cId="1464758072" sldId="2145707100"/>
            <ac:spMk id="703" creationId="{FD4363B2-86F3-4900-A7DD-F5985C9F1FE7}"/>
          </ac:spMkLst>
        </pc:spChg>
        <pc:spChg chg="mod">
          <ac:chgData name="Sheng, Yanan" userId="a8f760e9-50c6-421d-9788-7991509e9b00" providerId="ADAL" clId="{CE83D114-1C90-4F39-8D42-4D8D4E384834}" dt="2023-07-02T06:37:08.254" v="4554" actId="1037"/>
          <ac:spMkLst>
            <pc:docMk/>
            <pc:sldMk cId="1464758072" sldId="2145707100"/>
            <ac:spMk id="704" creationId="{2881CF15-B222-4F8B-9D8B-78AEF4BE28BD}"/>
          </ac:spMkLst>
        </pc:spChg>
        <pc:spChg chg="mod">
          <ac:chgData name="Sheng, Yanan" userId="a8f760e9-50c6-421d-9788-7991509e9b00" providerId="ADAL" clId="{CE83D114-1C90-4F39-8D42-4D8D4E384834}" dt="2023-07-02T06:37:08.254" v="4554" actId="1037"/>
          <ac:spMkLst>
            <pc:docMk/>
            <pc:sldMk cId="1464758072" sldId="2145707100"/>
            <ac:spMk id="705" creationId="{3B9F9E5B-12D1-491D-AB55-522BCCCD7081}"/>
          </ac:spMkLst>
        </pc:spChg>
        <pc:spChg chg="mod">
          <ac:chgData name="Sheng, Yanan" userId="a8f760e9-50c6-421d-9788-7991509e9b00" providerId="ADAL" clId="{CE83D114-1C90-4F39-8D42-4D8D4E384834}" dt="2023-07-02T06:37:08.254" v="4554" actId="1037"/>
          <ac:spMkLst>
            <pc:docMk/>
            <pc:sldMk cId="1464758072" sldId="2145707100"/>
            <ac:spMk id="706" creationId="{797BCED2-632B-4BA9-A86C-32374E6BF961}"/>
          </ac:spMkLst>
        </pc:spChg>
        <pc:spChg chg="mod">
          <ac:chgData name="Sheng, Yanan" userId="a8f760e9-50c6-421d-9788-7991509e9b00" providerId="ADAL" clId="{CE83D114-1C90-4F39-8D42-4D8D4E384834}" dt="2023-07-02T06:37:08.254" v="4554" actId="1037"/>
          <ac:spMkLst>
            <pc:docMk/>
            <pc:sldMk cId="1464758072" sldId="2145707100"/>
            <ac:spMk id="707" creationId="{3DDC5030-42CF-41AC-BEBA-7A2644D9BA5E}"/>
          </ac:spMkLst>
        </pc:spChg>
        <pc:spChg chg="mod">
          <ac:chgData name="Sheng, Yanan" userId="a8f760e9-50c6-421d-9788-7991509e9b00" providerId="ADAL" clId="{CE83D114-1C90-4F39-8D42-4D8D4E384834}" dt="2023-07-02T06:37:08.254" v="4554" actId="1037"/>
          <ac:spMkLst>
            <pc:docMk/>
            <pc:sldMk cId="1464758072" sldId="2145707100"/>
            <ac:spMk id="708" creationId="{825630A8-3557-41E8-9A71-D467EAE966BE}"/>
          </ac:spMkLst>
        </pc:spChg>
        <pc:spChg chg="mod">
          <ac:chgData name="Sheng, Yanan" userId="a8f760e9-50c6-421d-9788-7991509e9b00" providerId="ADAL" clId="{CE83D114-1C90-4F39-8D42-4D8D4E384834}" dt="2023-07-02T06:37:08.254" v="4554" actId="1037"/>
          <ac:spMkLst>
            <pc:docMk/>
            <pc:sldMk cId="1464758072" sldId="2145707100"/>
            <ac:spMk id="709" creationId="{E22F5548-38A7-4943-939A-FBE951EC3774}"/>
          </ac:spMkLst>
        </pc:spChg>
        <pc:spChg chg="mod">
          <ac:chgData name="Sheng, Yanan" userId="a8f760e9-50c6-421d-9788-7991509e9b00" providerId="ADAL" clId="{CE83D114-1C90-4F39-8D42-4D8D4E384834}" dt="2023-07-02T06:37:08.254" v="4554" actId="1037"/>
          <ac:spMkLst>
            <pc:docMk/>
            <pc:sldMk cId="1464758072" sldId="2145707100"/>
            <ac:spMk id="710" creationId="{6B41F4DD-C3C0-4FF7-A31C-A882E3FFD242}"/>
          </ac:spMkLst>
        </pc:spChg>
        <pc:spChg chg="mod">
          <ac:chgData name="Sheng, Yanan" userId="a8f760e9-50c6-421d-9788-7991509e9b00" providerId="ADAL" clId="{CE83D114-1C90-4F39-8D42-4D8D4E384834}" dt="2023-07-02T06:37:08.254" v="4554" actId="1037"/>
          <ac:spMkLst>
            <pc:docMk/>
            <pc:sldMk cId="1464758072" sldId="2145707100"/>
            <ac:spMk id="711" creationId="{97C27DD8-0324-4E71-A725-1134B71B17BB}"/>
          </ac:spMkLst>
        </pc:spChg>
        <pc:spChg chg="mod">
          <ac:chgData name="Sheng, Yanan" userId="a8f760e9-50c6-421d-9788-7991509e9b00" providerId="ADAL" clId="{CE83D114-1C90-4F39-8D42-4D8D4E384834}" dt="2023-07-02T06:37:08.254" v="4554" actId="1037"/>
          <ac:spMkLst>
            <pc:docMk/>
            <pc:sldMk cId="1464758072" sldId="2145707100"/>
            <ac:spMk id="712" creationId="{578D9C58-57E0-4E2B-AE60-0A43C4A154C6}"/>
          </ac:spMkLst>
        </pc:spChg>
        <pc:spChg chg="mod">
          <ac:chgData name="Sheng, Yanan" userId="a8f760e9-50c6-421d-9788-7991509e9b00" providerId="ADAL" clId="{CE83D114-1C90-4F39-8D42-4D8D4E384834}" dt="2023-07-02T06:37:08.254" v="4554" actId="1037"/>
          <ac:spMkLst>
            <pc:docMk/>
            <pc:sldMk cId="1464758072" sldId="2145707100"/>
            <ac:spMk id="713" creationId="{9899A8BC-D936-4DA3-9281-2CACA359C5B1}"/>
          </ac:spMkLst>
        </pc:spChg>
        <pc:spChg chg="mod">
          <ac:chgData name="Sheng, Yanan" userId="a8f760e9-50c6-421d-9788-7991509e9b00" providerId="ADAL" clId="{CE83D114-1C90-4F39-8D42-4D8D4E384834}" dt="2023-07-02T06:37:08.254" v="4554" actId="1037"/>
          <ac:spMkLst>
            <pc:docMk/>
            <pc:sldMk cId="1464758072" sldId="2145707100"/>
            <ac:spMk id="714" creationId="{1D53DB36-DDC3-4C99-90F3-E8229E2A81AB}"/>
          </ac:spMkLst>
        </pc:spChg>
        <pc:spChg chg="mod">
          <ac:chgData name="Sheng, Yanan" userId="a8f760e9-50c6-421d-9788-7991509e9b00" providerId="ADAL" clId="{CE83D114-1C90-4F39-8D42-4D8D4E384834}" dt="2023-07-02T06:37:08.254" v="4554" actId="1037"/>
          <ac:spMkLst>
            <pc:docMk/>
            <pc:sldMk cId="1464758072" sldId="2145707100"/>
            <ac:spMk id="715" creationId="{6FB5B914-EBB1-45EB-AF4B-7BA2EB8ECC7B}"/>
          </ac:spMkLst>
        </pc:spChg>
        <pc:spChg chg="mod">
          <ac:chgData name="Sheng, Yanan" userId="a8f760e9-50c6-421d-9788-7991509e9b00" providerId="ADAL" clId="{CE83D114-1C90-4F39-8D42-4D8D4E384834}" dt="2023-07-02T06:37:08.254" v="4554" actId="1037"/>
          <ac:spMkLst>
            <pc:docMk/>
            <pc:sldMk cId="1464758072" sldId="2145707100"/>
            <ac:spMk id="716" creationId="{5004FA43-4DDC-4087-9163-56E5D6CE9EBB}"/>
          </ac:spMkLst>
        </pc:spChg>
        <pc:spChg chg="mod">
          <ac:chgData name="Sheng, Yanan" userId="a8f760e9-50c6-421d-9788-7991509e9b00" providerId="ADAL" clId="{CE83D114-1C90-4F39-8D42-4D8D4E384834}" dt="2023-07-02T06:37:08.254" v="4554" actId="1037"/>
          <ac:spMkLst>
            <pc:docMk/>
            <pc:sldMk cId="1464758072" sldId="2145707100"/>
            <ac:spMk id="717" creationId="{9117C49E-9DA6-4AB5-B925-1A02AA810774}"/>
          </ac:spMkLst>
        </pc:spChg>
        <pc:spChg chg="mod">
          <ac:chgData name="Sheng, Yanan" userId="a8f760e9-50c6-421d-9788-7991509e9b00" providerId="ADAL" clId="{CE83D114-1C90-4F39-8D42-4D8D4E384834}" dt="2023-07-02T06:37:08.254" v="4554" actId="1037"/>
          <ac:spMkLst>
            <pc:docMk/>
            <pc:sldMk cId="1464758072" sldId="2145707100"/>
            <ac:spMk id="718" creationId="{93839069-4067-442B-B291-89F4598FCDA3}"/>
          </ac:spMkLst>
        </pc:spChg>
        <pc:spChg chg="mod">
          <ac:chgData name="Sheng, Yanan" userId="a8f760e9-50c6-421d-9788-7991509e9b00" providerId="ADAL" clId="{CE83D114-1C90-4F39-8D42-4D8D4E384834}" dt="2023-07-02T06:37:08.254" v="4554" actId="1037"/>
          <ac:spMkLst>
            <pc:docMk/>
            <pc:sldMk cId="1464758072" sldId="2145707100"/>
            <ac:spMk id="719" creationId="{6AB309B8-AC4B-492B-A014-63B10D479FF4}"/>
          </ac:spMkLst>
        </pc:spChg>
        <pc:spChg chg="mod">
          <ac:chgData name="Sheng, Yanan" userId="a8f760e9-50c6-421d-9788-7991509e9b00" providerId="ADAL" clId="{CE83D114-1C90-4F39-8D42-4D8D4E384834}" dt="2023-07-02T06:37:08.254" v="4554" actId="1037"/>
          <ac:spMkLst>
            <pc:docMk/>
            <pc:sldMk cId="1464758072" sldId="2145707100"/>
            <ac:spMk id="720" creationId="{360CF9CF-602C-4B09-9006-236E8C120847}"/>
          </ac:spMkLst>
        </pc:spChg>
        <pc:spChg chg="mod">
          <ac:chgData name="Sheng, Yanan" userId="a8f760e9-50c6-421d-9788-7991509e9b00" providerId="ADAL" clId="{CE83D114-1C90-4F39-8D42-4D8D4E384834}" dt="2023-07-02T06:37:08.254" v="4554" actId="1037"/>
          <ac:spMkLst>
            <pc:docMk/>
            <pc:sldMk cId="1464758072" sldId="2145707100"/>
            <ac:spMk id="721" creationId="{C8ED2FF8-7886-474B-BCE2-582DB091D492}"/>
          </ac:spMkLst>
        </pc:spChg>
        <pc:spChg chg="mod">
          <ac:chgData name="Sheng, Yanan" userId="a8f760e9-50c6-421d-9788-7991509e9b00" providerId="ADAL" clId="{CE83D114-1C90-4F39-8D42-4D8D4E384834}" dt="2023-07-02T06:37:08.254" v="4554" actId="1037"/>
          <ac:spMkLst>
            <pc:docMk/>
            <pc:sldMk cId="1464758072" sldId="2145707100"/>
            <ac:spMk id="722" creationId="{AC245B0C-823E-4AC4-BDB5-3FDBA9C3439C}"/>
          </ac:spMkLst>
        </pc:spChg>
        <pc:spChg chg="mod">
          <ac:chgData name="Sheng, Yanan" userId="a8f760e9-50c6-421d-9788-7991509e9b00" providerId="ADAL" clId="{CE83D114-1C90-4F39-8D42-4D8D4E384834}" dt="2023-07-02T06:37:08.254" v="4554" actId="1037"/>
          <ac:spMkLst>
            <pc:docMk/>
            <pc:sldMk cId="1464758072" sldId="2145707100"/>
            <ac:spMk id="723" creationId="{42B55CDB-CCF6-4B6B-A331-CB3AB860991A}"/>
          </ac:spMkLst>
        </pc:spChg>
        <pc:spChg chg="mod">
          <ac:chgData name="Sheng, Yanan" userId="a8f760e9-50c6-421d-9788-7991509e9b00" providerId="ADAL" clId="{CE83D114-1C90-4F39-8D42-4D8D4E384834}" dt="2023-07-02T06:37:08.254" v="4554" actId="1037"/>
          <ac:spMkLst>
            <pc:docMk/>
            <pc:sldMk cId="1464758072" sldId="2145707100"/>
            <ac:spMk id="724" creationId="{4C6B7607-2FB7-492C-89A5-0B86B1113488}"/>
          </ac:spMkLst>
        </pc:spChg>
        <pc:spChg chg="mod">
          <ac:chgData name="Sheng, Yanan" userId="a8f760e9-50c6-421d-9788-7991509e9b00" providerId="ADAL" clId="{CE83D114-1C90-4F39-8D42-4D8D4E384834}" dt="2023-07-02T06:37:08.254" v="4554" actId="1037"/>
          <ac:spMkLst>
            <pc:docMk/>
            <pc:sldMk cId="1464758072" sldId="2145707100"/>
            <ac:spMk id="725" creationId="{3438A271-585B-430F-AB84-175C75FF8078}"/>
          </ac:spMkLst>
        </pc:spChg>
        <pc:spChg chg="mod">
          <ac:chgData name="Sheng, Yanan" userId="a8f760e9-50c6-421d-9788-7991509e9b00" providerId="ADAL" clId="{CE83D114-1C90-4F39-8D42-4D8D4E384834}" dt="2023-07-02T06:37:08.254" v="4554" actId="1037"/>
          <ac:spMkLst>
            <pc:docMk/>
            <pc:sldMk cId="1464758072" sldId="2145707100"/>
            <ac:spMk id="726" creationId="{5D7D22E2-67CC-47C8-BD77-8D013418152F}"/>
          </ac:spMkLst>
        </pc:spChg>
        <pc:spChg chg="mod">
          <ac:chgData name="Sheng, Yanan" userId="a8f760e9-50c6-421d-9788-7991509e9b00" providerId="ADAL" clId="{CE83D114-1C90-4F39-8D42-4D8D4E384834}" dt="2023-07-02T06:37:08.254" v="4554" actId="1037"/>
          <ac:spMkLst>
            <pc:docMk/>
            <pc:sldMk cId="1464758072" sldId="2145707100"/>
            <ac:spMk id="727" creationId="{AB3E0991-0408-41D6-9F89-017F6D12B601}"/>
          </ac:spMkLst>
        </pc:spChg>
        <pc:spChg chg="mod">
          <ac:chgData name="Sheng, Yanan" userId="a8f760e9-50c6-421d-9788-7991509e9b00" providerId="ADAL" clId="{CE83D114-1C90-4F39-8D42-4D8D4E384834}" dt="2023-07-02T06:37:08.254" v="4554" actId="1037"/>
          <ac:spMkLst>
            <pc:docMk/>
            <pc:sldMk cId="1464758072" sldId="2145707100"/>
            <ac:spMk id="728" creationId="{5035879E-7B8E-4597-BCE3-76994CD8C789}"/>
          </ac:spMkLst>
        </pc:spChg>
        <pc:spChg chg="mod">
          <ac:chgData name="Sheng, Yanan" userId="a8f760e9-50c6-421d-9788-7991509e9b00" providerId="ADAL" clId="{CE83D114-1C90-4F39-8D42-4D8D4E384834}" dt="2023-07-02T06:37:08.254" v="4554" actId="1037"/>
          <ac:spMkLst>
            <pc:docMk/>
            <pc:sldMk cId="1464758072" sldId="2145707100"/>
            <ac:spMk id="729" creationId="{1D77D9BF-5FDB-4212-A2AA-E19FD92A61C8}"/>
          </ac:spMkLst>
        </pc:spChg>
        <pc:spChg chg="mod">
          <ac:chgData name="Sheng, Yanan" userId="a8f760e9-50c6-421d-9788-7991509e9b00" providerId="ADAL" clId="{CE83D114-1C90-4F39-8D42-4D8D4E384834}" dt="2023-07-02T06:37:08.254" v="4554" actId="1037"/>
          <ac:spMkLst>
            <pc:docMk/>
            <pc:sldMk cId="1464758072" sldId="2145707100"/>
            <ac:spMk id="730" creationId="{68043F19-E2DE-4743-B621-98FA0CD9E395}"/>
          </ac:spMkLst>
        </pc:spChg>
        <pc:spChg chg="mod">
          <ac:chgData name="Sheng, Yanan" userId="a8f760e9-50c6-421d-9788-7991509e9b00" providerId="ADAL" clId="{CE83D114-1C90-4F39-8D42-4D8D4E384834}" dt="2023-07-02T06:37:08.254" v="4554" actId="1037"/>
          <ac:spMkLst>
            <pc:docMk/>
            <pc:sldMk cId="1464758072" sldId="2145707100"/>
            <ac:spMk id="731" creationId="{647E64B3-B4CD-43F7-84B4-24D26D8E979B}"/>
          </ac:spMkLst>
        </pc:spChg>
        <pc:spChg chg="mod">
          <ac:chgData name="Sheng, Yanan" userId="a8f760e9-50c6-421d-9788-7991509e9b00" providerId="ADAL" clId="{CE83D114-1C90-4F39-8D42-4D8D4E384834}" dt="2023-07-02T06:37:08.254" v="4554" actId="1037"/>
          <ac:spMkLst>
            <pc:docMk/>
            <pc:sldMk cId="1464758072" sldId="2145707100"/>
            <ac:spMk id="732" creationId="{9B667EDF-EF68-4CD2-8F82-6D0873E3AAFE}"/>
          </ac:spMkLst>
        </pc:spChg>
        <pc:spChg chg="mod">
          <ac:chgData name="Sheng, Yanan" userId="a8f760e9-50c6-421d-9788-7991509e9b00" providerId="ADAL" clId="{CE83D114-1C90-4F39-8D42-4D8D4E384834}" dt="2023-07-02T06:37:08.254" v="4554" actId="1037"/>
          <ac:spMkLst>
            <pc:docMk/>
            <pc:sldMk cId="1464758072" sldId="2145707100"/>
            <ac:spMk id="733" creationId="{911C752C-0974-4F8C-B228-C25D7F493728}"/>
          </ac:spMkLst>
        </pc:spChg>
        <pc:spChg chg="mod">
          <ac:chgData name="Sheng, Yanan" userId="a8f760e9-50c6-421d-9788-7991509e9b00" providerId="ADAL" clId="{CE83D114-1C90-4F39-8D42-4D8D4E384834}" dt="2023-07-02T06:37:08.254" v="4554" actId="1037"/>
          <ac:spMkLst>
            <pc:docMk/>
            <pc:sldMk cId="1464758072" sldId="2145707100"/>
            <ac:spMk id="734" creationId="{E44B581A-8F8D-4EB6-8510-8D9B01AC3FF7}"/>
          </ac:spMkLst>
        </pc:spChg>
        <pc:spChg chg="mod">
          <ac:chgData name="Sheng, Yanan" userId="a8f760e9-50c6-421d-9788-7991509e9b00" providerId="ADAL" clId="{CE83D114-1C90-4F39-8D42-4D8D4E384834}" dt="2023-07-02T06:37:08.254" v="4554" actId="1037"/>
          <ac:spMkLst>
            <pc:docMk/>
            <pc:sldMk cId="1464758072" sldId="2145707100"/>
            <ac:spMk id="736" creationId="{83B47D6E-2965-4AF4-B1EC-D526F4EEE3A4}"/>
          </ac:spMkLst>
        </pc:spChg>
        <pc:spChg chg="mod">
          <ac:chgData name="Sheng, Yanan" userId="a8f760e9-50c6-421d-9788-7991509e9b00" providerId="ADAL" clId="{CE83D114-1C90-4F39-8D42-4D8D4E384834}" dt="2023-07-02T06:37:08.254" v="4554" actId="1037"/>
          <ac:spMkLst>
            <pc:docMk/>
            <pc:sldMk cId="1464758072" sldId="2145707100"/>
            <ac:spMk id="737" creationId="{D890D287-1608-411B-B576-F7AA2FEA517D}"/>
          </ac:spMkLst>
        </pc:spChg>
        <pc:spChg chg="mod">
          <ac:chgData name="Sheng, Yanan" userId="a8f760e9-50c6-421d-9788-7991509e9b00" providerId="ADAL" clId="{CE83D114-1C90-4F39-8D42-4D8D4E384834}" dt="2023-07-02T06:37:08.254" v="4554" actId="1037"/>
          <ac:spMkLst>
            <pc:docMk/>
            <pc:sldMk cId="1464758072" sldId="2145707100"/>
            <ac:spMk id="738" creationId="{63987D71-D7E6-450A-A513-B5C23A4E815C}"/>
          </ac:spMkLst>
        </pc:spChg>
        <pc:spChg chg="mod">
          <ac:chgData name="Sheng, Yanan" userId="a8f760e9-50c6-421d-9788-7991509e9b00" providerId="ADAL" clId="{CE83D114-1C90-4F39-8D42-4D8D4E384834}" dt="2023-07-02T06:37:08.254" v="4554" actId="1037"/>
          <ac:spMkLst>
            <pc:docMk/>
            <pc:sldMk cId="1464758072" sldId="2145707100"/>
            <ac:spMk id="739" creationId="{6AD9DCD8-5019-4CC4-8DDD-5838E77B5944}"/>
          </ac:spMkLst>
        </pc:spChg>
        <pc:spChg chg="mod">
          <ac:chgData name="Sheng, Yanan" userId="a8f760e9-50c6-421d-9788-7991509e9b00" providerId="ADAL" clId="{CE83D114-1C90-4F39-8D42-4D8D4E384834}" dt="2023-07-02T06:37:08.254" v="4554" actId="1037"/>
          <ac:spMkLst>
            <pc:docMk/>
            <pc:sldMk cId="1464758072" sldId="2145707100"/>
            <ac:spMk id="740" creationId="{B0344957-8E95-4C97-A4A6-DE9AEBAB3125}"/>
          </ac:spMkLst>
        </pc:spChg>
        <pc:spChg chg="mod">
          <ac:chgData name="Sheng, Yanan" userId="a8f760e9-50c6-421d-9788-7991509e9b00" providerId="ADAL" clId="{CE83D114-1C90-4F39-8D42-4D8D4E384834}" dt="2023-07-02T06:37:08.254" v="4554" actId="1037"/>
          <ac:spMkLst>
            <pc:docMk/>
            <pc:sldMk cId="1464758072" sldId="2145707100"/>
            <ac:spMk id="741" creationId="{9DC8F551-B8DF-4C95-88AB-2CDC8E719AF0}"/>
          </ac:spMkLst>
        </pc:spChg>
        <pc:spChg chg="mod">
          <ac:chgData name="Sheng, Yanan" userId="a8f760e9-50c6-421d-9788-7991509e9b00" providerId="ADAL" clId="{CE83D114-1C90-4F39-8D42-4D8D4E384834}" dt="2023-07-02T06:37:08.254" v="4554" actId="1037"/>
          <ac:spMkLst>
            <pc:docMk/>
            <pc:sldMk cId="1464758072" sldId="2145707100"/>
            <ac:spMk id="743" creationId="{BFA2F67C-C6AD-4433-BC4B-2D865ACDC855}"/>
          </ac:spMkLst>
        </pc:spChg>
        <pc:spChg chg="mod">
          <ac:chgData name="Sheng, Yanan" userId="a8f760e9-50c6-421d-9788-7991509e9b00" providerId="ADAL" clId="{CE83D114-1C90-4F39-8D42-4D8D4E384834}" dt="2023-07-02T06:37:08.254" v="4554" actId="1037"/>
          <ac:spMkLst>
            <pc:docMk/>
            <pc:sldMk cId="1464758072" sldId="2145707100"/>
            <ac:spMk id="744" creationId="{08C10B5E-41FE-401F-A45A-9623B66ABA3F}"/>
          </ac:spMkLst>
        </pc:spChg>
        <pc:spChg chg="mod">
          <ac:chgData name="Sheng, Yanan" userId="a8f760e9-50c6-421d-9788-7991509e9b00" providerId="ADAL" clId="{CE83D114-1C90-4F39-8D42-4D8D4E384834}" dt="2023-07-02T06:37:08.254" v="4554" actId="1037"/>
          <ac:spMkLst>
            <pc:docMk/>
            <pc:sldMk cId="1464758072" sldId="2145707100"/>
            <ac:spMk id="745" creationId="{047096A9-09B0-4243-8AB6-FFBD95FF14BB}"/>
          </ac:spMkLst>
        </pc:spChg>
        <pc:spChg chg="mod">
          <ac:chgData name="Sheng, Yanan" userId="a8f760e9-50c6-421d-9788-7991509e9b00" providerId="ADAL" clId="{CE83D114-1C90-4F39-8D42-4D8D4E384834}" dt="2023-07-02T06:37:08.254" v="4554" actId="1037"/>
          <ac:spMkLst>
            <pc:docMk/>
            <pc:sldMk cId="1464758072" sldId="2145707100"/>
            <ac:spMk id="746" creationId="{8E6A72FC-7474-41DC-A037-E745DD7F1F82}"/>
          </ac:spMkLst>
        </pc:spChg>
        <pc:spChg chg="mod">
          <ac:chgData name="Sheng, Yanan" userId="a8f760e9-50c6-421d-9788-7991509e9b00" providerId="ADAL" clId="{CE83D114-1C90-4F39-8D42-4D8D4E384834}" dt="2023-07-02T06:37:08.254" v="4554" actId="1037"/>
          <ac:spMkLst>
            <pc:docMk/>
            <pc:sldMk cId="1464758072" sldId="2145707100"/>
            <ac:spMk id="747" creationId="{240C60C6-4D98-4151-A5D4-CA9D48D4AD37}"/>
          </ac:spMkLst>
        </pc:spChg>
        <pc:spChg chg="mod">
          <ac:chgData name="Sheng, Yanan" userId="a8f760e9-50c6-421d-9788-7991509e9b00" providerId="ADAL" clId="{CE83D114-1C90-4F39-8D42-4D8D4E384834}" dt="2023-07-02T06:37:08.254" v="4554" actId="1037"/>
          <ac:spMkLst>
            <pc:docMk/>
            <pc:sldMk cId="1464758072" sldId="2145707100"/>
            <ac:spMk id="748" creationId="{581D5B7B-D635-4306-989B-2A21AF276AF9}"/>
          </ac:spMkLst>
        </pc:spChg>
        <pc:spChg chg="mod">
          <ac:chgData name="Sheng, Yanan" userId="a8f760e9-50c6-421d-9788-7991509e9b00" providerId="ADAL" clId="{CE83D114-1C90-4F39-8D42-4D8D4E384834}" dt="2023-07-02T06:37:08.254" v="4554" actId="1037"/>
          <ac:spMkLst>
            <pc:docMk/>
            <pc:sldMk cId="1464758072" sldId="2145707100"/>
            <ac:spMk id="749" creationId="{B8AC3CD1-07BC-4262-B72B-1C1CADE350E5}"/>
          </ac:spMkLst>
        </pc:spChg>
        <pc:spChg chg="mod">
          <ac:chgData name="Sheng, Yanan" userId="a8f760e9-50c6-421d-9788-7991509e9b00" providerId="ADAL" clId="{CE83D114-1C90-4F39-8D42-4D8D4E384834}" dt="2023-07-02T06:37:08.254" v="4554" actId="1037"/>
          <ac:spMkLst>
            <pc:docMk/>
            <pc:sldMk cId="1464758072" sldId="2145707100"/>
            <ac:spMk id="750" creationId="{137E9494-2668-41BB-81CA-F9B336DF7460}"/>
          </ac:spMkLst>
        </pc:spChg>
        <pc:spChg chg="mod">
          <ac:chgData name="Sheng, Yanan" userId="a8f760e9-50c6-421d-9788-7991509e9b00" providerId="ADAL" clId="{CE83D114-1C90-4F39-8D42-4D8D4E384834}" dt="2023-07-02T06:37:08.254" v="4554" actId="1037"/>
          <ac:spMkLst>
            <pc:docMk/>
            <pc:sldMk cId="1464758072" sldId="2145707100"/>
            <ac:spMk id="751" creationId="{2DCB077C-30FF-4545-9E0F-E8CB81A5892C}"/>
          </ac:spMkLst>
        </pc:spChg>
        <pc:spChg chg="mod">
          <ac:chgData name="Sheng, Yanan" userId="a8f760e9-50c6-421d-9788-7991509e9b00" providerId="ADAL" clId="{CE83D114-1C90-4F39-8D42-4D8D4E384834}" dt="2023-07-02T06:37:08.254" v="4554" actId="1037"/>
          <ac:spMkLst>
            <pc:docMk/>
            <pc:sldMk cId="1464758072" sldId="2145707100"/>
            <ac:spMk id="752" creationId="{DE9E2000-124F-49B4-9747-4A20A83A6891}"/>
          </ac:spMkLst>
        </pc:spChg>
        <pc:spChg chg="mod">
          <ac:chgData name="Sheng, Yanan" userId="a8f760e9-50c6-421d-9788-7991509e9b00" providerId="ADAL" clId="{CE83D114-1C90-4F39-8D42-4D8D4E384834}" dt="2023-07-02T06:37:08.254" v="4554" actId="1037"/>
          <ac:spMkLst>
            <pc:docMk/>
            <pc:sldMk cId="1464758072" sldId="2145707100"/>
            <ac:spMk id="753" creationId="{BFDDBBE5-4639-4EEF-A91A-8FF73A818C89}"/>
          </ac:spMkLst>
        </pc:spChg>
        <pc:spChg chg="mod">
          <ac:chgData name="Sheng, Yanan" userId="a8f760e9-50c6-421d-9788-7991509e9b00" providerId="ADAL" clId="{CE83D114-1C90-4F39-8D42-4D8D4E384834}" dt="2023-07-02T06:37:08.254" v="4554" actId="1037"/>
          <ac:spMkLst>
            <pc:docMk/>
            <pc:sldMk cId="1464758072" sldId="2145707100"/>
            <ac:spMk id="754" creationId="{A8B93D49-F019-4028-A00B-3A2E6EC9E265}"/>
          </ac:spMkLst>
        </pc:spChg>
        <pc:spChg chg="mod">
          <ac:chgData name="Sheng, Yanan" userId="a8f760e9-50c6-421d-9788-7991509e9b00" providerId="ADAL" clId="{CE83D114-1C90-4F39-8D42-4D8D4E384834}" dt="2023-07-02T06:37:08.254" v="4554" actId="1037"/>
          <ac:spMkLst>
            <pc:docMk/>
            <pc:sldMk cId="1464758072" sldId="2145707100"/>
            <ac:spMk id="755" creationId="{8D2512FA-0B40-4A5E-8225-753626F6271D}"/>
          </ac:spMkLst>
        </pc:spChg>
        <pc:spChg chg="mod">
          <ac:chgData name="Sheng, Yanan" userId="a8f760e9-50c6-421d-9788-7991509e9b00" providerId="ADAL" clId="{CE83D114-1C90-4F39-8D42-4D8D4E384834}" dt="2023-07-02T06:37:08.254" v="4554" actId="1037"/>
          <ac:spMkLst>
            <pc:docMk/>
            <pc:sldMk cId="1464758072" sldId="2145707100"/>
            <ac:spMk id="756" creationId="{6C2469F4-98E0-4C47-824F-1FACE7020F00}"/>
          </ac:spMkLst>
        </pc:spChg>
        <pc:spChg chg="mod">
          <ac:chgData name="Sheng, Yanan" userId="a8f760e9-50c6-421d-9788-7991509e9b00" providerId="ADAL" clId="{CE83D114-1C90-4F39-8D42-4D8D4E384834}" dt="2023-07-02T06:37:08.254" v="4554" actId="1037"/>
          <ac:spMkLst>
            <pc:docMk/>
            <pc:sldMk cId="1464758072" sldId="2145707100"/>
            <ac:spMk id="757" creationId="{CDDB645D-5FA1-4059-A20A-6E1621CDE1A5}"/>
          </ac:spMkLst>
        </pc:spChg>
        <pc:spChg chg="mod">
          <ac:chgData name="Sheng, Yanan" userId="a8f760e9-50c6-421d-9788-7991509e9b00" providerId="ADAL" clId="{CE83D114-1C90-4F39-8D42-4D8D4E384834}" dt="2023-07-02T06:37:08.254" v="4554" actId="1037"/>
          <ac:spMkLst>
            <pc:docMk/>
            <pc:sldMk cId="1464758072" sldId="2145707100"/>
            <ac:spMk id="758" creationId="{D1DFC5BE-E600-46E3-B249-B4B4697AAD80}"/>
          </ac:spMkLst>
        </pc:spChg>
        <pc:spChg chg="mod">
          <ac:chgData name="Sheng, Yanan" userId="a8f760e9-50c6-421d-9788-7991509e9b00" providerId="ADAL" clId="{CE83D114-1C90-4F39-8D42-4D8D4E384834}" dt="2023-07-02T06:37:08.254" v="4554" actId="1037"/>
          <ac:spMkLst>
            <pc:docMk/>
            <pc:sldMk cId="1464758072" sldId="2145707100"/>
            <ac:spMk id="759" creationId="{A113C661-073A-4530-84A5-D9B3ECCA0FB4}"/>
          </ac:spMkLst>
        </pc:spChg>
        <pc:spChg chg="mod">
          <ac:chgData name="Sheng, Yanan" userId="a8f760e9-50c6-421d-9788-7991509e9b00" providerId="ADAL" clId="{CE83D114-1C90-4F39-8D42-4D8D4E384834}" dt="2023-07-02T06:37:08.254" v="4554" actId="1037"/>
          <ac:spMkLst>
            <pc:docMk/>
            <pc:sldMk cId="1464758072" sldId="2145707100"/>
            <ac:spMk id="760" creationId="{283B26DB-BE11-40FB-896E-D947C28D3F5D}"/>
          </ac:spMkLst>
        </pc:spChg>
        <pc:spChg chg="mod">
          <ac:chgData name="Sheng, Yanan" userId="a8f760e9-50c6-421d-9788-7991509e9b00" providerId="ADAL" clId="{CE83D114-1C90-4F39-8D42-4D8D4E384834}" dt="2023-07-02T06:37:08.254" v="4554" actId="1037"/>
          <ac:spMkLst>
            <pc:docMk/>
            <pc:sldMk cId="1464758072" sldId="2145707100"/>
            <ac:spMk id="761" creationId="{D0397510-E824-423E-B557-589F40485D5B}"/>
          </ac:spMkLst>
        </pc:spChg>
        <pc:spChg chg="mod">
          <ac:chgData name="Sheng, Yanan" userId="a8f760e9-50c6-421d-9788-7991509e9b00" providerId="ADAL" clId="{CE83D114-1C90-4F39-8D42-4D8D4E384834}" dt="2023-07-02T06:37:08.254" v="4554" actId="1037"/>
          <ac:spMkLst>
            <pc:docMk/>
            <pc:sldMk cId="1464758072" sldId="2145707100"/>
            <ac:spMk id="762" creationId="{FE3D0AC5-68B6-4692-AD68-721715C32BF9}"/>
          </ac:spMkLst>
        </pc:spChg>
        <pc:spChg chg="mod">
          <ac:chgData name="Sheng, Yanan" userId="a8f760e9-50c6-421d-9788-7991509e9b00" providerId="ADAL" clId="{CE83D114-1C90-4F39-8D42-4D8D4E384834}" dt="2023-07-02T06:37:08.254" v="4554" actId="1037"/>
          <ac:spMkLst>
            <pc:docMk/>
            <pc:sldMk cId="1464758072" sldId="2145707100"/>
            <ac:spMk id="763" creationId="{24B47DF7-7B0C-406D-9A13-D862E2ECE72D}"/>
          </ac:spMkLst>
        </pc:spChg>
        <pc:spChg chg="mod">
          <ac:chgData name="Sheng, Yanan" userId="a8f760e9-50c6-421d-9788-7991509e9b00" providerId="ADAL" clId="{CE83D114-1C90-4F39-8D42-4D8D4E384834}" dt="2023-07-02T06:37:08.254" v="4554" actId="1037"/>
          <ac:spMkLst>
            <pc:docMk/>
            <pc:sldMk cId="1464758072" sldId="2145707100"/>
            <ac:spMk id="764" creationId="{1B2A61AA-F8DC-4242-B06F-C3580E8ADD26}"/>
          </ac:spMkLst>
        </pc:spChg>
        <pc:spChg chg="mod">
          <ac:chgData name="Sheng, Yanan" userId="a8f760e9-50c6-421d-9788-7991509e9b00" providerId="ADAL" clId="{CE83D114-1C90-4F39-8D42-4D8D4E384834}" dt="2023-07-02T06:37:08.254" v="4554" actId="1037"/>
          <ac:spMkLst>
            <pc:docMk/>
            <pc:sldMk cId="1464758072" sldId="2145707100"/>
            <ac:spMk id="765" creationId="{12E09637-F1A3-4B3A-9AD2-19CA854DF492}"/>
          </ac:spMkLst>
        </pc:spChg>
        <pc:spChg chg="mod">
          <ac:chgData name="Sheng, Yanan" userId="a8f760e9-50c6-421d-9788-7991509e9b00" providerId="ADAL" clId="{CE83D114-1C90-4F39-8D42-4D8D4E384834}" dt="2023-07-02T06:37:08.254" v="4554" actId="1037"/>
          <ac:spMkLst>
            <pc:docMk/>
            <pc:sldMk cId="1464758072" sldId="2145707100"/>
            <ac:spMk id="766" creationId="{DFAF8FA1-BED0-4E32-8861-4B1774ADEF13}"/>
          </ac:spMkLst>
        </pc:spChg>
        <pc:spChg chg="mod">
          <ac:chgData name="Sheng, Yanan" userId="a8f760e9-50c6-421d-9788-7991509e9b00" providerId="ADAL" clId="{CE83D114-1C90-4F39-8D42-4D8D4E384834}" dt="2023-07-02T06:37:08.254" v="4554" actId="1037"/>
          <ac:spMkLst>
            <pc:docMk/>
            <pc:sldMk cId="1464758072" sldId="2145707100"/>
            <ac:spMk id="767" creationId="{123846DA-8395-4E7E-A922-B9DF22FE1EE6}"/>
          </ac:spMkLst>
        </pc:spChg>
        <pc:spChg chg="mod">
          <ac:chgData name="Sheng, Yanan" userId="a8f760e9-50c6-421d-9788-7991509e9b00" providerId="ADAL" clId="{CE83D114-1C90-4F39-8D42-4D8D4E384834}" dt="2023-07-02T06:37:08.254" v="4554" actId="1037"/>
          <ac:spMkLst>
            <pc:docMk/>
            <pc:sldMk cId="1464758072" sldId="2145707100"/>
            <ac:spMk id="768" creationId="{C72D1EA9-7D4B-4C3F-92EE-1E500F88A046}"/>
          </ac:spMkLst>
        </pc:spChg>
        <pc:spChg chg="mod">
          <ac:chgData name="Sheng, Yanan" userId="a8f760e9-50c6-421d-9788-7991509e9b00" providerId="ADAL" clId="{CE83D114-1C90-4F39-8D42-4D8D4E384834}" dt="2023-07-02T06:37:08.254" v="4554" actId="1037"/>
          <ac:spMkLst>
            <pc:docMk/>
            <pc:sldMk cId="1464758072" sldId="2145707100"/>
            <ac:spMk id="769" creationId="{6548B18B-1E7B-4804-9A27-68EA70DCBFE0}"/>
          </ac:spMkLst>
        </pc:spChg>
        <pc:spChg chg="mod">
          <ac:chgData name="Sheng, Yanan" userId="a8f760e9-50c6-421d-9788-7991509e9b00" providerId="ADAL" clId="{CE83D114-1C90-4F39-8D42-4D8D4E384834}" dt="2023-07-02T06:37:08.254" v="4554" actId="1037"/>
          <ac:spMkLst>
            <pc:docMk/>
            <pc:sldMk cId="1464758072" sldId="2145707100"/>
            <ac:spMk id="770" creationId="{8BBE45FE-3729-4AB4-BDF0-3BB29F0342C4}"/>
          </ac:spMkLst>
        </pc:spChg>
        <pc:spChg chg="mod">
          <ac:chgData name="Sheng, Yanan" userId="a8f760e9-50c6-421d-9788-7991509e9b00" providerId="ADAL" clId="{CE83D114-1C90-4F39-8D42-4D8D4E384834}" dt="2023-07-02T06:37:08.254" v="4554" actId="1037"/>
          <ac:spMkLst>
            <pc:docMk/>
            <pc:sldMk cId="1464758072" sldId="2145707100"/>
            <ac:spMk id="771" creationId="{9087C76F-495B-4D71-8BF4-3A82AE4442DC}"/>
          </ac:spMkLst>
        </pc:spChg>
        <pc:spChg chg="mod">
          <ac:chgData name="Sheng, Yanan" userId="a8f760e9-50c6-421d-9788-7991509e9b00" providerId="ADAL" clId="{CE83D114-1C90-4F39-8D42-4D8D4E384834}" dt="2023-07-02T06:37:08.254" v="4554" actId="1037"/>
          <ac:spMkLst>
            <pc:docMk/>
            <pc:sldMk cId="1464758072" sldId="2145707100"/>
            <ac:spMk id="772" creationId="{B29491E5-429E-4029-B409-7A07750CCF5D}"/>
          </ac:spMkLst>
        </pc:spChg>
        <pc:spChg chg="mod">
          <ac:chgData name="Sheng, Yanan" userId="a8f760e9-50c6-421d-9788-7991509e9b00" providerId="ADAL" clId="{CE83D114-1C90-4F39-8D42-4D8D4E384834}" dt="2023-07-02T06:37:08.254" v="4554" actId="1037"/>
          <ac:spMkLst>
            <pc:docMk/>
            <pc:sldMk cId="1464758072" sldId="2145707100"/>
            <ac:spMk id="773" creationId="{7675F689-A61F-4212-890E-3E86B8CE9D00}"/>
          </ac:spMkLst>
        </pc:spChg>
        <pc:spChg chg="mod">
          <ac:chgData name="Sheng, Yanan" userId="a8f760e9-50c6-421d-9788-7991509e9b00" providerId="ADAL" clId="{CE83D114-1C90-4F39-8D42-4D8D4E384834}" dt="2023-07-02T06:37:08.254" v="4554" actId="1037"/>
          <ac:spMkLst>
            <pc:docMk/>
            <pc:sldMk cId="1464758072" sldId="2145707100"/>
            <ac:spMk id="774" creationId="{C838597F-6B72-4F0C-918D-82F0ADA0F5AC}"/>
          </ac:spMkLst>
        </pc:spChg>
        <pc:spChg chg="mod">
          <ac:chgData name="Sheng, Yanan" userId="a8f760e9-50c6-421d-9788-7991509e9b00" providerId="ADAL" clId="{CE83D114-1C90-4F39-8D42-4D8D4E384834}" dt="2023-07-02T06:37:08.254" v="4554" actId="1037"/>
          <ac:spMkLst>
            <pc:docMk/>
            <pc:sldMk cId="1464758072" sldId="2145707100"/>
            <ac:spMk id="775" creationId="{CA04C9DC-DFE9-437A-BB53-0C1EC35D2B6F}"/>
          </ac:spMkLst>
        </pc:spChg>
        <pc:spChg chg="mod">
          <ac:chgData name="Sheng, Yanan" userId="a8f760e9-50c6-421d-9788-7991509e9b00" providerId="ADAL" clId="{CE83D114-1C90-4F39-8D42-4D8D4E384834}" dt="2023-07-02T06:37:08.254" v="4554" actId="1037"/>
          <ac:spMkLst>
            <pc:docMk/>
            <pc:sldMk cId="1464758072" sldId="2145707100"/>
            <ac:spMk id="776" creationId="{0113CE4B-F915-4EB9-9797-A02A7B576CCD}"/>
          </ac:spMkLst>
        </pc:spChg>
        <pc:spChg chg="mod">
          <ac:chgData name="Sheng, Yanan" userId="a8f760e9-50c6-421d-9788-7991509e9b00" providerId="ADAL" clId="{CE83D114-1C90-4F39-8D42-4D8D4E384834}" dt="2023-07-02T06:37:08.254" v="4554" actId="1037"/>
          <ac:spMkLst>
            <pc:docMk/>
            <pc:sldMk cId="1464758072" sldId="2145707100"/>
            <ac:spMk id="777" creationId="{FE4B6B35-899E-4A58-8CE4-51CC27758265}"/>
          </ac:spMkLst>
        </pc:spChg>
        <pc:spChg chg="mod">
          <ac:chgData name="Sheng, Yanan" userId="a8f760e9-50c6-421d-9788-7991509e9b00" providerId="ADAL" clId="{CE83D114-1C90-4F39-8D42-4D8D4E384834}" dt="2023-07-02T06:37:08.254" v="4554" actId="1037"/>
          <ac:spMkLst>
            <pc:docMk/>
            <pc:sldMk cId="1464758072" sldId="2145707100"/>
            <ac:spMk id="778" creationId="{CF85A7C8-1AA1-4BCF-B2D4-63CE18FF8A5A}"/>
          </ac:spMkLst>
        </pc:spChg>
        <pc:spChg chg="mod">
          <ac:chgData name="Sheng, Yanan" userId="a8f760e9-50c6-421d-9788-7991509e9b00" providerId="ADAL" clId="{CE83D114-1C90-4F39-8D42-4D8D4E384834}" dt="2023-07-02T06:37:08.254" v="4554" actId="1037"/>
          <ac:spMkLst>
            <pc:docMk/>
            <pc:sldMk cId="1464758072" sldId="2145707100"/>
            <ac:spMk id="779" creationId="{43266470-BE97-4557-987A-9DDF28C808AF}"/>
          </ac:spMkLst>
        </pc:spChg>
        <pc:spChg chg="mod">
          <ac:chgData name="Sheng, Yanan" userId="a8f760e9-50c6-421d-9788-7991509e9b00" providerId="ADAL" clId="{CE83D114-1C90-4F39-8D42-4D8D4E384834}" dt="2023-07-02T06:37:08.254" v="4554" actId="1037"/>
          <ac:spMkLst>
            <pc:docMk/>
            <pc:sldMk cId="1464758072" sldId="2145707100"/>
            <ac:spMk id="780" creationId="{8F582BD1-383F-4387-9505-D073827012EC}"/>
          </ac:spMkLst>
        </pc:spChg>
        <pc:spChg chg="mod">
          <ac:chgData name="Sheng, Yanan" userId="a8f760e9-50c6-421d-9788-7991509e9b00" providerId="ADAL" clId="{CE83D114-1C90-4F39-8D42-4D8D4E384834}" dt="2023-07-02T06:37:08.254" v="4554" actId="1037"/>
          <ac:spMkLst>
            <pc:docMk/>
            <pc:sldMk cId="1464758072" sldId="2145707100"/>
            <ac:spMk id="781" creationId="{B194F8F4-A230-4ED0-BA2F-3BA5DF2E11C6}"/>
          </ac:spMkLst>
        </pc:spChg>
        <pc:spChg chg="mod">
          <ac:chgData name="Sheng, Yanan" userId="a8f760e9-50c6-421d-9788-7991509e9b00" providerId="ADAL" clId="{CE83D114-1C90-4F39-8D42-4D8D4E384834}" dt="2023-07-02T06:37:08.254" v="4554" actId="1037"/>
          <ac:spMkLst>
            <pc:docMk/>
            <pc:sldMk cId="1464758072" sldId="2145707100"/>
            <ac:spMk id="782" creationId="{A3E7C4DD-6856-41AE-A2E1-83AF1627952A}"/>
          </ac:spMkLst>
        </pc:spChg>
        <pc:spChg chg="mod">
          <ac:chgData name="Sheng, Yanan" userId="a8f760e9-50c6-421d-9788-7991509e9b00" providerId="ADAL" clId="{CE83D114-1C90-4F39-8D42-4D8D4E384834}" dt="2023-07-02T06:37:08.254" v="4554" actId="1037"/>
          <ac:spMkLst>
            <pc:docMk/>
            <pc:sldMk cId="1464758072" sldId="2145707100"/>
            <ac:spMk id="783" creationId="{A9536A2D-C299-4B69-8F07-8C55B5E8FBB7}"/>
          </ac:spMkLst>
        </pc:spChg>
        <pc:spChg chg="mod">
          <ac:chgData name="Sheng, Yanan" userId="a8f760e9-50c6-421d-9788-7991509e9b00" providerId="ADAL" clId="{CE83D114-1C90-4F39-8D42-4D8D4E384834}" dt="2023-07-02T06:37:08.254" v="4554" actId="1037"/>
          <ac:spMkLst>
            <pc:docMk/>
            <pc:sldMk cId="1464758072" sldId="2145707100"/>
            <ac:spMk id="784" creationId="{8B496EE4-710F-41E5-9B81-1DCC90A132A2}"/>
          </ac:spMkLst>
        </pc:spChg>
        <pc:spChg chg="mod">
          <ac:chgData name="Sheng, Yanan" userId="a8f760e9-50c6-421d-9788-7991509e9b00" providerId="ADAL" clId="{CE83D114-1C90-4F39-8D42-4D8D4E384834}" dt="2023-07-02T06:37:08.254" v="4554" actId="1037"/>
          <ac:spMkLst>
            <pc:docMk/>
            <pc:sldMk cId="1464758072" sldId="2145707100"/>
            <ac:spMk id="785" creationId="{3F2A3202-4E54-4E50-833D-A92F125349F8}"/>
          </ac:spMkLst>
        </pc:spChg>
        <pc:spChg chg="mod">
          <ac:chgData name="Sheng, Yanan" userId="a8f760e9-50c6-421d-9788-7991509e9b00" providerId="ADAL" clId="{CE83D114-1C90-4F39-8D42-4D8D4E384834}" dt="2023-07-02T06:37:08.254" v="4554" actId="1037"/>
          <ac:spMkLst>
            <pc:docMk/>
            <pc:sldMk cId="1464758072" sldId="2145707100"/>
            <ac:spMk id="786" creationId="{42411D3E-E147-403A-A73C-4DBEC166BB55}"/>
          </ac:spMkLst>
        </pc:spChg>
        <pc:spChg chg="mod">
          <ac:chgData name="Sheng, Yanan" userId="a8f760e9-50c6-421d-9788-7991509e9b00" providerId="ADAL" clId="{CE83D114-1C90-4F39-8D42-4D8D4E384834}" dt="2023-07-02T06:37:08.254" v="4554" actId="1037"/>
          <ac:spMkLst>
            <pc:docMk/>
            <pc:sldMk cId="1464758072" sldId="2145707100"/>
            <ac:spMk id="787" creationId="{4427FD6A-62AF-4CDA-9F4F-7E6FF190A5F7}"/>
          </ac:spMkLst>
        </pc:spChg>
        <pc:spChg chg="mod">
          <ac:chgData name="Sheng, Yanan" userId="a8f760e9-50c6-421d-9788-7991509e9b00" providerId="ADAL" clId="{CE83D114-1C90-4F39-8D42-4D8D4E384834}" dt="2023-07-02T06:37:08.254" v="4554" actId="1037"/>
          <ac:spMkLst>
            <pc:docMk/>
            <pc:sldMk cId="1464758072" sldId="2145707100"/>
            <ac:spMk id="788" creationId="{7543FCBE-01FD-4481-990F-BA45E75FD7D7}"/>
          </ac:spMkLst>
        </pc:spChg>
        <pc:spChg chg="mod">
          <ac:chgData name="Sheng, Yanan" userId="a8f760e9-50c6-421d-9788-7991509e9b00" providerId="ADAL" clId="{CE83D114-1C90-4F39-8D42-4D8D4E384834}" dt="2023-07-02T06:37:08.254" v="4554" actId="1037"/>
          <ac:spMkLst>
            <pc:docMk/>
            <pc:sldMk cId="1464758072" sldId="2145707100"/>
            <ac:spMk id="789" creationId="{7257F9D0-A47B-481C-8FDA-2448668296BD}"/>
          </ac:spMkLst>
        </pc:spChg>
        <pc:spChg chg="mod">
          <ac:chgData name="Sheng, Yanan" userId="a8f760e9-50c6-421d-9788-7991509e9b00" providerId="ADAL" clId="{CE83D114-1C90-4F39-8D42-4D8D4E384834}" dt="2023-07-02T06:37:08.254" v="4554" actId="1037"/>
          <ac:spMkLst>
            <pc:docMk/>
            <pc:sldMk cId="1464758072" sldId="2145707100"/>
            <ac:spMk id="790" creationId="{08CDAEE1-311B-45EB-9D14-7D0095EC495B}"/>
          </ac:spMkLst>
        </pc:spChg>
        <pc:spChg chg="mod">
          <ac:chgData name="Sheng, Yanan" userId="a8f760e9-50c6-421d-9788-7991509e9b00" providerId="ADAL" clId="{CE83D114-1C90-4F39-8D42-4D8D4E384834}" dt="2023-07-02T06:37:08.254" v="4554" actId="1037"/>
          <ac:spMkLst>
            <pc:docMk/>
            <pc:sldMk cId="1464758072" sldId="2145707100"/>
            <ac:spMk id="791" creationId="{D04693B9-71CE-455C-8EA9-C949456F7485}"/>
          </ac:spMkLst>
        </pc:spChg>
        <pc:spChg chg="mod">
          <ac:chgData name="Sheng, Yanan" userId="a8f760e9-50c6-421d-9788-7991509e9b00" providerId="ADAL" clId="{CE83D114-1C90-4F39-8D42-4D8D4E384834}" dt="2023-07-02T06:37:08.254" v="4554" actId="1037"/>
          <ac:spMkLst>
            <pc:docMk/>
            <pc:sldMk cId="1464758072" sldId="2145707100"/>
            <ac:spMk id="792" creationId="{4A95DFC7-922B-4E6E-B8B1-C003CA17EF5C}"/>
          </ac:spMkLst>
        </pc:spChg>
        <pc:spChg chg="mod">
          <ac:chgData name="Sheng, Yanan" userId="a8f760e9-50c6-421d-9788-7991509e9b00" providerId="ADAL" clId="{CE83D114-1C90-4F39-8D42-4D8D4E384834}" dt="2023-07-02T06:37:08.254" v="4554" actId="1037"/>
          <ac:spMkLst>
            <pc:docMk/>
            <pc:sldMk cId="1464758072" sldId="2145707100"/>
            <ac:spMk id="793" creationId="{B005D98A-6ED1-48F7-ACA1-64E6D8226166}"/>
          </ac:spMkLst>
        </pc:spChg>
        <pc:spChg chg="mod">
          <ac:chgData name="Sheng, Yanan" userId="a8f760e9-50c6-421d-9788-7991509e9b00" providerId="ADAL" clId="{CE83D114-1C90-4F39-8D42-4D8D4E384834}" dt="2023-07-02T06:37:08.254" v="4554" actId="1037"/>
          <ac:spMkLst>
            <pc:docMk/>
            <pc:sldMk cId="1464758072" sldId="2145707100"/>
            <ac:spMk id="794" creationId="{C6785666-224E-43D6-933E-872EB3938856}"/>
          </ac:spMkLst>
        </pc:spChg>
        <pc:spChg chg="mod">
          <ac:chgData name="Sheng, Yanan" userId="a8f760e9-50c6-421d-9788-7991509e9b00" providerId="ADAL" clId="{CE83D114-1C90-4F39-8D42-4D8D4E384834}" dt="2023-07-02T06:37:08.254" v="4554" actId="1037"/>
          <ac:spMkLst>
            <pc:docMk/>
            <pc:sldMk cId="1464758072" sldId="2145707100"/>
            <ac:spMk id="795" creationId="{78A62A2F-D5DE-44D6-871F-E95A56EEA30A}"/>
          </ac:spMkLst>
        </pc:spChg>
        <pc:spChg chg="mod">
          <ac:chgData name="Sheng, Yanan" userId="a8f760e9-50c6-421d-9788-7991509e9b00" providerId="ADAL" clId="{CE83D114-1C90-4F39-8D42-4D8D4E384834}" dt="2023-07-02T06:37:08.254" v="4554" actId="1037"/>
          <ac:spMkLst>
            <pc:docMk/>
            <pc:sldMk cId="1464758072" sldId="2145707100"/>
            <ac:spMk id="796" creationId="{01436249-1EEC-4BC8-B71C-C41221CE26F2}"/>
          </ac:spMkLst>
        </pc:spChg>
        <pc:spChg chg="mod">
          <ac:chgData name="Sheng, Yanan" userId="a8f760e9-50c6-421d-9788-7991509e9b00" providerId="ADAL" clId="{CE83D114-1C90-4F39-8D42-4D8D4E384834}" dt="2023-07-02T06:37:08.254" v="4554" actId="1037"/>
          <ac:spMkLst>
            <pc:docMk/>
            <pc:sldMk cId="1464758072" sldId="2145707100"/>
            <ac:spMk id="797" creationId="{8895A317-C376-42A5-8AB8-404E54AF0F3E}"/>
          </ac:spMkLst>
        </pc:spChg>
        <pc:spChg chg="mod">
          <ac:chgData name="Sheng, Yanan" userId="a8f760e9-50c6-421d-9788-7991509e9b00" providerId="ADAL" clId="{CE83D114-1C90-4F39-8D42-4D8D4E384834}" dt="2023-07-02T06:37:08.254" v="4554" actId="1037"/>
          <ac:spMkLst>
            <pc:docMk/>
            <pc:sldMk cId="1464758072" sldId="2145707100"/>
            <ac:spMk id="798" creationId="{FDF73787-C80C-4F6A-8FDE-0EBFEBFABBFD}"/>
          </ac:spMkLst>
        </pc:spChg>
        <pc:spChg chg="mod">
          <ac:chgData name="Sheng, Yanan" userId="a8f760e9-50c6-421d-9788-7991509e9b00" providerId="ADAL" clId="{CE83D114-1C90-4F39-8D42-4D8D4E384834}" dt="2023-07-02T06:37:08.254" v="4554" actId="1037"/>
          <ac:spMkLst>
            <pc:docMk/>
            <pc:sldMk cId="1464758072" sldId="2145707100"/>
            <ac:spMk id="799" creationId="{EC4FCF49-2C34-4E00-BFEC-86A035D36726}"/>
          </ac:spMkLst>
        </pc:spChg>
        <pc:spChg chg="mod">
          <ac:chgData name="Sheng, Yanan" userId="a8f760e9-50c6-421d-9788-7991509e9b00" providerId="ADAL" clId="{CE83D114-1C90-4F39-8D42-4D8D4E384834}" dt="2023-07-02T06:37:08.254" v="4554" actId="1037"/>
          <ac:spMkLst>
            <pc:docMk/>
            <pc:sldMk cId="1464758072" sldId="2145707100"/>
            <ac:spMk id="800" creationId="{743DE093-14E1-49B9-ACBE-6E191A69DFEA}"/>
          </ac:spMkLst>
        </pc:spChg>
        <pc:spChg chg="mod">
          <ac:chgData name="Sheng, Yanan" userId="a8f760e9-50c6-421d-9788-7991509e9b00" providerId="ADAL" clId="{CE83D114-1C90-4F39-8D42-4D8D4E384834}" dt="2023-07-02T06:37:08.254" v="4554" actId="1037"/>
          <ac:spMkLst>
            <pc:docMk/>
            <pc:sldMk cId="1464758072" sldId="2145707100"/>
            <ac:spMk id="801" creationId="{B5F179FF-9272-4130-9CE2-372D88F51370}"/>
          </ac:spMkLst>
        </pc:spChg>
        <pc:spChg chg="mod">
          <ac:chgData name="Sheng, Yanan" userId="a8f760e9-50c6-421d-9788-7991509e9b00" providerId="ADAL" clId="{CE83D114-1C90-4F39-8D42-4D8D4E384834}" dt="2023-07-02T06:37:08.254" v="4554" actId="1037"/>
          <ac:spMkLst>
            <pc:docMk/>
            <pc:sldMk cId="1464758072" sldId="2145707100"/>
            <ac:spMk id="802" creationId="{901677DE-1452-4011-A622-8322705B6B49}"/>
          </ac:spMkLst>
        </pc:spChg>
        <pc:spChg chg="mod">
          <ac:chgData name="Sheng, Yanan" userId="a8f760e9-50c6-421d-9788-7991509e9b00" providerId="ADAL" clId="{CE83D114-1C90-4F39-8D42-4D8D4E384834}" dt="2023-07-02T06:37:08.254" v="4554" actId="1037"/>
          <ac:spMkLst>
            <pc:docMk/>
            <pc:sldMk cId="1464758072" sldId="2145707100"/>
            <ac:spMk id="803" creationId="{9549C615-2842-4C20-92A5-44907F306396}"/>
          </ac:spMkLst>
        </pc:spChg>
        <pc:spChg chg="mod">
          <ac:chgData name="Sheng, Yanan" userId="a8f760e9-50c6-421d-9788-7991509e9b00" providerId="ADAL" clId="{CE83D114-1C90-4F39-8D42-4D8D4E384834}" dt="2023-07-02T06:37:08.254" v="4554" actId="1037"/>
          <ac:spMkLst>
            <pc:docMk/>
            <pc:sldMk cId="1464758072" sldId="2145707100"/>
            <ac:spMk id="804" creationId="{BBBBBF40-4E2E-4771-BD52-C4CF3FC59B23}"/>
          </ac:spMkLst>
        </pc:spChg>
        <pc:spChg chg="mod">
          <ac:chgData name="Sheng, Yanan" userId="a8f760e9-50c6-421d-9788-7991509e9b00" providerId="ADAL" clId="{CE83D114-1C90-4F39-8D42-4D8D4E384834}" dt="2023-07-02T06:37:08.254" v="4554" actId="1037"/>
          <ac:spMkLst>
            <pc:docMk/>
            <pc:sldMk cId="1464758072" sldId="2145707100"/>
            <ac:spMk id="805" creationId="{F617BD4D-A62C-4E21-8688-1E04EF35C044}"/>
          </ac:spMkLst>
        </pc:spChg>
        <pc:spChg chg="mod">
          <ac:chgData name="Sheng, Yanan" userId="a8f760e9-50c6-421d-9788-7991509e9b00" providerId="ADAL" clId="{CE83D114-1C90-4F39-8D42-4D8D4E384834}" dt="2023-07-02T06:37:08.254" v="4554" actId="1037"/>
          <ac:spMkLst>
            <pc:docMk/>
            <pc:sldMk cId="1464758072" sldId="2145707100"/>
            <ac:spMk id="806" creationId="{3BD3E1E9-8B50-4485-B109-C41D4B89D364}"/>
          </ac:spMkLst>
        </pc:spChg>
        <pc:spChg chg="mod">
          <ac:chgData name="Sheng, Yanan" userId="a8f760e9-50c6-421d-9788-7991509e9b00" providerId="ADAL" clId="{CE83D114-1C90-4F39-8D42-4D8D4E384834}" dt="2023-07-02T06:37:08.254" v="4554" actId="1037"/>
          <ac:spMkLst>
            <pc:docMk/>
            <pc:sldMk cId="1464758072" sldId="2145707100"/>
            <ac:spMk id="807" creationId="{510A8382-922D-401A-B6CA-0E488B205F63}"/>
          </ac:spMkLst>
        </pc:spChg>
        <pc:spChg chg="mod">
          <ac:chgData name="Sheng, Yanan" userId="a8f760e9-50c6-421d-9788-7991509e9b00" providerId="ADAL" clId="{CE83D114-1C90-4F39-8D42-4D8D4E384834}" dt="2023-07-02T06:37:08.254" v="4554" actId="1037"/>
          <ac:spMkLst>
            <pc:docMk/>
            <pc:sldMk cId="1464758072" sldId="2145707100"/>
            <ac:spMk id="808" creationId="{8E7C6066-95D3-444C-9F36-425E3634FD70}"/>
          </ac:spMkLst>
        </pc:spChg>
        <pc:spChg chg="mod">
          <ac:chgData name="Sheng, Yanan" userId="a8f760e9-50c6-421d-9788-7991509e9b00" providerId="ADAL" clId="{CE83D114-1C90-4F39-8D42-4D8D4E384834}" dt="2023-07-02T06:37:08.254" v="4554" actId="1037"/>
          <ac:spMkLst>
            <pc:docMk/>
            <pc:sldMk cId="1464758072" sldId="2145707100"/>
            <ac:spMk id="809" creationId="{6BDAAC43-DD9E-4D3D-9794-6A93F3ABD2AA}"/>
          </ac:spMkLst>
        </pc:spChg>
        <pc:spChg chg="mod">
          <ac:chgData name="Sheng, Yanan" userId="a8f760e9-50c6-421d-9788-7991509e9b00" providerId="ADAL" clId="{CE83D114-1C90-4F39-8D42-4D8D4E384834}" dt="2023-07-02T06:37:08.254" v="4554" actId="1037"/>
          <ac:spMkLst>
            <pc:docMk/>
            <pc:sldMk cId="1464758072" sldId="2145707100"/>
            <ac:spMk id="810" creationId="{40F71907-D00C-463A-B29F-9F12AAB23E8A}"/>
          </ac:spMkLst>
        </pc:spChg>
        <pc:spChg chg="mod">
          <ac:chgData name="Sheng, Yanan" userId="a8f760e9-50c6-421d-9788-7991509e9b00" providerId="ADAL" clId="{CE83D114-1C90-4F39-8D42-4D8D4E384834}" dt="2023-07-02T06:37:08.254" v="4554" actId="1037"/>
          <ac:spMkLst>
            <pc:docMk/>
            <pc:sldMk cId="1464758072" sldId="2145707100"/>
            <ac:spMk id="811" creationId="{6425D263-7BDD-4EE7-AD4B-357393845E75}"/>
          </ac:spMkLst>
        </pc:spChg>
        <pc:spChg chg="mod">
          <ac:chgData name="Sheng, Yanan" userId="a8f760e9-50c6-421d-9788-7991509e9b00" providerId="ADAL" clId="{CE83D114-1C90-4F39-8D42-4D8D4E384834}" dt="2023-07-02T06:37:08.254" v="4554" actId="1037"/>
          <ac:spMkLst>
            <pc:docMk/>
            <pc:sldMk cId="1464758072" sldId="2145707100"/>
            <ac:spMk id="812" creationId="{443EA163-CC3A-4BF8-85D6-FF0DF662AFAD}"/>
          </ac:spMkLst>
        </pc:spChg>
        <pc:spChg chg="mod">
          <ac:chgData name="Sheng, Yanan" userId="a8f760e9-50c6-421d-9788-7991509e9b00" providerId="ADAL" clId="{CE83D114-1C90-4F39-8D42-4D8D4E384834}" dt="2023-07-02T06:37:08.254" v="4554" actId="1037"/>
          <ac:spMkLst>
            <pc:docMk/>
            <pc:sldMk cId="1464758072" sldId="2145707100"/>
            <ac:spMk id="813" creationId="{82B6C5E6-B050-41B2-A6A3-3A1C62384337}"/>
          </ac:spMkLst>
        </pc:spChg>
        <pc:spChg chg="mod">
          <ac:chgData name="Sheng, Yanan" userId="a8f760e9-50c6-421d-9788-7991509e9b00" providerId="ADAL" clId="{CE83D114-1C90-4F39-8D42-4D8D4E384834}" dt="2023-07-02T06:37:08.254" v="4554" actId="1037"/>
          <ac:spMkLst>
            <pc:docMk/>
            <pc:sldMk cId="1464758072" sldId="2145707100"/>
            <ac:spMk id="814" creationId="{7F8C7A00-CF4B-4748-B42E-E39F5293DF06}"/>
          </ac:spMkLst>
        </pc:spChg>
        <pc:spChg chg="mod">
          <ac:chgData name="Sheng, Yanan" userId="a8f760e9-50c6-421d-9788-7991509e9b00" providerId="ADAL" clId="{CE83D114-1C90-4F39-8D42-4D8D4E384834}" dt="2023-07-02T06:37:08.254" v="4554" actId="1037"/>
          <ac:spMkLst>
            <pc:docMk/>
            <pc:sldMk cId="1464758072" sldId="2145707100"/>
            <ac:spMk id="815" creationId="{DB5AD2F9-D9C0-4406-9676-A03625EE0C5C}"/>
          </ac:spMkLst>
        </pc:spChg>
        <pc:spChg chg="mod">
          <ac:chgData name="Sheng, Yanan" userId="a8f760e9-50c6-421d-9788-7991509e9b00" providerId="ADAL" clId="{CE83D114-1C90-4F39-8D42-4D8D4E384834}" dt="2023-07-02T06:37:08.254" v="4554" actId="1037"/>
          <ac:spMkLst>
            <pc:docMk/>
            <pc:sldMk cId="1464758072" sldId="2145707100"/>
            <ac:spMk id="816" creationId="{A448CB58-A9CD-4FCE-900A-1B23913FDAC9}"/>
          </ac:spMkLst>
        </pc:spChg>
        <pc:spChg chg="mod">
          <ac:chgData name="Sheng, Yanan" userId="a8f760e9-50c6-421d-9788-7991509e9b00" providerId="ADAL" clId="{CE83D114-1C90-4F39-8D42-4D8D4E384834}" dt="2023-07-02T06:37:08.254" v="4554" actId="1037"/>
          <ac:spMkLst>
            <pc:docMk/>
            <pc:sldMk cId="1464758072" sldId="2145707100"/>
            <ac:spMk id="817" creationId="{6FE5C80B-E802-494F-8381-BA3E71D54F98}"/>
          </ac:spMkLst>
        </pc:spChg>
        <pc:spChg chg="mod">
          <ac:chgData name="Sheng, Yanan" userId="a8f760e9-50c6-421d-9788-7991509e9b00" providerId="ADAL" clId="{CE83D114-1C90-4F39-8D42-4D8D4E384834}" dt="2023-07-02T06:37:08.254" v="4554" actId="1037"/>
          <ac:spMkLst>
            <pc:docMk/>
            <pc:sldMk cId="1464758072" sldId="2145707100"/>
            <ac:spMk id="818" creationId="{AB9EBFDB-42E1-4AFA-9173-3731D0262F77}"/>
          </ac:spMkLst>
        </pc:spChg>
        <pc:spChg chg="mod">
          <ac:chgData name="Sheng, Yanan" userId="a8f760e9-50c6-421d-9788-7991509e9b00" providerId="ADAL" clId="{CE83D114-1C90-4F39-8D42-4D8D4E384834}" dt="2023-07-02T06:37:08.254" v="4554" actId="1037"/>
          <ac:spMkLst>
            <pc:docMk/>
            <pc:sldMk cId="1464758072" sldId="2145707100"/>
            <ac:spMk id="819" creationId="{23874338-0269-4608-95AA-47DB7EBDF031}"/>
          </ac:spMkLst>
        </pc:spChg>
        <pc:spChg chg="mod">
          <ac:chgData name="Sheng, Yanan" userId="a8f760e9-50c6-421d-9788-7991509e9b00" providerId="ADAL" clId="{CE83D114-1C90-4F39-8D42-4D8D4E384834}" dt="2023-07-02T06:37:08.254" v="4554" actId="1037"/>
          <ac:spMkLst>
            <pc:docMk/>
            <pc:sldMk cId="1464758072" sldId="2145707100"/>
            <ac:spMk id="820" creationId="{B1856D66-E739-42AF-8DD0-090CC9CA6249}"/>
          </ac:spMkLst>
        </pc:spChg>
        <pc:spChg chg="mod">
          <ac:chgData name="Sheng, Yanan" userId="a8f760e9-50c6-421d-9788-7991509e9b00" providerId="ADAL" clId="{CE83D114-1C90-4F39-8D42-4D8D4E384834}" dt="2023-07-02T06:37:08.254" v="4554" actId="1037"/>
          <ac:spMkLst>
            <pc:docMk/>
            <pc:sldMk cId="1464758072" sldId="2145707100"/>
            <ac:spMk id="821" creationId="{2765CFDF-989A-4472-86B8-2D9AAF98849A}"/>
          </ac:spMkLst>
        </pc:spChg>
        <pc:spChg chg="mod">
          <ac:chgData name="Sheng, Yanan" userId="a8f760e9-50c6-421d-9788-7991509e9b00" providerId="ADAL" clId="{CE83D114-1C90-4F39-8D42-4D8D4E384834}" dt="2023-07-02T06:37:08.254" v="4554" actId="1037"/>
          <ac:spMkLst>
            <pc:docMk/>
            <pc:sldMk cId="1464758072" sldId="2145707100"/>
            <ac:spMk id="822" creationId="{988A0494-2AFF-44FF-9512-2AEEEFE21A37}"/>
          </ac:spMkLst>
        </pc:spChg>
        <pc:spChg chg="mod">
          <ac:chgData name="Sheng, Yanan" userId="a8f760e9-50c6-421d-9788-7991509e9b00" providerId="ADAL" clId="{CE83D114-1C90-4F39-8D42-4D8D4E384834}" dt="2023-07-02T06:37:08.254" v="4554" actId="1037"/>
          <ac:spMkLst>
            <pc:docMk/>
            <pc:sldMk cId="1464758072" sldId="2145707100"/>
            <ac:spMk id="823" creationId="{D4219B97-0A1A-4C31-95BC-D00E1DB3D0CF}"/>
          </ac:spMkLst>
        </pc:spChg>
        <pc:spChg chg="mod">
          <ac:chgData name="Sheng, Yanan" userId="a8f760e9-50c6-421d-9788-7991509e9b00" providerId="ADAL" clId="{CE83D114-1C90-4F39-8D42-4D8D4E384834}" dt="2023-07-02T06:37:08.254" v="4554" actId="1037"/>
          <ac:spMkLst>
            <pc:docMk/>
            <pc:sldMk cId="1464758072" sldId="2145707100"/>
            <ac:spMk id="824" creationId="{BD804B3F-53BA-4156-ACD4-A8DFEE83F368}"/>
          </ac:spMkLst>
        </pc:spChg>
        <pc:spChg chg="mod">
          <ac:chgData name="Sheng, Yanan" userId="a8f760e9-50c6-421d-9788-7991509e9b00" providerId="ADAL" clId="{CE83D114-1C90-4F39-8D42-4D8D4E384834}" dt="2023-07-02T06:37:08.254" v="4554" actId="1037"/>
          <ac:spMkLst>
            <pc:docMk/>
            <pc:sldMk cId="1464758072" sldId="2145707100"/>
            <ac:spMk id="825" creationId="{80CB3FCA-8DDF-4A31-9BDD-492B8677ED74}"/>
          </ac:spMkLst>
        </pc:spChg>
        <pc:spChg chg="mod">
          <ac:chgData name="Sheng, Yanan" userId="a8f760e9-50c6-421d-9788-7991509e9b00" providerId="ADAL" clId="{CE83D114-1C90-4F39-8D42-4D8D4E384834}" dt="2023-07-02T06:37:08.254" v="4554" actId="1037"/>
          <ac:spMkLst>
            <pc:docMk/>
            <pc:sldMk cId="1464758072" sldId="2145707100"/>
            <ac:spMk id="826" creationId="{2BFC7B3D-5FF4-4635-BCB9-29485893934B}"/>
          </ac:spMkLst>
        </pc:spChg>
        <pc:spChg chg="mod">
          <ac:chgData name="Sheng, Yanan" userId="a8f760e9-50c6-421d-9788-7991509e9b00" providerId="ADAL" clId="{CE83D114-1C90-4F39-8D42-4D8D4E384834}" dt="2023-07-02T06:37:08.254" v="4554" actId="1037"/>
          <ac:spMkLst>
            <pc:docMk/>
            <pc:sldMk cId="1464758072" sldId="2145707100"/>
            <ac:spMk id="827" creationId="{C691810B-F6E5-4F99-8723-6FEC99E05E2A}"/>
          </ac:spMkLst>
        </pc:spChg>
        <pc:spChg chg="mod">
          <ac:chgData name="Sheng, Yanan" userId="a8f760e9-50c6-421d-9788-7991509e9b00" providerId="ADAL" clId="{CE83D114-1C90-4F39-8D42-4D8D4E384834}" dt="2023-07-02T06:37:08.254" v="4554" actId="1037"/>
          <ac:spMkLst>
            <pc:docMk/>
            <pc:sldMk cId="1464758072" sldId="2145707100"/>
            <ac:spMk id="828" creationId="{C89191F0-2215-45DA-896A-3C28EEBEA3AF}"/>
          </ac:spMkLst>
        </pc:spChg>
        <pc:spChg chg="mod">
          <ac:chgData name="Sheng, Yanan" userId="a8f760e9-50c6-421d-9788-7991509e9b00" providerId="ADAL" clId="{CE83D114-1C90-4F39-8D42-4D8D4E384834}" dt="2023-07-02T06:37:08.254" v="4554" actId="1037"/>
          <ac:spMkLst>
            <pc:docMk/>
            <pc:sldMk cId="1464758072" sldId="2145707100"/>
            <ac:spMk id="829" creationId="{3D0D6799-DDBE-4FC4-83DB-DCCAC5B59B59}"/>
          </ac:spMkLst>
        </pc:spChg>
        <pc:spChg chg="mod">
          <ac:chgData name="Sheng, Yanan" userId="a8f760e9-50c6-421d-9788-7991509e9b00" providerId="ADAL" clId="{CE83D114-1C90-4F39-8D42-4D8D4E384834}" dt="2023-07-02T06:37:08.254" v="4554" actId="1037"/>
          <ac:spMkLst>
            <pc:docMk/>
            <pc:sldMk cId="1464758072" sldId="2145707100"/>
            <ac:spMk id="830" creationId="{B2F405F1-EFBB-4FF4-812C-2534CA7974E9}"/>
          </ac:spMkLst>
        </pc:spChg>
        <pc:spChg chg="mod">
          <ac:chgData name="Sheng, Yanan" userId="a8f760e9-50c6-421d-9788-7991509e9b00" providerId="ADAL" clId="{CE83D114-1C90-4F39-8D42-4D8D4E384834}" dt="2023-07-02T06:37:08.254" v="4554" actId="1037"/>
          <ac:spMkLst>
            <pc:docMk/>
            <pc:sldMk cId="1464758072" sldId="2145707100"/>
            <ac:spMk id="831" creationId="{08280CF6-1A4B-45A5-BC6D-37DEBAB34C56}"/>
          </ac:spMkLst>
        </pc:spChg>
        <pc:spChg chg="mod">
          <ac:chgData name="Sheng, Yanan" userId="a8f760e9-50c6-421d-9788-7991509e9b00" providerId="ADAL" clId="{CE83D114-1C90-4F39-8D42-4D8D4E384834}" dt="2023-07-02T06:37:08.254" v="4554" actId="1037"/>
          <ac:spMkLst>
            <pc:docMk/>
            <pc:sldMk cId="1464758072" sldId="2145707100"/>
            <ac:spMk id="832" creationId="{B6D1D800-409B-428A-A886-69C9FD100D45}"/>
          </ac:spMkLst>
        </pc:spChg>
        <pc:spChg chg="mod">
          <ac:chgData name="Sheng, Yanan" userId="a8f760e9-50c6-421d-9788-7991509e9b00" providerId="ADAL" clId="{CE83D114-1C90-4F39-8D42-4D8D4E384834}" dt="2023-07-02T06:37:08.254" v="4554" actId="1037"/>
          <ac:spMkLst>
            <pc:docMk/>
            <pc:sldMk cId="1464758072" sldId="2145707100"/>
            <ac:spMk id="833" creationId="{8E1BCCD5-BABF-4AFD-BC06-1F04CBBE1997}"/>
          </ac:spMkLst>
        </pc:spChg>
        <pc:spChg chg="mod">
          <ac:chgData name="Sheng, Yanan" userId="a8f760e9-50c6-421d-9788-7991509e9b00" providerId="ADAL" clId="{CE83D114-1C90-4F39-8D42-4D8D4E384834}" dt="2023-07-02T06:37:08.254" v="4554" actId="1037"/>
          <ac:spMkLst>
            <pc:docMk/>
            <pc:sldMk cId="1464758072" sldId="2145707100"/>
            <ac:spMk id="834" creationId="{DBE30CC2-FFEA-4169-95C5-982519D97F39}"/>
          </ac:spMkLst>
        </pc:spChg>
        <pc:spChg chg="mod">
          <ac:chgData name="Sheng, Yanan" userId="a8f760e9-50c6-421d-9788-7991509e9b00" providerId="ADAL" clId="{CE83D114-1C90-4F39-8D42-4D8D4E384834}" dt="2023-07-02T06:37:08.254" v="4554" actId="1037"/>
          <ac:spMkLst>
            <pc:docMk/>
            <pc:sldMk cId="1464758072" sldId="2145707100"/>
            <ac:spMk id="835" creationId="{F9DA2E86-0D46-4130-8467-7BB8B2EB70CD}"/>
          </ac:spMkLst>
        </pc:spChg>
        <pc:spChg chg="mod">
          <ac:chgData name="Sheng, Yanan" userId="a8f760e9-50c6-421d-9788-7991509e9b00" providerId="ADAL" clId="{CE83D114-1C90-4F39-8D42-4D8D4E384834}" dt="2023-07-02T06:37:08.254" v="4554" actId="1037"/>
          <ac:spMkLst>
            <pc:docMk/>
            <pc:sldMk cId="1464758072" sldId="2145707100"/>
            <ac:spMk id="836" creationId="{F1FD824E-D6DA-4791-BBFD-1BBA51A194C2}"/>
          </ac:spMkLst>
        </pc:spChg>
        <pc:spChg chg="mod">
          <ac:chgData name="Sheng, Yanan" userId="a8f760e9-50c6-421d-9788-7991509e9b00" providerId="ADAL" clId="{CE83D114-1C90-4F39-8D42-4D8D4E384834}" dt="2023-07-02T06:37:08.254" v="4554" actId="1037"/>
          <ac:spMkLst>
            <pc:docMk/>
            <pc:sldMk cId="1464758072" sldId="2145707100"/>
            <ac:spMk id="837" creationId="{11E326DB-B56B-4A3B-B3E7-CD56532DEB9B}"/>
          </ac:spMkLst>
        </pc:spChg>
        <pc:spChg chg="mod">
          <ac:chgData name="Sheng, Yanan" userId="a8f760e9-50c6-421d-9788-7991509e9b00" providerId="ADAL" clId="{CE83D114-1C90-4F39-8D42-4D8D4E384834}" dt="2023-07-02T06:37:08.254" v="4554" actId="1037"/>
          <ac:spMkLst>
            <pc:docMk/>
            <pc:sldMk cId="1464758072" sldId="2145707100"/>
            <ac:spMk id="838" creationId="{7238AAED-A677-4DC2-B4DF-7B36B2E0A8C6}"/>
          </ac:spMkLst>
        </pc:spChg>
        <pc:spChg chg="mod">
          <ac:chgData name="Sheng, Yanan" userId="a8f760e9-50c6-421d-9788-7991509e9b00" providerId="ADAL" clId="{CE83D114-1C90-4F39-8D42-4D8D4E384834}" dt="2023-07-02T06:37:08.254" v="4554" actId="1037"/>
          <ac:spMkLst>
            <pc:docMk/>
            <pc:sldMk cId="1464758072" sldId="2145707100"/>
            <ac:spMk id="839" creationId="{CF07D710-3810-4CD2-A02F-8A76DA3547AF}"/>
          </ac:spMkLst>
        </pc:spChg>
        <pc:spChg chg="mod">
          <ac:chgData name="Sheng, Yanan" userId="a8f760e9-50c6-421d-9788-7991509e9b00" providerId="ADAL" clId="{CE83D114-1C90-4F39-8D42-4D8D4E384834}" dt="2023-07-02T06:37:08.254" v="4554" actId="1037"/>
          <ac:spMkLst>
            <pc:docMk/>
            <pc:sldMk cId="1464758072" sldId="2145707100"/>
            <ac:spMk id="840" creationId="{7906BFAA-F8F3-4878-8081-BBDB876FCB8F}"/>
          </ac:spMkLst>
        </pc:spChg>
        <pc:spChg chg="mod">
          <ac:chgData name="Sheng, Yanan" userId="a8f760e9-50c6-421d-9788-7991509e9b00" providerId="ADAL" clId="{CE83D114-1C90-4F39-8D42-4D8D4E384834}" dt="2023-07-02T06:37:08.254" v="4554" actId="1037"/>
          <ac:spMkLst>
            <pc:docMk/>
            <pc:sldMk cId="1464758072" sldId="2145707100"/>
            <ac:spMk id="841" creationId="{898DC0EB-6C4D-460E-91B9-9EFBB9CF8706}"/>
          </ac:spMkLst>
        </pc:spChg>
        <pc:spChg chg="mod">
          <ac:chgData name="Sheng, Yanan" userId="a8f760e9-50c6-421d-9788-7991509e9b00" providerId="ADAL" clId="{CE83D114-1C90-4F39-8D42-4D8D4E384834}" dt="2023-07-02T06:37:08.254" v="4554" actId="1037"/>
          <ac:spMkLst>
            <pc:docMk/>
            <pc:sldMk cId="1464758072" sldId="2145707100"/>
            <ac:spMk id="842" creationId="{21C1C341-73ED-4DC9-9B2F-2F32DC7C5A46}"/>
          </ac:spMkLst>
        </pc:spChg>
        <pc:spChg chg="mod">
          <ac:chgData name="Sheng, Yanan" userId="a8f760e9-50c6-421d-9788-7991509e9b00" providerId="ADAL" clId="{CE83D114-1C90-4F39-8D42-4D8D4E384834}" dt="2023-07-02T06:37:08.254" v="4554" actId="1037"/>
          <ac:spMkLst>
            <pc:docMk/>
            <pc:sldMk cId="1464758072" sldId="2145707100"/>
            <ac:spMk id="843" creationId="{FAB5F5C4-FB03-4AB4-9365-16C6A9FED1FC}"/>
          </ac:spMkLst>
        </pc:spChg>
        <pc:spChg chg="mod">
          <ac:chgData name="Sheng, Yanan" userId="a8f760e9-50c6-421d-9788-7991509e9b00" providerId="ADAL" clId="{CE83D114-1C90-4F39-8D42-4D8D4E384834}" dt="2023-07-02T06:37:08.254" v="4554" actId="1037"/>
          <ac:spMkLst>
            <pc:docMk/>
            <pc:sldMk cId="1464758072" sldId="2145707100"/>
            <ac:spMk id="844" creationId="{D71DE085-D013-45DC-B49F-8151E6E525D0}"/>
          </ac:spMkLst>
        </pc:spChg>
        <pc:spChg chg="mod">
          <ac:chgData name="Sheng, Yanan" userId="a8f760e9-50c6-421d-9788-7991509e9b00" providerId="ADAL" clId="{CE83D114-1C90-4F39-8D42-4D8D4E384834}" dt="2023-07-02T06:37:08.254" v="4554" actId="1037"/>
          <ac:spMkLst>
            <pc:docMk/>
            <pc:sldMk cId="1464758072" sldId="2145707100"/>
            <ac:spMk id="845" creationId="{0A187066-701A-45B2-AF9D-CEC9DEDB7A47}"/>
          </ac:spMkLst>
        </pc:spChg>
        <pc:spChg chg="mod">
          <ac:chgData name="Sheng, Yanan" userId="a8f760e9-50c6-421d-9788-7991509e9b00" providerId="ADAL" clId="{CE83D114-1C90-4F39-8D42-4D8D4E384834}" dt="2023-07-02T06:37:08.254" v="4554" actId="1037"/>
          <ac:spMkLst>
            <pc:docMk/>
            <pc:sldMk cId="1464758072" sldId="2145707100"/>
            <ac:spMk id="846" creationId="{7B4F7859-030F-491F-BF2E-AB7024E0B2DC}"/>
          </ac:spMkLst>
        </pc:spChg>
        <pc:spChg chg="mod">
          <ac:chgData name="Sheng, Yanan" userId="a8f760e9-50c6-421d-9788-7991509e9b00" providerId="ADAL" clId="{CE83D114-1C90-4F39-8D42-4D8D4E384834}" dt="2023-07-02T06:37:08.254" v="4554" actId="1037"/>
          <ac:spMkLst>
            <pc:docMk/>
            <pc:sldMk cId="1464758072" sldId="2145707100"/>
            <ac:spMk id="847" creationId="{D07CD6A3-21F1-4514-AA25-7D2317FD73FF}"/>
          </ac:spMkLst>
        </pc:spChg>
        <pc:spChg chg="mod">
          <ac:chgData name="Sheng, Yanan" userId="a8f760e9-50c6-421d-9788-7991509e9b00" providerId="ADAL" clId="{CE83D114-1C90-4F39-8D42-4D8D4E384834}" dt="2023-07-02T06:37:08.254" v="4554" actId="1037"/>
          <ac:spMkLst>
            <pc:docMk/>
            <pc:sldMk cId="1464758072" sldId="2145707100"/>
            <ac:spMk id="848" creationId="{682570F0-6433-4A9C-8AB9-7FF19A9F1A53}"/>
          </ac:spMkLst>
        </pc:spChg>
        <pc:spChg chg="mod">
          <ac:chgData name="Sheng, Yanan" userId="a8f760e9-50c6-421d-9788-7991509e9b00" providerId="ADAL" clId="{CE83D114-1C90-4F39-8D42-4D8D4E384834}" dt="2023-07-02T06:37:08.254" v="4554" actId="1037"/>
          <ac:spMkLst>
            <pc:docMk/>
            <pc:sldMk cId="1464758072" sldId="2145707100"/>
            <ac:spMk id="849" creationId="{70DFDAFC-81CA-43A6-A435-98DDA8719125}"/>
          </ac:spMkLst>
        </pc:spChg>
        <pc:spChg chg="mod">
          <ac:chgData name="Sheng, Yanan" userId="a8f760e9-50c6-421d-9788-7991509e9b00" providerId="ADAL" clId="{CE83D114-1C90-4F39-8D42-4D8D4E384834}" dt="2023-07-02T06:37:08.254" v="4554" actId="1037"/>
          <ac:spMkLst>
            <pc:docMk/>
            <pc:sldMk cId="1464758072" sldId="2145707100"/>
            <ac:spMk id="850" creationId="{05972B2C-D8B6-44FA-AA73-3FD59B0394DE}"/>
          </ac:spMkLst>
        </pc:spChg>
        <pc:spChg chg="mod">
          <ac:chgData name="Sheng, Yanan" userId="a8f760e9-50c6-421d-9788-7991509e9b00" providerId="ADAL" clId="{CE83D114-1C90-4F39-8D42-4D8D4E384834}" dt="2023-07-02T06:42:27.458" v="4583" actId="404"/>
          <ac:spMkLst>
            <pc:docMk/>
            <pc:sldMk cId="1464758072" sldId="2145707100"/>
            <ac:spMk id="854" creationId="{F1EC39DE-7AA1-45FA-867A-BF6AAABDEA57}"/>
          </ac:spMkLst>
        </pc:spChg>
        <pc:spChg chg="mod">
          <ac:chgData name="Sheng, Yanan" userId="a8f760e9-50c6-421d-9788-7991509e9b00" providerId="ADAL" clId="{CE83D114-1C90-4F39-8D42-4D8D4E384834}" dt="2023-07-02T06:42:27.458" v="4583" actId="404"/>
          <ac:spMkLst>
            <pc:docMk/>
            <pc:sldMk cId="1464758072" sldId="2145707100"/>
            <ac:spMk id="855" creationId="{85EADAEC-D202-4B14-A22D-E0DC1CD14E50}"/>
          </ac:spMkLst>
        </pc:spChg>
        <pc:spChg chg="mod">
          <ac:chgData name="Sheng, Yanan" userId="a8f760e9-50c6-421d-9788-7991509e9b00" providerId="ADAL" clId="{CE83D114-1C90-4F39-8D42-4D8D4E384834}" dt="2023-07-02T06:42:27.458" v="4583" actId="404"/>
          <ac:spMkLst>
            <pc:docMk/>
            <pc:sldMk cId="1464758072" sldId="2145707100"/>
            <ac:spMk id="860" creationId="{EF0864F6-3F50-4BD5-84E3-41C7B8305320}"/>
          </ac:spMkLst>
        </pc:spChg>
        <pc:spChg chg="mod">
          <ac:chgData name="Sheng, Yanan" userId="a8f760e9-50c6-421d-9788-7991509e9b00" providerId="ADAL" clId="{CE83D114-1C90-4F39-8D42-4D8D4E384834}" dt="2023-07-02T06:42:27.458" v="4583" actId="404"/>
          <ac:spMkLst>
            <pc:docMk/>
            <pc:sldMk cId="1464758072" sldId="2145707100"/>
            <ac:spMk id="862" creationId="{32B0A27C-5051-4CB7-8DC9-88131383D82F}"/>
          </ac:spMkLst>
        </pc:spChg>
        <pc:spChg chg="mod">
          <ac:chgData name="Sheng, Yanan" userId="a8f760e9-50c6-421d-9788-7991509e9b00" providerId="ADAL" clId="{CE83D114-1C90-4F39-8D42-4D8D4E384834}" dt="2023-07-02T06:42:27.458" v="4583" actId="404"/>
          <ac:spMkLst>
            <pc:docMk/>
            <pc:sldMk cId="1464758072" sldId="2145707100"/>
            <ac:spMk id="863" creationId="{210DF07F-D2CF-4407-857B-A89CCA759A9D}"/>
          </ac:spMkLst>
        </pc:spChg>
        <pc:spChg chg="mod">
          <ac:chgData name="Sheng, Yanan" userId="a8f760e9-50c6-421d-9788-7991509e9b00" providerId="ADAL" clId="{CE83D114-1C90-4F39-8D42-4D8D4E384834}" dt="2023-07-02T06:42:27.458" v="4583" actId="404"/>
          <ac:spMkLst>
            <pc:docMk/>
            <pc:sldMk cId="1464758072" sldId="2145707100"/>
            <ac:spMk id="864" creationId="{92EE504E-DC3E-432E-8DC4-FF2066322D06}"/>
          </ac:spMkLst>
        </pc:spChg>
        <pc:spChg chg="mod">
          <ac:chgData name="Sheng, Yanan" userId="a8f760e9-50c6-421d-9788-7991509e9b00" providerId="ADAL" clId="{CE83D114-1C90-4F39-8D42-4D8D4E384834}" dt="2023-07-02T06:42:27.458" v="4583" actId="404"/>
          <ac:spMkLst>
            <pc:docMk/>
            <pc:sldMk cId="1464758072" sldId="2145707100"/>
            <ac:spMk id="873" creationId="{021DF68F-9B0D-49D9-AA2C-38A7D6E75E38}"/>
          </ac:spMkLst>
        </pc:spChg>
        <pc:spChg chg="mod">
          <ac:chgData name="Sheng, Yanan" userId="a8f760e9-50c6-421d-9788-7991509e9b00" providerId="ADAL" clId="{CE83D114-1C90-4F39-8D42-4D8D4E384834}" dt="2023-07-02T06:42:27.458" v="4583" actId="404"/>
          <ac:spMkLst>
            <pc:docMk/>
            <pc:sldMk cId="1464758072" sldId="2145707100"/>
            <ac:spMk id="875" creationId="{777CE6CD-DDC9-4F5D-B142-E195977A463A}"/>
          </ac:spMkLst>
        </pc:spChg>
        <pc:spChg chg="mod">
          <ac:chgData name="Sheng, Yanan" userId="a8f760e9-50c6-421d-9788-7991509e9b00" providerId="ADAL" clId="{CE83D114-1C90-4F39-8D42-4D8D4E384834}" dt="2023-07-02T06:42:27.458" v="4583" actId="404"/>
          <ac:spMkLst>
            <pc:docMk/>
            <pc:sldMk cId="1464758072" sldId="2145707100"/>
            <ac:spMk id="877" creationId="{74AC2778-7978-43B5-9D66-D6656E21333C}"/>
          </ac:spMkLst>
        </pc:spChg>
        <pc:spChg chg="mod">
          <ac:chgData name="Sheng, Yanan" userId="a8f760e9-50c6-421d-9788-7991509e9b00" providerId="ADAL" clId="{CE83D114-1C90-4F39-8D42-4D8D4E384834}" dt="2023-07-02T06:42:27.458" v="4583" actId="404"/>
          <ac:spMkLst>
            <pc:docMk/>
            <pc:sldMk cId="1464758072" sldId="2145707100"/>
            <ac:spMk id="878" creationId="{B5BD5F6C-F83F-4BAC-8966-5DEDAC01A645}"/>
          </ac:spMkLst>
        </pc:spChg>
        <pc:spChg chg="mod">
          <ac:chgData name="Sheng, Yanan" userId="a8f760e9-50c6-421d-9788-7991509e9b00" providerId="ADAL" clId="{CE83D114-1C90-4F39-8D42-4D8D4E384834}" dt="2023-07-02T08:22:35.770" v="5204" actId="207"/>
          <ac:spMkLst>
            <pc:docMk/>
            <pc:sldMk cId="1464758072" sldId="2145707100"/>
            <ac:spMk id="880" creationId="{15CE27DA-0659-4FA2-9F7D-49F0D99E6415}"/>
          </ac:spMkLst>
        </pc:spChg>
        <pc:grpChg chg="mod">
          <ac:chgData name="Sheng, Yanan" userId="a8f760e9-50c6-421d-9788-7991509e9b00" providerId="ADAL" clId="{CE83D114-1C90-4F39-8D42-4D8D4E384834}" dt="2023-07-02T06:45:40.555" v="4631" actId="1036"/>
          <ac:grpSpMkLst>
            <pc:docMk/>
            <pc:sldMk cId="1464758072" sldId="2145707100"/>
            <ac:grpSpMk id="4" creationId="{8A8025E0-A3A0-4427-B0E5-B7ADDD575B04}"/>
          </ac:grpSpMkLst>
        </pc:grpChg>
        <pc:grpChg chg="mod">
          <ac:chgData name="Sheng, Yanan" userId="a8f760e9-50c6-421d-9788-7991509e9b00" providerId="ADAL" clId="{CE83D114-1C90-4F39-8D42-4D8D4E384834}" dt="2023-07-02T06:37:08.254" v="4554" actId="1037"/>
          <ac:grpSpMkLst>
            <pc:docMk/>
            <pc:sldMk cId="1464758072" sldId="2145707100"/>
            <ac:grpSpMk id="5" creationId="{2AB3238E-F5A3-468A-8ED9-D486289F0297}"/>
          </ac:grpSpMkLst>
        </pc:grpChg>
        <pc:grpChg chg="mod">
          <ac:chgData name="Sheng, Yanan" userId="a8f760e9-50c6-421d-9788-7991509e9b00" providerId="ADAL" clId="{CE83D114-1C90-4F39-8D42-4D8D4E384834}" dt="2023-07-02T06:37:08.254" v="4554" actId="1037"/>
          <ac:grpSpMkLst>
            <pc:docMk/>
            <pc:sldMk cId="1464758072" sldId="2145707100"/>
            <ac:grpSpMk id="551" creationId="{D52D44E8-11D8-4BA3-8F4D-5B93C7B9F45D}"/>
          </ac:grpSpMkLst>
        </pc:grpChg>
        <pc:grpChg chg="mod">
          <ac:chgData name="Sheng, Yanan" userId="a8f760e9-50c6-421d-9788-7991509e9b00" providerId="ADAL" clId="{CE83D114-1C90-4F39-8D42-4D8D4E384834}" dt="2023-07-02T06:37:08.254" v="4554" actId="1037"/>
          <ac:grpSpMkLst>
            <pc:docMk/>
            <pc:sldMk cId="1464758072" sldId="2145707100"/>
            <ac:grpSpMk id="552" creationId="{CBFA97D4-44FB-4636-AA96-ADB683D61A3B}"/>
          </ac:grpSpMkLst>
        </pc:grpChg>
        <pc:grpChg chg="mod">
          <ac:chgData name="Sheng, Yanan" userId="a8f760e9-50c6-421d-9788-7991509e9b00" providerId="ADAL" clId="{CE83D114-1C90-4F39-8D42-4D8D4E384834}" dt="2023-07-02T06:37:08.254" v="4554" actId="1037"/>
          <ac:grpSpMkLst>
            <pc:docMk/>
            <pc:sldMk cId="1464758072" sldId="2145707100"/>
            <ac:grpSpMk id="554" creationId="{D2581D29-63A7-4E47-A43D-C4A8E4B1D969}"/>
          </ac:grpSpMkLst>
        </pc:grpChg>
        <pc:grpChg chg="mod">
          <ac:chgData name="Sheng, Yanan" userId="a8f760e9-50c6-421d-9788-7991509e9b00" providerId="ADAL" clId="{CE83D114-1C90-4F39-8D42-4D8D4E384834}" dt="2023-07-02T06:37:08.254" v="4554" actId="1037"/>
          <ac:grpSpMkLst>
            <pc:docMk/>
            <pc:sldMk cId="1464758072" sldId="2145707100"/>
            <ac:grpSpMk id="555" creationId="{3F0B9803-1C72-4AFC-8914-F4AB8EB868EC}"/>
          </ac:grpSpMkLst>
        </pc:grpChg>
        <pc:grpChg chg="mod">
          <ac:chgData name="Sheng, Yanan" userId="a8f760e9-50c6-421d-9788-7991509e9b00" providerId="ADAL" clId="{CE83D114-1C90-4F39-8D42-4D8D4E384834}" dt="2023-07-02T06:37:08.254" v="4554" actId="1037"/>
          <ac:grpSpMkLst>
            <pc:docMk/>
            <pc:sldMk cId="1464758072" sldId="2145707100"/>
            <ac:grpSpMk id="579" creationId="{7AB13699-7DE4-4312-B303-A7083B018871}"/>
          </ac:grpSpMkLst>
        </pc:grpChg>
        <pc:grpChg chg="mod">
          <ac:chgData name="Sheng, Yanan" userId="a8f760e9-50c6-421d-9788-7991509e9b00" providerId="ADAL" clId="{CE83D114-1C90-4F39-8D42-4D8D4E384834}" dt="2023-07-02T06:37:08.254" v="4554" actId="1037"/>
          <ac:grpSpMkLst>
            <pc:docMk/>
            <pc:sldMk cId="1464758072" sldId="2145707100"/>
            <ac:grpSpMk id="591" creationId="{847410F1-4852-4F84-818F-C1C0E12DF4D3}"/>
          </ac:grpSpMkLst>
        </pc:grpChg>
        <pc:grpChg chg="mod">
          <ac:chgData name="Sheng, Yanan" userId="a8f760e9-50c6-421d-9788-7991509e9b00" providerId="ADAL" clId="{CE83D114-1C90-4F39-8D42-4D8D4E384834}" dt="2023-07-02T06:37:08.254" v="4554" actId="1037"/>
          <ac:grpSpMkLst>
            <pc:docMk/>
            <pc:sldMk cId="1464758072" sldId="2145707100"/>
            <ac:grpSpMk id="604" creationId="{997385C1-6DE3-4C3F-9FDA-998BB27CB975}"/>
          </ac:grpSpMkLst>
        </pc:grpChg>
        <pc:grpChg chg="mod">
          <ac:chgData name="Sheng, Yanan" userId="a8f760e9-50c6-421d-9788-7991509e9b00" providerId="ADAL" clId="{CE83D114-1C90-4F39-8D42-4D8D4E384834}" dt="2023-07-02T06:37:08.254" v="4554" actId="1037"/>
          <ac:grpSpMkLst>
            <pc:docMk/>
            <pc:sldMk cId="1464758072" sldId="2145707100"/>
            <ac:grpSpMk id="646" creationId="{4BFF6236-5A59-476B-9B74-D0F71609041E}"/>
          </ac:grpSpMkLst>
        </pc:grpChg>
        <pc:grpChg chg="mod">
          <ac:chgData name="Sheng, Yanan" userId="a8f760e9-50c6-421d-9788-7991509e9b00" providerId="ADAL" clId="{CE83D114-1C90-4F39-8D42-4D8D4E384834}" dt="2023-07-02T06:37:08.254" v="4554" actId="1037"/>
          <ac:grpSpMkLst>
            <pc:docMk/>
            <pc:sldMk cId="1464758072" sldId="2145707100"/>
            <ac:grpSpMk id="663" creationId="{F13665F7-0658-44CB-98A4-A3E804234563}"/>
          </ac:grpSpMkLst>
        </pc:grpChg>
        <pc:grpChg chg="mod">
          <ac:chgData name="Sheng, Yanan" userId="a8f760e9-50c6-421d-9788-7991509e9b00" providerId="ADAL" clId="{CE83D114-1C90-4F39-8D42-4D8D4E384834}" dt="2023-07-02T06:37:08.254" v="4554" actId="1037"/>
          <ac:grpSpMkLst>
            <pc:docMk/>
            <pc:sldMk cId="1464758072" sldId="2145707100"/>
            <ac:grpSpMk id="735" creationId="{A676FE1F-D7F8-47E5-9F73-896713D67602}"/>
          </ac:grpSpMkLst>
        </pc:grpChg>
        <pc:grpChg chg="mod">
          <ac:chgData name="Sheng, Yanan" userId="a8f760e9-50c6-421d-9788-7991509e9b00" providerId="ADAL" clId="{CE83D114-1C90-4F39-8D42-4D8D4E384834}" dt="2023-07-02T06:37:08.254" v="4554" actId="1037"/>
          <ac:grpSpMkLst>
            <pc:docMk/>
            <pc:sldMk cId="1464758072" sldId="2145707100"/>
            <ac:grpSpMk id="742" creationId="{3F5A2016-67A0-4EC4-B0E3-355548146AD2}"/>
          </ac:grpSpMkLst>
        </pc:grpChg>
        <pc:grpChg chg="mod">
          <ac:chgData name="Sheng, Yanan" userId="a8f760e9-50c6-421d-9788-7991509e9b00" providerId="ADAL" clId="{CE83D114-1C90-4F39-8D42-4D8D4E384834}" dt="2023-07-02T06:42:25.851" v="4582" actId="14100"/>
          <ac:grpSpMkLst>
            <pc:docMk/>
            <pc:sldMk cId="1464758072" sldId="2145707100"/>
            <ac:grpSpMk id="852" creationId="{3C3B4F31-6516-4324-BC23-72C0B3AB7297}"/>
          </ac:grpSpMkLst>
        </pc:grpChg>
        <pc:graphicFrameChg chg="mod">
          <ac:chgData name="Sheng, Yanan" userId="a8f760e9-50c6-421d-9788-7991509e9b00" providerId="ADAL" clId="{CE83D114-1C90-4F39-8D42-4D8D4E384834}" dt="2023-07-02T06:45:33.404" v="4627"/>
          <ac:graphicFrameMkLst>
            <pc:docMk/>
            <pc:sldMk cId="1464758072" sldId="2145707100"/>
            <ac:graphicFrameMk id="226" creationId="{D1346BF5-F06A-4F9F-BCC4-1C6A87403BDF}"/>
          </ac:graphicFrameMkLst>
        </pc:graphicFrameChg>
      </pc:sldChg>
      <pc:sldChg chg="addSp modSp mod">
        <pc:chgData name="Sheng, Yanan" userId="a8f760e9-50c6-421d-9788-7991509e9b00" providerId="ADAL" clId="{CE83D114-1C90-4F39-8D42-4D8D4E384834}" dt="2023-07-02T09:26:37.648" v="5861" actId="108"/>
        <pc:sldMkLst>
          <pc:docMk/>
          <pc:sldMk cId="3324333100" sldId="2145707101"/>
        </pc:sldMkLst>
        <pc:spChg chg="add mod">
          <ac:chgData name="Sheng, Yanan" userId="a8f760e9-50c6-421d-9788-7991509e9b00" providerId="ADAL" clId="{CE83D114-1C90-4F39-8D42-4D8D4E384834}" dt="2023-07-02T09:26:37.648" v="5861" actId="108"/>
          <ac:spMkLst>
            <pc:docMk/>
            <pc:sldMk cId="3324333100" sldId="2145707101"/>
            <ac:spMk id="2" creationId="{E4BE691E-F190-F571-47B2-D9018C3E2854}"/>
          </ac:spMkLst>
        </pc:spChg>
        <pc:spChg chg="mod">
          <ac:chgData name="Sheng, Yanan" userId="a8f760e9-50c6-421d-9788-7991509e9b00" providerId="ADAL" clId="{CE83D114-1C90-4F39-8D42-4D8D4E384834}" dt="2023-07-02T06:53:28.598" v="4840" actId="1037"/>
          <ac:spMkLst>
            <pc:docMk/>
            <pc:sldMk cId="3324333100" sldId="2145707101"/>
            <ac:spMk id="15" creationId="{B3732146-12B2-4F63-8D34-E17C53F16CFA}"/>
          </ac:spMkLst>
        </pc:spChg>
        <pc:spChg chg="mod">
          <ac:chgData name="Sheng, Yanan" userId="a8f760e9-50c6-421d-9788-7991509e9b00" providerId="ADAL" clId="{CE83D114-1C90-4F39-8D42-4D8D4E384834}" dt="2023-07-02T08:22:55.942" v="5207" actId="207"/>
          <ac:spMkLst>
            <pc:docMk/>
            <pc:sldMk cId="3324333100" sldId="2145707101"/>
            <ac:spMk id="22" creationId="{5F530736-32AD-42C7-B3FC-79FE10B74A3A}"/>
          </ac:spMkLst>
        </pc:spChg>
        <pc:spChg chg="mod">
          <ac:chgData name="Sheng, Yanan" userId="a8f760e9-50c6-421d-9788-7991509e9b00" providerId="ADAL" clId="{CE83D114-1C90-4F39-8D42-4D8D4E384834}" dt="2023-07-02T06:53:28.598" v="4840" actId="1037"/>
          <ac:spMkLst>
            <pc:docMk/>
            <pc:sldMk cId="3324333100" sldId="2145707101"/>
            <ac:spMk id="31" creationId="{BD9A7E62-5C68-4CBF-B760-78387410BECB}"/>
          </ac:spMkLst>
        </pc:spChg>
        <pc:spChg chg="mod">
          <ac:chgData name="Sheng, Yanan" userId="a8f760e9-50c6-421d-9788-7991509e9b00" providerId="ADAL" clId="{CE83D114-1C90-4F39-8D42-4D8D4E384834}" dt="2023-07-02T06:53:28.598" v="4840" actId="1037"/>
          <ac:spMkLst>
            <pc:docMk/>
            <pc:sldMk cId="3324333100" sldId="2145707101"/>
            <ac:spMk id="32" creationId="{F3C01454-4DE1-4BBE-A2F1-966E6AE859B5}"/>
          </ac:spMkLst>
        </pc:spChg>
        <pc:spChg chg="mod">
          <ac:chgData name="Sheng, Yanan" userId="a8f760e9-50c6-421d-9788-7991509e9b00" providerId="ADAL" clId="{CE83D114-1C90-4F39-8D42-4D8D4E384834}" dt="2023-07-02T06:53:28.598" v="4840" actId="1037"/>
          <ac:spMkLst>
            <pc:docMk/>
            <pc:sldMk cId="3324333100" sldId="2145707101"/>
            <ac:spMk id="34" creationId="{6A5C9154-8FB2-4E01-83F0-E3D105E719CB}"/>
          </ac:spMkLst>
        </pc:spChg>
        <pc:spChg chg="mod">
          <ac:chgData name="Sheng, Yanan" userId="a8f760e9-50c6-421d-9788-7991509e9b00" providerId="ADAL" clId="{CE83D114-1C90-4F39-8D42-4D8D4E384834}" dt="2023-07-02T06:53:28.598" v="4840" actId="1037"/>
          <ac:spMkLst>
            <pc:docMk/>
            <pc:sldMk cId="3324333100" sldId="2145707101"/>
            <ac:spMk id="35" creationId="{BB0A5B3B-BFCD-4959-A47B-1DF98833CD9A}"/>
          </ac:spMkLst>
        </pc:spChg>
        <pc:spChg chg="mod">
          <ac:chgData name="Sheng, Yanan" userId="a8f760e9-50c6-421d-9788-7991509e9b00" providerId="ADAL" clId="{CE83D114-1C90-4F39-8D42-4D8D4E384834}" dt="2023-07-02T06:53:28.598" v="4840" actId="1037"/>
          <ac:spMkLst>
            <pc:docMk/>
            <pc:sldMk cId="3324333100" sldId="2145707101"/>
            <ac:spMk id="36" creationId="{C6ACD4FB-1273-478F-896E-5B430FB85151}"/>
          </ac:spMkLst>
        </pc:spChg>
        <pc:spChg chg="mod">
          <ac:chgData name="Sheng, Yanan" userId="a8f760e9-50c6-421d-9788-7991509e9b00" providerId="ADAL" clId="{CE83D114-1C90-4F39-8D42-4D8D4E384834}" dt="2023-07-02T06:53:28.598" v="4840" actId="1037"/>
          <ac:spMkLst>
            <pc:docMk/>
            <pc:sldMk cId="3324333100" sldId="2145707101"/>
            <ac:spMk id="38" creationId="{BDF8D890-A99F-4F9D-B40C-DC90F3AEDF45}"/>
          </ac:spMkLst>
        </pc:spChg>
        <pc:spChg chg="mod">
          <ac:chgData name="Sheng, Yanan" userId="a8f760e9-50c6-421d-9788-7991509e9b00" providerId="ADAL" clId="{CE83D114-1C90-4F39-8D42-4D8D4E384834}" dt="2023-07-02T06:53:20.389" v="4835" actId="404"/>
          <ac:spMkLst>
            <pc:docMk/>
            <pc:sldMk cId="3324333100" sldId="2145707101"/>
            <ac:spMk id="39" creationId="{BF1A0219-97E9-445A-9137-5C216F3BA3AC}"/>
          </ac:spMkLst>
        </pc:spChg>
        <pc:spChg chg="mod">
          <ac:chgData name="Sheng, Yanan" userId="a8f760e9-50c6-421d-9788-7991509e9b00" providerId="ADAL" clId="{CE83D114-1C90-4F39-8D42-4D8D4E384834}" dt="2023-07-02T06:53:28.598" v="4840" actId="1037"/>
          <ac:spMkLst>
            <pc:docMk/>
            <pc:sldMk cId="3324333100" sldId="2145707101"/>
            <ac:spMk id="60" creationId="{6EFC41F3-34AA-4983-B794-8B001BB573FF}"/>
          </ac:spMkLst>
        </pc:spChg>
        <pc:spChg chg="mod">
          <ac:chgData name="Sheng, Yanan" userId="a8f760e9-50c6-421d-9788-7991509e9b00" providerId="ADAL" clId="{CE83D114-1C90-4F39-8D42-4D8D4E384834}" dt="2023-07-02T06:53:28.598" v="4840" actId="1037"/>
          <ac:spMkLst>
            <pc:docMk/>
            <pc:sldMk cId="3324333100" sldId="2145707101"/>
            <ac:spMk id="61" creationId="{C7E682CA-0FDC-4BFD-8957-9AAAB70E121A}"/>
          </ac:spMkLst>
        </pc:spChg>
        <pc:spChg chg="mod">
          <ac:chgData name="Sheng, Yanan" userId="a8f760e9-50c6-421d-9788-7991509e9b00" providerId="ADAL" clId="{CE83D114-1C90-4F39-8D42-4D8D4E384834}" dt="2023-07-02T06:53:28.598" v="4840" actId="1037"/>
          <ac:spMkLst>
            <pc:docMk/>
            <pc:sldMk cId="3324333100" sldId="2145707101"/>
            <ac:spMk id="62" creationId="{C48C0B5D-9156-460E-A4A2-B439526168F0}"/>
          </ac:spMkLst>
        </pc:spChg>
        <pc:spChg chg="mod">
          <ac:chgData name="Sheng, Yanan" userId="a8f760e9-50c6-421d-9788-7991509e9b00" providerId="ADAL" clId="{CE83D114-1C90-4F39-8D42-4D8D4E384834}" dt="2023-07-02T06:53:28.598" v="4840" actId="1037"/>
          <ac:spMkLst>
            <pc:docMk/>
            <pc:sldMk cId="3324333100" sldId="2145707101"/>
            <ac:spMk id="63" creationId="{979803C8-C694-4B9C-96BC-0278658A00A6}"/>
          </ac:spMkLst>
        </pc:spChg>
        <pc:spChg chg="mod">
          <ac:chgData name="Sheng, Yanan" userId="a8f760e9-50c6-421d-9788-7991509e9b00" providerId="ADAL" clId="{CE83D114-1C90-4F39-8D42-4D8D4E384834}" dt="2023-07-02T06:53:28.598" v="4840" actId="1037"/>
          <ac:spMkLst>
            <pc:docMk/>
            <pc:sldMk cId="3324333100" sldId="2145707101"/>
            <ac:spMk id="64" creationId="{ECBEBC8B-8E4A-462F-8DDE-73A686F4B534}"/>
          </ac:spMkLst>
        </pc:spChg>
        <pc:spChg chg="mod">
          <ac:chgData name="Sheng, Yanan" userId="a8f760e9-50c6-421d-9788-7991509e9b00" providerId="ADAL" clId="{CE83D114-1C90-4F39-8D42-4D8D4E384834}" dt="2023-07-02T06:53:28.598" v="4840" actId="1037"/>
          <ac:spMkLst>
            <pc:docMk/>
            <pc:sldMk cId="3324333100" sldId="2145707101"/>
            <ac:spMk id="65" creationId="{140843E9-4935-4F47-A589-336103EE8536}"/>
          </ac:spMkLst>
        </pc:spChg>
        <pc:spChg chg="mod">
          <ac:chgData name="Sheng, Yanan" userId="a8f760e9-50c6-421d-9788-7991509e9b00" providerId="ADAL" clId="{CE83D114-1C90-4F39-8D42-4D8D4E384834}" dt="2023-07-02T06:53:28.598" v="4840" actId="1037"/>
          <ac:spMkLst>
            <pc:docMk/>
            <pc:sldMk cId="3324333100" sldId="2145707101"/>
            <ac:spMk id="98" creationId="{A3995DF4-6F88-457B-B36D-577F95F7EB6D}"/>
          </ac:spMkLst>
        </pc:spChg>
        <pc:spChg chg="mod">
          <ac:chgData name="Sheng, Yanan" userId="a8f760e9-50c6-421d-9788-7991509e9b00" providerId="ADAL" clId="{CE83D114-1C90-4F39-8D42-4D8D4E384834}" dt="2023-07-02T06:53:28.598" v="4840" actId="1037"/>
          <ac:spMkLst>
            <pc:docMk/>
            <pc:sldMk cId="3324333100" sldId="2145707101"/>
            <ac:spMk id="99" creationId="{B4D2B245-11B0-4F5B-B476-AC9C52814F58}"/>
          </ac:spMkLst>
        </pc:spChg>
        <pc:spChg chg="mod">
          <ac:chgData name="Sheng, Yanan" userId="a8f760e9-50c6-421d-9788-7991509e9b00" providerId="ADAL" clId="{CE83D114-1C90-4F39-8D42-4D8D4E384834}" dt="2023-07-02T06:53:28.598" v="4840" actId="1037"/>
          <ac:spMkLst>
            <pc:docMk/>
            <pc:sldMk cId="3324333100" sldId="2145707101"/>
            <ac:spMk id="100" creationId="{45FE98CA-4380-4C2C-9C9F-9987D6C93E2C}"/>
          </ac:spMkLst>
        </pc:spChg>
        <pc:spChg chg="mod">
          <ac:chgData name="Sheng, Yanan" userId="a8f760e9-50c6-421d-9788-7991509e9b00" providerId="ADAL" clId="{CE83D114-1C90-4F39-8D42-4D8D4E384834}" dt="2023-07-02T06:53:28.598" v="4840" actId="1037"/>
          <ac:spMkLst>
            <pc:docMk/>
            <pc:sldMk cId="3324333100" sldId="2145707101"/>
            <ac:spMk id="101" creationId="{6F9594B7-996B-4CB7-8887-105691908F4C}"/>
          </ac:spMkLst>
        </pc:spChg>
        <pc:spChg chg="mod">
          <ac:chgData name="Sheng, Yanan" userId="a8f760e9-50c6-421d-9788-7991509e9b00" providerId="ADAL" clId="{CE83D114-1C90-4F39-8D42-4D8D4E384834}" dt="2023-07-02T06:53:28.598" v="4840" actId="1037"/>
          <ac:spMkLst>
            <pc:docMk/>
            <pc:sldMk cId="3324333100" sldId="2145707101"/>
            <ac:spMk id="102" creationId="{EA237412-32F6-4275-9465-1183D5124C67}"/>
          </ac:spMkLst>
        </pc:spChg>
        <pc:grpChg chg="mod">
          <ac:chgData name="Sheng, Yanan" userId="a8f760e9-50c6-421d-9788-7991509e9b00" providerId="ADAL" clId="{CE83D114-1C90-4F39-8D42-4D8D4E384834}" dt="2023-07-02T06:53:28.598" v="4840" actId="1037"/>
          <ac:grpSpMkLst>
            <pc:docMk/>
            <pc:sldMk cId="3324333100" sldId="2145707101"/>
            <ac:grpSpMk id="68" creationId="{A21795DF-079D-460F-AE81-C62574BF3DF9}"/>
          </ac:grpSpMkLst>
        </pc:grpChg>
        <pc:grpChg chg="mod">
          <ac:chgData name="Sheng, Yanan" userId="a8f760e9-50c6-421d-9788-7991509e9b00" providerId="ADAL" clId="{CE83D114-1C90-4F39-8D42-4D8D4E384834}" dt="2023-07-02T06:53:28.598" v="4840" actId="1037"/>
          <ac:grpSpMkLst>
            <pc:docMk/>
            <pc:sldMk cId="3324333100" sldId="2145707101"/>
            <ac:grpSpMk id="71" creationId="{4A3F069D-B5F0-4A7B-BC02-BC92E8598446}"/>
          </ac:grpSpMkLst>
        </pc:grpChg>
        <pc:grpChg chg="mod">
          <ac:chgData name="Sheng, Yanan" userId="a8f760e9-50c6-421d-9788-7991509e9b00" providerId="ADAL" clId="{CE83D114-1C90-4F39-8D42-4D8D4E384834}" dt="2023-07-02T06:53:28.598" v="4840" actId="1037"/>
          <ac:grpSpMkLst>
            <pc:docMk/>
            <pc:sldMk cId="3324333100" sldId="2145707101"/>
            <ac:grpSpMk id="74" creationId="{769DA012-94AB-4446-B7AE-42A41D85DA34}"/>
          </ac:grpSpMkLst>
        </pc:grpChg>
      </pc:sldChg>
      <pc:sldChg chg="addSp delSp modSp del mod ord">
        <pc:chgData name="Sheng, Yanan" userId="a8f760e9-50c6-421d-9788-7991509e9b00" providerId="ADAL" clId="{CE83D114-1C90-4F39-8D42-4D8D4E384834}" dt="2023-07-02T10:09:45.629" v="6316" actId="47"/>
        <pc:sldMkLst>
          <pc:docMk/>
          <pc:sldMk cId="74238437" sldId="2145707104"/>
        </pc:sldMkLst>
        <pc:spChg chg="add del mod">
          <ac:chgData name="Sheng, Yanan" userId="a8f760e9-50c6-421d-9788-7991509e9b00" providerId="ADAL" clId="{CE83D114-1C90-4F39-8D42-4D8D4E384834}" dt="2023-07-02T09:27:05.031" v="5865" actId="21"/>
          <ac:spMkLst>
            <pc:docMk/>
            <pc:sldMk cId="74238437" sldId="2145707104"/>
            <ac:spMk id="2" creationId="{A6FA0672-8D6A-C955-399B-B73A05C6F864}"/>
          </ac:spMkLst>
        </pc:spChg>
        <pc:spChg chg="add del mod">
          <ac:chgData name="Sheng, Yanan" userId="a8f760e9-50c6-421d-9788-7991509e9b00" providerId="ADAL" clId="{CE83D114-1C90-4F39-8D42-4D8D4E384834}" dt="2023-07-02T09:18:34.989" v="5709" actId="478"/>
          <ac:spMkLst>
            <pc:docMk/>
            <pc:sldMk cId="74238437" sldId="2145707104"/>
            <ac:spMk id="7" creationId="{F3B67500-6755-96F6-ED04-AC77779319E8}"/>
          </ac:spMkLst>
        </pc:spChg>
        <pc:spChg chg="mod">
          <ac:chgData name="Sheng, Yanan" userId="a8f760e9-50c6-421d-9788-7991509e9b00" providerId="ADAL" clId="{CE83D114-1C90-4F39-8D42-4D8D4E384834}" dt="2023-07-02T09:30:20.377" v="5923" actId="1076"/>
          <ac:spMkLst>
            <pc:docMk/>
            <pc:sldMk cId="74238437" sldId="2145707104"/>
            <ac:spMk id="8" creationId="{AC312BBF-E4F5-4A59-8481-1938A7AE75CB}"/>
          </ac:spMkLst>
        </pc:spChg>
        <pc:spChg chg="mod">
          <ac:chgData name="Sheng, Yanan" userId="a8f760e9-50c6-421d-9788-7991509e9b00" providerId="ADAL" clId="{CE83D114-1C90-4F39-8D42-4D8D4E384834}" dt="2023-07-02T09:30:20.377" v="5923" actId="1076"/>
          <ac:spMkLst>
            <pc:docMk/>
            <pc:sldMk cId="74238437" sldId="2145707104"/>
            <ac:spMk id="9" creationId="{BD5171C2-365F-4587-8CAF-8E308A9916C6}"/>
          </ac:spMkLst>
        </pc:spChg>
        <pc:spChg chg="add mod">
          <ac:chgData name="Sheng, Yanan" userId="a8f760e9-50c6-421d-9788-7991509e9b00" providerId="ADAL" clId="{CE83D114-1C90-4F39-8D42-4D8D4E384834}" dt="2023-07-02T09:30:20.377" v="5923" actId="1076"/>
          <ac:spMkLst>
            <pc:docMk/>
            <pc:sldMk cId="74238437" sldId="2145707104"/>
            <ac:spMk id="10" creationId="{C8294C5D-B753-D77D-2FB6-C077E7C1963A}"/>
          </ac:spMkLst>
        </pc:spChg>
        <pc:spChg chg="mod">
          <ac:chgData name="Sheng, Yanan" userId="a8f760e9-50c6-421d-9788-7991509e9b00" providerId="ADAL" clId="{CE83D114-1C90-4F39-8D42-4D8D4E384834}" dt="2023-07-02T09:30:20.377" v="5923" actId="1076"/>
          <ac:spMkLst>
            <pc:docMk/>
            <pc:sldMk cId="74238437" sldId="2145707104"/>
            <ac:spMk id="11" creationId="{020497BF-AF03-4F5C-A222-A4ACF10DF313}"/>
          </ac:spMkLst>
        </pc:spChg>
        <pc:spChg chg="mod">
          <ac:chgData name="Sheng, Yanan" userId="a8f760e9-50c6-421d-9788-7991509e9b00" providerId="ADAL" clId="{CE83D114-1C90-4F39-8D42-4D8D4E384834}" dt="2023-07-02T09:30:20.377" v="5923" actId="1076"/>
          <ac:spMkLst>
            <pc:docMk/>
            <pc:sldMk cId="74238437" sldId="2145707104"/>
            <ac:spMk id="12" creationId="{538CA15A-B04D-436B-8D95-EEA43F8C1699}"/>
          </ac:spMkLst>
        </pc:spChg>
        <pc:spChg chg="add mod">
          <ac:chgData name="Sheng, Yanan" userId="a8f760e9-50c6-421d-9788-7991509e9b00" providerId="ADAL" clId="{CE83D114-1C90-4F39-8D42-4D8D4E384834}" dt="2023-07-02T09:30:20.377" v="5923" actId="1076"/>
          <ac:spMkLst>
            <pc:docMk/>
            <pc:sldMk cId="74238437" sldId="2145707104"/>
            <ac:spMk id="13" creationId="{5932AE99-C603-56A1-202D-BD966B0B211D}"/>
          </ac:spMkLst>
        </pc:spChg>
        <pc:spChg chg="mod">
          <ac:chgData name="Sheng, Yanan" userId="a8f760e9-50c6-421d-9788-7991509e9b00" providerId="ADAL" clId="{CE83D114-1C90-4F39-8D42-4D8D4E384834}" dt="2023-07-02T09:30:20.377" v="5923" actId="1076"/>
          <ac:spMkLst>
            <pc:docMk/>
            <pc:sldMk cId="74238437" sldId="2145707104"/>
            <ac:spMk id="14" creationId="{B7727B94-FD6B-428B-B672-73DCB60E6F24}"/>
          </ac:spMkLst>
        </pc:spChg>
        <pc:spChg chg="mod">
          <ac:chgData name="Sheng, Yanan" userId="a8f760e9-50c6-421d-9788-7991509e9b00" providerId="ADAL" clId="{CE83D114-1C90-4F39-8D42-4D8D4E384834}" dt="2023-07-02T09:30:20.377" v="5923" actId="1076"/>
          <ac:spMkLst>
            <pc:docMk/>
            <pc:sldMk cId="74238437" sldId="2145707104"/>
            <ac:spMk id="15" creationId="{F8DFDA32-B42D-4197-B7CF-D97FC00A4A57}"/>
          </ac:spMkLst>
        </pc:spChg>
        <pc:spChg chg="mod">
          <ac:chgData name="Sheng, Yanan" userId="a8f760e9-50c6-421d-9788-7991509e9b00" providerId="ADAL" clId="{CE83D114-1C90-4F39-8D42-4D8D4E384834}" dt="2023-07-02T09:30:20.377" v="5923" actId="1076"/>
          <ac:spMkLst>
            <pc:docMk/>
            <pc:sldMk cId="74238437" sldId="2145707104"/>
            <ac:spMk id="16" creationId="{9A65D9E8-A805-4A7A-BA37-8A5C58F6DC69}"/>
          </ac:spMkLst>
        </pc:spChg>
        <pc:spChg chg="del">
          <ac:chgData name="Sheng, Yanan" userId="a8f760e9-50c6-421d-9788-7991509e9b00" providerId="ADAL" clId="{CE83D114-1C90-4F39-8D42-4D8D4E384834}" dt="2023-07-02T08:47:24.981" v="5444" actId="478"/>
          <ac:spMkLst>
            <pc:docMk/>
            <pc:sldMk cId="74238437" sldId="2145707104"/>
            <ac:spMk id="17" creationId="{4DC02019-DC1C-4662-8C62-704A81860BCB}"/>
          </ac:spMkLst>
        </pc:spChg>
        <pc:spChg chg="del">
          <ac:chgData name="Sheng, Yanan" userId="a8f760e9-50c6-421d-9788-7991509e9b00" providerId="ADAL" clId="{CE83D114-1C90-4F39-8D42-4D8D4E384834}" dt="2023-07-02T08:47:24.981" v="5444" actId="478"/>
          <ac:spMkLst>
            <pc:docMk/>
            <pc:sldMk cId="74238437" sldId="2145707104"/>
            <ac:spMk id="19" creationId="{460A951B-3E9F-4AFF-8244-121F0F55ABFF}"/>
          </ac:spMkLst>
        </pc:spChg>
        <pc:spChg chg="add mod">
          <ac:chgData name="Sheng, Yanan" userId="a8f760e9-50c6-421d-9788-7991509e9b00" providerId="ADAL" clId="{CE83D114-1C90-4F39-8D42-4D8D4E384834}" dt="2023-07-02T09:30:20.377" v="5923" actId="1076"/>
          <ac:spMkLst>
            <pc:docMk/>
            <pc:sldMk cId="74238437" sldId="2145707104"/>
            <ac:spMk id="20" creationId="{9354C05D-7D06-6F5D-EAEF-3F85A97C8445}"/>
          </ac:spMkLst>
        </pc:spChg>
        <pc:spChg chg="del">
          <ac:chgData name="Sheng, Yanan" userId="a8f760e9-50c6-421d-9788-7991509e9b00" providerId="ADAL" clId="{CE83D114-1C90-4F39-8D42-4D8D4E384834}" dt="2023-07-02T08:47:24.981" v="5444" actId="478"/>
          <ac:spMkLst>
            <pc:docMk/>
            <pc:sldMk cId="74238437" sldId="2145707104"/>
            <ac:spMk id="21" creationId="{D9D4F094-D580-4DBE-A525-799965C007F7}"/>
          </ac:spMkLst>
        </pc:spChg>
        <pc:spChg chg="mod">
          <ac:chgData name="Sheng, Yanan" userId="a8f760e9-50c6-421d-9788-7991509e9b00" providerId="ADAL" clId="{CE83D114-1C90-4F39-8D42-4D8D4E384834}" dt="2023-06-14T05:37:36.444" v="1817" actId="20577"/>
          <ac:spMkLst>
            <pc:docMk/>
            <pc:sldMk cId="74238437" sldId="2145707104"/>
            <ac:spMk id="22" creationId="{5F530736-32AD-42C7-B3FC-79FE10B74A3A}"/>
          </ac:spMkLst>
        </pc:spChg>
        <pc:spChg chg="del">
          <ac:chgData name="Sheng, Yanan" userId="a8f760e9-50c6-421d-9788-7991509e9b00" providerId="ADAL" clId="{CE83D114-1C90-4F39-8D42-4D8D4E384834}" dt="2023-07-02T08:47:24.981" v="5444" actId="478"/>
          <ac:spMkLst>
            <pc:docMk/>
            <pc:sldMk cId="74238437" sldId="2145707104"/>
            <ac:spMk id="23" creationId="{A8401D0C-4625-4714-B882-B3CDA25533A0}"/>
          </ac:spMkLst>
        </pc:spChg>
        <pc:spChg chg="add mod ord">
          <ac:chgData name="Sheng, Yanan" userId="a8f760e9-50c6-421d-9788-7991509e9b00" providerId="ADAL" clId="{CE83D114-1C90-4F39-8D42-4D8D4E384834}" dt="2023-07-02T09:30:20.377" v="5923" actId="1076"/>
          <ac:spMkLst>
            <pc:docMk/>
            <pc:sldMk cId="74238437" sldId="2145707104"/>
            <ac:spMk id="28" creationId="{52A9B7F7-0CF8-0D74-D58F-50170E3132B1}"/>
          </ac:spMkLst>
        </pc:spChg>
        <pc:spChg chg="add mod">
          <ac:chgData name="Sheng, Yanan" userId="a8f760e9-50c6-421d-9788-7991509e9b00" providerId="ADAL" clId="{CE83D114-1C90-4F39-8D42-4D8D4E384834}" dt="2023-07-02T09:30:20.377" v="5923" actId="1076"/>
          <ac:spMkLst>
            <pc:docMk/>
            <pc:sldMk cId="74238437" sldId="2145707104"/>
            <ac:spMk id="29" creationId="{C903BADC-9C0E-A90C-A21E-430F631CDD32}"/>
          </ac:spMkLst>
        </pc:spChg>
        <pc:spChg chg="add mod">
          <ac:chgData name="Sheng, Yanan" userId="a8f760e9-50c6-421d-9788-7991509e9b00" providerId="ADAL" clId="{CE83D114-1C90-4F39-8D42-4D8D4E384834}" dt="2023-07-02T09:30:20.377" v="5923" actId="1076"/>
          <ac:spMkLst>
            <pc:docMk/>
            <pc:sldMk cId="74238437" sldId="2145707104"/>
            <ac:spMk id="30" creationId="{43175FFA-C611-855D-ABF2-9D94DB5F6DA3}"/>
          </ac:spMkLst>
        </pc:spChg>
        <pc:spChg chg="add mod">
          <ac:chgData name="Sheng, Yanan" userId="a8f760e9-50c6-421d-9788-7991509e9b00" providerId="ADAL" clId="{CE83D114-1C90-4F39-8D42-4D8D4E384834}" dt="2023-07-02T09:30:20.377" v="5923" actId="1076"/>
          <ac:spMkLst>
            <pc:docMk/>
            <pc:sldMk cId="74238437" sldId="2145707104"/>
            <ac:spMk id="31" creationId="{713E6843-68B5-F7DB-1167-366B94EE0031}"/>
          </ac:spMkLst>
        </pc:spChg>
        <pc:spChg chg="mod">
          <ac:chgData name="Sheng, Yanan" userId="a8f760e9-50c6-421d-9788-7991509e9b00" providerId="ADAL" clId="{CE83D114-1C90-4F39-8D42-4D8D4E384834}" dt="2023-07-02T09:30:20.377" v="5923" actId="1076"/>
          <ac:spMkLst>
            <pc:docMk/>
            <pc:sldMk cId="74238437" sldId="2145707104"/>
            <ac:spMk id="33" creationId="{7CFD7F70-AAC6-4CE4-9CF3-9ADFAB05399B}"/>
          </ac:spMkLst>
        </pc:spChg>
        <pc:spChg chg="mod">
          <ac:chgData name="Sheng, Yanan" userId="a8f760e9-50c6-421d-9788-7991509e9b00" providerId="ADAL" clId="{CE83D114-1C90-4F39-8D42-4D8D4E384834}" dt="2023-07-02T09:30:20.377" v="5923" actId="1076"/>
          <ac:spMkLst>
            <pc:docMk/>
            <pc:sldMk cId="74238437" sldId="2145707104"/>
            <ac:spMk id="34" creationId="{EC785A29-2338-4CA9-B510-1E88446C4213}"/>
          </ac:spMkLst>
        </pc:spChg>
        <pc:spChg chg="mod">
          <ac:chgData name="Sheng, Yanan" userId="a8f760e9-50c6-421d-9788-7991509e9b00" providerId="ADAL" clId="{CE83D114-1C90-4F39-8D42-4D8D4E384834}" dt="2023-07-02T09:30:20.377" v="5923" actId="1076"/>
          <ac:spMkLst>
            <pc:docMk/>
            <pc:sldMk cId="74238437" sldId="2145707104"/>
            <ac:spMk id="36" creationId="{BBC7CAF4-172F-4108-8588-048F6D770808}"/>
          </ac:spMkLst>
        </pc:spChg>
        <pc:spChg chg="add mod">
          <ac:chgData name="Sheng, Yanan" userId="a8f760e9-50c6-421d-9788-7991509e9b00" providerId="ADAL" clId="{CE83D114-1C90-4F39-8D42-4D8D4E384834}" dt="2023-07-02T09:30:20.377" v="5923" actId="1076"/>
          <ac:spMkLst>
            <pc:docMk/>
            <pc:sldMk cId="74238437" sldId="2145707104"/>
            <ac:spMk id="38" creationId="{B4873A52-DE4E-EE22-87EB-359A34308756}"/>
          </ac:spMkLst>
        </pc:spChg>
        <pc:spChg chg="add mod">
          <ac:chgData name="Sheng, Yanan" userId="a8f760e9-50c6-421d-9788-7991509e9b00" providerId="ADAL" clId="{CE83D114-1C90-4F39-8D42-4D8D4E384834}" dt="2023-07-02T09:30:20.377" v="5923" actId="1076"/>
          <ac:spMkLst>
            <pc:docMk/>
            <pc:sldMk cId="74238437" sldId="2145707104"/>
            <ac:spMk id="39" creationId="{1EBB90FC-82B9-218F-3FB3-F2136A608241}"/>
          </ac:spMkLst>
        </pc:spChg>
        <pc:spChg chg="add mod">
          <ac:chgData name="Sheng, Yanan" userId="a8f760e9-50c6-421d-9788-7991509e9b00" providerId="ADAL" clId="{CE83D114-1C90-4F39-8D42-4D8D4E384834}" dt="2023-07-02T09:30:20.377" v="5923" actId="1076"/>
          <ac:spMkLst>
            <pc:docMk/>
            <pc:sldMk cId="74238437" sldId="2145707104"/>
            <ac:spMk id="40" creationId="{51DD817C-2C29-533D-7F12-283F0B0F9A50}"/>
          </ac:spMkLst>
        </pc:spChg>
        <pc:spChg chg="add mod">
          <ac:chgData name="Sheng, Yanan" userId="a8f760e9-50c6-421d-9788-7991509e9b00" providerId="ADAL" clId="{CE83D114-1C90-4F39-8D42-4D8D4E384834}" dt="2023-07-02T09:30:20.377" v="5923" actId="1076"/>
          <ac:spMkLst>
            <pc:docMk/>
            <pc:sldMk cId="74238437" sldId="2145707104"/>
            <ac:spMk id="41" creationId="{C7710934-135C-77DD-1A64-22CA1A1049B4}"/>
          </ac:spMkLst>
        </pc:spChg>
        <pc:spChg chg="add mod">
          <ac:chgData name="Sheng, Yanan" userId="a8f760e9-50c6-421d-9788-7991509e9b00" providerId="ADAL" clId="{CE83D114-1C90-4F39-8D42-4D8D4E384834}" dt="2023-07-02T09:30:20.377" v="5923" actId="1076"/>
          <ac:spMkLst>
            <pc:docMk/>
            <pc:sldMk cId="74238437" sldId="2145707104"/>
            <ac:spMk id="42" creationId="{EFD18328-5136-8F00-94ED-E21B8044F73C}"/>
          </ac:spMkLst>
        </pc:spChg>
        <pc:spChg chg="add mod">
          <ac:chgData name="Sheng, Yanan" userId="a8f760e9-50c6-421d-9788-7991509e9b00" providerId="ADAL" clId="{CE83D114-1C90-4F39-8D42-4D8D4E384834}" dt="2023-07-02T09:30:20.377" v="5923" actId="1076"/>
          <ac:spMkLst>
            <pc:docMk/>
            <pc:sldMk cId="74238437" sldId="2145707104"/>
            <ac:spMk id="43" creationId="{6105A785-5C0B-B86A-6738-E00879CA312B}"/>
          </ac:spMkLst>
        </pc:spChg>
        <pc:spChg chg="add mod">
          <ac:chgData name="Sheng, Yanan" userId="a8f760e9-50c6-421d-9788-7991509e9b00" providerId="ADAL" clId="{CE83D114-1C90-4F39-8D42-4D8D4E384834}" dt="2023-07-02T09:30:20.377" v="5923" actId="1076"/>
          <ac:spMkLst>
            <pc:docMk/>
            <pc:sldMk cId="74238437" sldId="2145707104"/>
            <ac:spMk id="44" creationId="{C8C8E5DF-582C-C8CC-AB35-BBDD78F8AA02}"/>
          </ac:spMkLst>
        </pc:spChg>
        <pc:spChg chg="add mod">
          <ac:chgData name="Sheng, Yanan" userId="a8f760e9-50c6-421d-9788-7991509e9b00" providerId="ADAL" clId="{CE83D114-1C90-4F39-8D42-4D8D4E384834}" dt="2023-07-02T09:30:20.377" v="5923" actId="1076"/>
          <ac:spMkLst>
            <pc:docMk/>
            <pc:sldMk cId="74238437" sldId="2145707104"/>
            <ac:spMk id="45" creationId="{A66750C5-FCD2-DBAB-C2F1-FA41639A3384}"/>
          </ac:spMkLst>
        </pc:spChg>
        <pc:spChg chg="add mod">
          <ac:chgData name="Sheng, Yanan" userId="a8f760e9-50c6-421d-9788-7991509e9b00" providerId="ADAL" clId="{CE83D114-1C90-4F39-8D42-4D8D4E384834}" dt="2023-07-02T09:30:20.377" v="5923" actId="1076"/>
          <ac:spMkLst>
            <pc:docMk/>
            <pc:sldMk cId="74238437" sldId="2145707104"/>
            <ac:spMk id="46" creationId="{4652CA1C-E8CA-2333-088C-009A166F8356}"/>
          </ac:spMkLst>
        </pc:spChg>
        <pc:spChg chg="mod">
          <ac:chgData name="Sheng, Yanan" userId="a8f760e9-50c6-421d-9788-7991509e9b00" providerId="ADAL" clId="{CE83D114-1C90-4F39-8D42-4D8D4E384834}" dt="2023-07-02T09:30:20.377" v="5923" actId="1076"/>
          <ac:spMkLst>
            <pc:docMk/>
            <pc:sldMk cId="74238437" sldId="2145707104"/>
            <ac:spMk id="47" creationId="{308B1EFE-4B44-4615-AC26-BC3DE48E1BCB}"/>
          </ac:spMkLst>
        </pc:spChg>
        <pc:spChg chg="add mod">
          <ac:chgData name="Sheng, Yanan" userId="a8f760e9-50c6-421d-9788-7991509e9b00" providerId="ADAL" clId="{CE83D114-1C90-4F39-8D42-4D8D4E384834}" dt="2023-07-02T09:30:20.377" v="5923" actId="1076"/>
          <ac:spMkLst>
            <pc:docMk/>
            <pc:sldMk cId="74238437" sldId="2145707104"/>
            <ac:spMk id="49" creationId="{B202AAAC-0E28-98D3-A051-DDC487B59868}"/>
          </ac:spMkLst>
        </pc:spChg>
        <pc:spChg chg="mod">
          <ac:chgData name="Sheng, Yanan" userId="a8f760e9-50c6-421d-9788-7991509e9b00" providerId="ADAL" clId="{CE83D114-1C90-4F39-8D42-4D8D4E384834}" dt="2023-07-02T09:30:20.377" v="5923" actId="1076"/>
          <ac:spMkLst>
            <pc:docMk/>
            <pc:sldMk cId="74238437" sldId="2145707104"/>
            <ac:spMk id="50" creationId="{F1DEE2FA-BDD9-47DE-9A57-5D2E3571C5FD}"/>
          </ac:spMkLst>
        </pc:spChg>
        <pc:spChg chg="add mod">
          <ac:chgData name="Sheng, Yanan" userId="a8f760e9-50c6-421d-9788-7991509e9b00" providerId="ADAL" clId="{CE83D114-1C90-4F39-8D42-4D8D4E384834}" dt="2023-07-02T09:30:20.377" v="5923" actId="1076"/>
          <ac:spMkLst>
            <pc:docMk/>
            <pc:sldMk cId="74238437" sldId="2145707104"/>
            <ac:spMk id="51" creationId="{95935714-3900-5B35-8C9E-AA9092108B75}"/>
          </ac:spMkLst>
        </pc:spChg>
        <pc:spChg chg="add mod">
          <ac:chgData name="Sheng, Yanan" userId="a8f760e9-50c6-421d-9788-7991509e9b00" providerId="ADAL" clId="{CE83D114-1C90-4F39-8D42-4D8D4E384834}" dt="2023-07-02T09:30:20.377" v="5923" actId="1076"/>
          <ac:spMkLst>
            <pc:docMk/>
            <pc:sldMk cId="74238437" sldId="2145707104"/>
            <ac:spMk id="52" creationId="{D81D644B-5DDF-E247-3B56-CC28FFD153AF}"/>
          </ac:spMkLst>
        </pc:spChg>
        <pc:spChg chg="add mod">
          <ac:chgData name="Sheng, Yanan" userId="a8f760e9-50c6-421d-9788-7991509e9b00" providerId="ADAL" clId="{CE83D114-1C90-4F39-8D42-4D8D4E384834}" dt="2023-07-02T09:30:20.377" v="5923" actId="1076"/>
          <ac:spMkLst>
            <pc:docMk/>
            <pc:sldMk cId="74238437" sldId="2145707104"/>
            <ac:spMk id="54" creationId="{B94E6EA8-DA47-7965-77D8-BC146891CCA1}"/>
          </ac:spMkLst>
        </pc:spChg>
        <pc:spChg chg="add mod">
          <ac:chgData name="Sheng, Yanan" userId="a8f760e9-50c6-421d-9788-7991509e9b00" providerId="ADAL" clId="{CE83D114-1C90-4F39-8D42-4D8D4E384834}" dt="2023-07-02T09:30:20.377" v="5923" actId="1076"/>
          <ac:spMkLst>
            <pc:docMk/>
            <pc:sldMk cId="74238437" sldId="2145707104"/>
            <ac:spMk id="55" creationId="{A726F396-CAA7-5334-A292-0CC728524B5A}"/>
          </ac:spMkLst>
        </pc:spChg>
        <pc:spChg chg="add mod">
          <ac:chgData name="Sheng, Yanan" userId="a8f760e9-50c6-421d-9788-7991509e9b00" providerId="ADAL" clId="{CE83D114-1C90-4F39-8D42-4D8D4E384834}" dt="2023-07-02T09:30:20.377" v="5923" actId="1076"/>
          <ac:spMkLst>
            <pc:docMk/>
            <pc:sldMk cId="74238437" sldId="2145707104"/>
            <ac:spMk id="56" creationId="{886C4C9D-AF3F-A019-EAF3-13ABA1A1F9F9}"/>
          </ac:spMkLst>
        </pc:spChg>
        <pc:spChg chg="add mod">
          <ac:chgData name="Sheng, Yanan" userId="a8f760e9-50c6-421d-9788-7991509e9b00" providerId="ADAL" clId="{CE83D114-1C90-4F39-8D42-4D8D4E384834}" dt="2023-07-02T09:30:20.377" v="5923" actId="1076"/>
          <ac:spMkLst>
            <pc:docMk/>
            <pc:sldMk cId="74238437" sldId="2145707104"/>
            <ac:spMk id="57" creationId="{56D263AD-A90D-187A-E0F6-5CB25EE7AFBF}"/>
          </ac:spMkLst>
        </pc:spChg>
        <pc:spChg chg="add mod">
          <ac:chgData name="Sheng, Yanan" userId="a8f760e9-50c6-421d-9788-7991509e9b00" providerId="ADAL" clId="{CE83D114-1C90-4F39-8D42-4D8D4E384834}" dt="2023-07-02T09:25:08.713" v="5842" actId="403"/>
          <ac:spMkLst>
            <pc:docMk/>
            <pc:sldMk cId="74238437" sldId="2145707104"/>
            <ac:spMk id="58" creationId="{8DA9CB11-6F07-9369-06BA-7CA995C4B7F0}"/>
          </ac:spMkLst>
        </pc:spChg>
        <pc:spChg chg="add del mod">
          <ac:chgData name="Sheng, Yanan" userId="a8f760e9-50c6-421d-9788-7991509e9b00" providerId="ADAL" clId="{CE83D114-1C90-4F39-8D42-4D8D4E384834}" dt="2023-07-02T09:33:30.870" v="5950" actId="21"/>
          <ac:spMkLst>
            <pc:docMk/>
            <pc:sldMk cId="74238437" sldId="2145707104"/>
            <ac:spMk id="60" creationId="{8A804AF2-1CEB-917B-8D22-289724B174A1}"/>
          </ac:spMkLst>
        </pc:spChg>
        <pc:spChg chg="mod">
          <ac:chgData name="Sheng, Yanan" userId="a8f760e9-50c6-421d-9788-7991509e9b00" providerId="ADAL" clId="{CE83D114-1C90-4F39-8D42-4D8D4E384834}" dt="2023-07-02T09:30:20.377" v="5923" actId="1076"/>
          <ac:spMkLst>
            <pc:docMk/>
            <pc:sldMk cId="74238437" sldId="2145707104"/>
            <ac:spMk id="75" creationId="{B4D7A001-992D-4128-AC31-55E970532681}"/>
          </ac:spMkLst>
        </pc:spChg>
        <pc:spChg chg="mod">
          <ac:chgData name="Sheng, Yanan" userId="a8f760e9-50c6-421d-9788-7991509e9b00" providerId="ADAL" clId="{CE83D114-1C90-4F39-8D42-4D8D4E384834}" dt="2023-07-02T09:30:20.377" v="5923" actId="1076"/>
          <ac:spMkLst>
            <pc:docMk/>
            <pc:sldMk cId="74238437" sldId="2145707104"/>
            <ac:spMk id="78" creationId="{FAA9ADF1-654F-432B-A6AC-DB9286478878}"/>
          </ac:spMkLst>
        </pc:spChg>
        <pc:spChg chg="mod">
          <ac:chgData name="Sheng, Yanan" userId="a8f760e9-50c6-421d-9788-7991509e9b00" providerId="ADAL" clId="{CE83D114-1C90-4F39-8D42-4D8D4E384834}" dt="2023-07-02T09:30:22.769" v="5924" actId="1076"/>
          <ac:spMkLst>
            <pc:docMk/>
            <pc:sldMk cId="74238437" sldId="2145707104"/>
            <ac:spMk id="79" creationId="{8D1385A9-6D11-424C-A117-5B62241B7CED}"/>
          </ac:spMkLst>
        </pc:spChg>
        <pc:spChg chg="mod">
          <ac:chgData name="Sheng, Yanan" userId="a8f760e9-50c6-421d-9788-7991509e9b00" providerId="ADAL" clId="{CE83D114-1C90-4F39-8D42-4D8D4E384834}" dt="2023-07-02T09:30:20.377" v="5923" actId="1076"/>
          <ac:spMkLst>
            <pc:docMk/>
            <pc:sldMk cId="74238437" sldId="2145707104"/>
            <ac:spMk id="83" creationId="{6805819F-F89A-4311-A7A8-D31D8BA4C914}"/>
          </ac:spMkLst>
        </pc:spChg>
        <pc:spChg chg="mod">
          <ac:chgData name="Sheng, Yanan" userId="a8f760e9-50c6-421d-9788-7991509e9b00" providerId="ADAL" clId="{CE83D114-1C90-4F39-8D42-4D8D4E384834}" dt="2023-07-02T09:30:20.377" v="5923" actId="1076"/>
          <ac:spMkLst>
            <pc:docMk/>
            <pc:sldMk cId="74238437" sldId="2145707104"/>
            <ac:spMk id="85" creationId="{622FFEB6-100B-4F91-A04D-C9AE6540FAB9}"/>
          </ac:spMkLst>
        </pc:spChg>
        <pc:spChg chg="del mod">
          <ac:chgData name="Sheng, Yanan" userId="a8f760e9-50c6-421d-9788-7991509e9b00" providerId="ADAL" clId="{CE83D114-1C90-4F39-8D42-4D8D4E384834}" dt="2023-07-02T09:14:27.095" v="5702" actId="478"/>
          <ac:spMkLst>
            <pc:docMk/>
            <pc:sldMk cId="74238437" sldId="2145707104"/>
            <ac:spMk id="96" creationId="{58C91EDC-EAE9-4A3F-9AA4-6FB81EC1EF41}"/>
          </ac:spMkLst>
        </pc:spChg>
        <pc:spChg chg="del">
          <ac:chgData name="Sheng, Yanan" userId="a8f760e9-50c6-421d-9788-7991509e9b00" providerId="ADAL" clId="{CE83D114-1C90-4F39-8D42-4D8D4E384834}" dt="2023-07-02T08:47:24.981" v="5444" actId="478"/>
          <ac:spMkLst>
            <pc:docMk/>
            <pc:sldMk cId="74238437" sldId="2145707104"/>
            <ac:spMk id="112" creationId="{162CE78E-8AA9-4D36-83B3-F48A31CCA542}"/>
          </ac:spMkLst>
        </pc:spChg>
        <pc:spChg chg="del">
          <ac:chgData name="Sheng, Yanan" userId="a8f760e9-50c6-421d-9788-7991509e9b00" providerId="ADAL" clId="{CE83D114-1C90-4F39-8D42-4D8D4E384834}" dt="2023-07-02T08:47:24.981" v="5444" actId="478"/>
          <ac:spMkLst>
            <pc:docMk/>
            <pc:sldMk cId="74238437" sldId="2145707104"/>
            <ac:spMk id="113" creationId="{A13AE678-11F2-4DF3-B89A-1B8B8F57663F}"/>
          </ac:spMkLst>
        </pc:spChg>
        <pc:spChg chg="del">
          <ac:chgData name="Sheng, Yanan" userId="a8f760e9-50c6-421d-9788-7991509e9b00" providerId="ADAL" clId="{CE83D114-1C90-4F39-8D42-4D8D4E384834}" dt="2023-07-02T08:47:24.981" v="5444" actId="478"/>
          <ac:spMkLst>
            <pc:docMk/>
            <pc:sldMk cId="74238437" sldId="2145707104"/>
            <ac:spMk id="115" creationId="{F7EA534E-157B-4A48-9BFF-1AC45999EE02}"/>
          </ac:spMkLst>
        </pc:spChg>
        <pc:spChg chg="del">
          <ac:chgData name="Sheng, Yanan" userId="a8f760e9-50c6-421d-9788-7991509e9b00" providerId="ADAL" clId="{CE83D114-1C90-4F39-8D42-4D8D4E384834}" dt="2023-07-02T08:47:24.981" v="5444" actId="478"/>
          <ac:spMkLst>
            <pc:docMk/>
            <pc:sldMk cId="74238437" sldId="2145707104"/>
            <ac:spMk id="116" creationId="{11AA727A-9558-4BC2-B6AB-3ADCB9F76A8F}"/>
          </ac:spMkLst>
        </pc:spChg>
        <pc:spChg chg="del">
          <ac:chgData name="Sheng, Yanan" userId="a8f760e9-50c6-421d-9788-7991509e9b00" providerId="ADAL" clId="{CE83D114-1C90-4F39-8D42-4D8D4E384834}" dt="2023-07-02T08:47:24.981" v="5444" actId="478"/>
          <ac:spMkLst>
            <pc:docMk/>
            <pc:sldMk cId="74238437" sldId="2145707104"/>
            <ac:spMk id="117" creationId="{DB8D780B-F567-4149-A719-7D6D066C4A11}"/>
          </ac:spMkLst>
        </pc:spChg>
        <pc:spChg chg="del">
          <ac:chgData name="Sheng, Yanan" userId="a8f760e9-50c6-421d-9788-7991509e9b00" providerId="ADAL" clId="{CE83D114-1C90-4F39-8D42-4D8D4E384834}" dt="2023-07-02T08:47:24.981" v="5444" actId="478"/>
          <ac:spMkLst>
            <pc:docMk/>
            <pc:sldMk cId="74238437" sldId="2145707104"/>
            <ac:spMk id="118" creationId="{2FE0ADE1-1C2F-499F-AD1D-3015F97C1914}"/>
          </ac:spMkLst>
        </pc:spChg>
        <pc:spChg chg="del">
          <ac:chgData name="Sheng, Yanan" userId="a8f760e9-50c6-421d-9788-7991509e9b00" providerId="ADAL" clId="{CE83D114-1C90-4F39-8D42-4D8D4E384834}" dt="2023-07-02T08:47:24.981" v="5444" actId="478"/>
          <ac:spMkLst>
            <pc:docMk/>
            <pc:sldMk cId="74238437" sldId="2145707104"/>
            <ac:spMk id="119" creationId="{717AFC29-DF03-4D2F-BA4D-A6E6C8567658}"/>
          </ac:spMkLst>
        </pc:spChg>
        <pc:spChg chg="del">
          <ac:chgData name="Sheng, Yanan" userId="a8f760e9-50c6-421d-9788-7991509e9b00" providerId="ADAL" clId="{CE83D114-1C90-4F39-8D42-4D8D4E384834}" dt="2023-07-02T08:47:24.981" v="5444" actId="478"/>
          <ac:spMkLst>
            <pc:docMk/>
            <pc:sldMk cId="74238437" sldId="2145707104"/>
            <ac:spMk id="122" creationId="{8B74150C-2C05-41BF-A1D4-0869016C89D6}"/>
          </ac:spMkLst>
        </pc:spChg>
        <pc:spChg chg="del">
          <ac:chgData name="Sheng, Yanan" userId="a8f760e9-50c6-421d-9788-7991509e9b00" providerId="ADAL" clId="{CE83D114-1C90-4F39-8D42-4D8D4E384834}" dt="2023-07-02T08:47:24.981" v="5444" actId="478"/>
          <ac:spMkLst>
            <pc:docMk/>
            <pc:sldMk cId="74238437" sldId="2145707104"/>
            <ac:spMk id="123" creationId="{F0D6D831-862A-492A-9B2D-7440077C517F}"/>
          </ac:spMkLst>
        </pc:spChg>
        <pc:spChg chg="del">
          <ac:chgData name="Sheng, Yanan" userId="a8f760e9-50c6-421d-9788-7991509e9b00" providerId="ADAL" clId="{CE83D114-1C90-4F39-8D42-4D8D4E384834}" dt="2023-07-02T08:47:24.981" v="5444" actId="478"/>
          <ac:spMkLst>
            <pc:docMk/>
            <pc:sldMk cId="74238437" sldId="2145707104"/>
            <ac:spMk id="124" creationId="{D0F10662-D3BC-42BA-9689-894416032844}"/>
          </ac:spMkLst>
        </pc:spChg>
        <pc:spChg chg="del">
          <ac:chgData name="Sheng, Yanan" userId="a8f760e9-50c6-421d-9788-7991509e9b00" providerId="ADAL" clId="{CE83D114-1C90-4F39-8D42-4D8D4E384834}" dt="2023-07-02T08:47:24.981" v="5444" actId="478"/>
          <ac:spMkLst>
            <pc:docMk/>
            <pc:sldMk cId="74238437" sldId="2145707104"/>
            <ac:spMk id="125" creationId="{1EE239F2-DDAC-47BA-9A87-477649079C58}"/>
          </ac:spMkLst>
        </pc:spChg>
        <pc:spChg chg="del">
          <ac:chgData name="Sheng, Yanan" userId="a8f760e9-50c6-421d-9788-7991509e9b00" providerId="ADAL" clId="{CE83D114-1C90-4F39-8D42-4D8D4E384834}" dt="2023-07-02T08:47:24.981" v="5444" actId="478"/>
          <ac:spMkLst>
            <pc:docMk/>
            <pc:sldMk cId="74238437" sldId="2145707104"/>
            <ac:spMk id="126" creationId="{7F1A0302-AAD6-4148-83C6-AE75014D3D3B}"/>
          </ac:spMkLst>
        </pc:spChg>
        <pc:spChg chg="del">
          <ac:chgData name="Sheng, Yanan" userId="a8f760e9-50c6-421d-9788-7991509e9b00" providerId="ADAL" clId="{CE83D114-1C90-4F39-8D42-4D8D4E384834}" dt="2023-07-02T08:47:24.981" v="5444" actId="478"/>
          <ac:spMkLst>
            <pc:docMk/>
            <pc:sldMk cId="74238437" sldId="2145707104"/>
            <ac:spMk id="127" creationId="{0011888C-0B1E-440E-8C00-436E169710EF}"/>
          </ac:spMkLst>
        </pc:spChg>
        <pc:spChg chg="del">
          <ac:chgData name="Sheng, Yanan" userId="a8f760e9-50c6-421d-9788-7991509e9b00" providerId="ADAL" clId="{CE83D114-1C90-4F39-8D42-4D8D4E384834}" dt="2023-07-02T08:47:24.981" v="5444" actId="478"/>
          <ac:spMkLst>
            <pc:docMk/>
            <pc:sldMk cId="74238437" sldId="2145707104"/>
            <ac:spMk id="129" creationId="{6A4F926F-A0CE-4CA7-9E11-A6938AC782B6}"/>
          </ac:spMkLst>
        </pc:spChg>
        <pc:spChg chg="del">
          <ac:chgData name="Sheng, Yanan" userId="a8f760e9-50c6-421d-9788-7991509e9b00" providerId="ADAL" clId="{CE83D114-1C90-4F39-8D42-4D8D4E384834}" dt="2023-07-02T08:47:24.981" v="5444" actId="478"/>
          <ac:spMkLst>
            <pc:docMk/>
            <pc:sldMk cId="74238437" sldId="2145707104"/>
            <ac:spMk id="130" creationId="{5CBFB49D-584C-4D57-9CB4-C3A817588375}"/>
          </ac:spMkLst>
        </pc:spChg>
        <pc:spChg chg="del">
          <ac:chgData name="Sheng, Yanan" userId="a8f760e9-50c6-421d-9788-7991509e9b00" providerId="ADAL" clId="{CE83D114-1C90-4F39-8D42-4D8D4E384834}" dt="2023-07-02T08:47:24.981" v="5444" actId="478"/>
          <ac:spMkLst>
            <pc:docMk/>
            <pc:sldMk cId="74238437" sldId="2145707104"/>
            <ac:spMk id="131" creationId="{EE11B042-D076-454A-82CA-1C1879E40714}"/>
          </ac:spMkLst>
        </pc:spChg>
        <pc:spChg chg="del">
          <ac:chgData name="Sheng, Yanan" userId="a8f760e9-50c6-421d-9788-7991509e9b00" providerId="ADAL" clId="{CE83D114-1C90-4F39-8D42-4D8D4E384834}" dt="2023-07-02T08:47:24.981" v="5444" actId="478"/>
          <ac:spMkLst>
            <pc:docMk/>
            <pc:sldMk cId="74238437" sldId="2145707104"/>
            <ac:spMk id="134" creationId="{497039FE-C68C-4C40-B383-BBDCF2DDBE90}"/>
          </ac:spMkLst>
        </pc:spChg>
        <pc:spChg chg="del">
          <ac:chgData name="Sheng, Yanan" userId="a8f760e9-50c6-421d-9788-7991509e9b00" providerId="ADAL" clId="{CE83D114-1C90-4F39-8D42-4D8D4E384834}" dt="2023-07-02T08:47:24.981" v="5444" actId="478"/>
          <ac:spMkLst>
            <pc:docMk/>
            <pc:sldMk cId="74238437" sldId="2145707104"/>
            <ac:spMk id="136" creationId="{76F249BA-AFAF-4BE9-8EF7-19E57F97F4B3}"/>
          </ac:spMkLst>
        </pc:spChg>
        <pc:spChg chg="del">
          <ac:chgData name="Sheng, Yanan" userId="a8f760e9-50c6-421d-9788-7991509e9b00" providerId="ADAL" clId="{CE83D114-1C90-4F39-8D42-4D8D4E384834}" dt="2023-07-02T08:47:24.981" v="5444" actId="478"/>
          <ac:spMkLst>
            <pc:docMk/>
            <pc:sldMk cId="74238437" sldId="2145707104"/>
            <ac:spMk id="137" creationId="{A6D11080-7781-4D46-B761-ED141D0B212F}"/>
          </ac:spMkLst>
        </pc:spChg>
        <pc:spChg chg="mod">
          <ac:chgData name="Sheng, Yanan" userId="a8f760e9-50c6-421d-9788-7991509e9b00" providerId="ADAL" clId="{CE83D114-1C90-4F39-8D42-4D8D4E384834}" dt="2023-07-02T09:30:20.377" v="5923" actId="1076"/>
          <ac:spMkLst>
            <pc:docMk/>
            <pc:sldMk cId="74238437" sldId="2145707104"/>
            <ac:spMk id="140" creationId="{3506F1E5-4DA7-4761-A490-F7BC81448B9D}"/>
          </ac:spMkLst>
        </pc:spChg>
        <pc:spChg chg="mod">
          <ac:chgData name="Sheng, Yanan" userId="a8f760e9-50c6-421d-9788-7991509e9b00" providerId="ADAL" clId="{CE83D114-1C90-4F39-8D42-4D8D4E384834}" dt="2023-07-02T09:30:20.377" v="5923" actId="1076"/>
          <ac:spMkLst>
            <pc:docMk/>
            <pc:sldMk cId="74238437" sldId="2145707104"/>
            <ac:spMk id="141" creationId="{D4238A99-9525-4E34-8820-09CF064F39E1}"/>
          </ac:spMkLst>
        </pc:spChg>
        <pc:spChg chg="mod">
          <ac:chgData name="Sheng, Yanan" userId="a8f760e9-50c6-421d-9788-7991509e9b00" providerId="ADAL" clId="{CE83D114-1C90-4F39-8D42-4D8D4E384834}" dt="2023-07-02T09:30:20.377" v="5923" actId="1076"/>
          <ac:spMkLst>
            <pc:docMk/>
            <pc:sldMk cId="74238437" sldId="2145707104"/>
            <ac:spMk id="142" creationId="{89EC9B51-8027-4934-A9F2-C745ADE75574}"/>
          </ac:spMkLst>
        </pc:spChg>
        <pc:spChg chg="mod">
          <ac:chgData name="Sheng, Yanan" userId="a8f760e9-50c6-421d-9788-7991509e9b00" providerId="ADAL" clId="{CE83D114-1C90-4F39-8D42-4D8D4E384834}" dt="2023-07-02T09:30:20.377" v="5923" actId="1076"/>
          <ac:spMkLst>
            <pc:docMk/>
            <pc:sldMk cId="74238437" sldId="2145707104"/>
            <ac:spMk id="143" creationId="{8E9D7B49-81B9-475C-8692-99691AD17A69}"/>
          </ac:spMkLst>
        </pc:spChg>
        <pc:spChg chg="mod">
          <ac:chgData name="Sheng, Yanan" userId="a8f760e9-50c6-421d-9788-7991509e9b00" providerId="ADAL" clId="{CE83D114-1C90-4F39-8D42-4D8D4E384834}" dt="2023-07-02T09:30:20.377" v="5923" actId="1076"/>
          <ac:spMkLst>
            <pc:docMk/>
            <pc:sldMk cId="74238437" sldId="2145707104"/>
            <ac:spMk id="144" creationId="{5F52BE1E-C9D2-4C37-915B-F9BEA231E904}"/>
          </ac:spMkLst>
        </pc:spChg>
        <pc:spChg chg="mod">
          <ac:chgData name="Sheng, Yanan" userId="a8f760e9-50c6-421d-9788-7991509e9b00" providerId="ADAL" clId="{CE83D114-1C90-4F39-8D42-4D8D4E384834}" dt="2023-07-02T09:30:20.377" v="5923" actId="1076"/>
          <ac:spMkLst>
            <pc:docMk/>
            <pc:sldMk cId="74238437" sldId="2145707104"/>
            <ac:spMk id="146" creationId="{64D46CC7-5DCF-4152-BA3A-A01DBAA4A67B}"/>
          </ac:spMkLst>
        </pc:spChg>
        <pc:spChg chg="mod">
          <ac:chgData name="Sheng, Yanan" userId="a8f760e9-50c6-421d-9788-7991509e9b00" providerId="ADAL" clId="{CE83D114-1C90-4F39-8D42-4D8D4E384834}" dt="2023-07-02T09:30:20.377" v="5923" actId="1076"/>
          <ac:spMkLst>
            <pc:docMk/>
            <pc:sldMk cId="74238437" sldId="2145707104"/>
            <ac:spMk id="147" creationId="{9770C1C6-10AD-45D0-9B5F-3696C236B248}"/>
          </ac:spMkLst>
        </pc:spChg>
        <pc:spChg chg="mod">
          <ac:chgData name="Sheng, Yanan" userId="a8f760e9-50c6-421d-9788-7991509e9b00" providerId="ADAL" clId="{CE83D114-1C90-4F39-8D42-4D8D4E384834}" dt="2023-07-02T09:30:20.377" v="5923" actId="1076"/>
          <ac:spMkLst>
            <pc:docMk/>
            <pc:sldMk cId="74238437" sldId="2145707104"/>
            <ac:spMk id="148" creationId="{4BCFC4A5-C933-4A29-A166-42AB826B200C}"/>
          </ac:spMkLst>
        </pc:spChg>
        <pc:spChg chg="mod">
          <ac:chgData name="Sheng, Yanan" userId="a8f760e9-50c6-421d-9788-7991509e9b00" providerId="ADAL" clId="{CE83D114-1C90-4F39-8D42-4D8D4E384834}" dt="2023-07-02T09:30:20.377" v="5923" actId="1076"/>
          <ac:spMkLst>
            <pc:docMk/>
            <pc:sldMk cId="74238437" sldId="2145707104"/>
            <ac:spMk id="150" creationId="{97DC0874-9DC6-4172-9674-7ADB50C6BCFC}"/>
          </ac:spMkLst>
        </pc:spChg>
        <pc:spChg chg="mod">
          <ac:chgData name="Sheng, Yanan" userId="a8f760e9-50c6-421d-9788-7991509e9b00" providerId="ADAL" clId="{CE83D114-1C90-4F39-8D42-4D8D4E384834}" dt="2023-07-02T09:30:20.377" v="5923" actId="1076"/>
          <ac:spMkLst>
            <pc:docMk/>
            <pc:sldMk cId="74238437" sldId="2145707104"/>
            <ac:spMk id="151" creationId="{A4C759D5-39EB-4205-A4C9-6BB35DB061A2}"/>
          </ac:spMkLst>
        </pc:spChg>
        <pc:spChg chg="mod">
          <ac:chgData name="Sheng, Yanan" userId="a8f760e9-50c6-421d-9788-7991509e9b00" providerId="ADAL" clId="{CE83D114-1C90-4F39-8D42-4D8D4E384834}" dt="2023-07-02T09:30:20.377" v="5923" actId="1076"/>
          <ac:spMkLst>
            <pc:docMk/>
            <pc:sldMk cId="74238437" sldId="2145707104"/>
            <ac:spMk id="169" creationId="{63F5EE98-8A99-4A7A-B90F-081A6EFD2D9B}"/>
          </ac:spMkLst>
        </pc:spChg>
        <pc:spChg chg="mod">
          <ac:chgData name="Sheng, Yanan" userId="a8f760e9-50c6-421d-9788-7991509e9b00" providerId="ADAL" clId="{CE83D114-1C90-4F39-8D42-4D8D4E384834}" dt="2023-07-02T09:30:20.377" v="5923" actId="1076"/>
          <ac:spMkLst>
            <pc:docMk/>
            <pc:sldMk cId="74238437" sldId="2145707104"/>
            <ac:spMk id="170" creationId="{B24562B0-4B40-4AAC-873B-F5059126FF63}"/>
          </ac:spMkLst>
        </pc:spChg>
        <pc:spChg chg="mod">
          <ac:chgData name="Sheng, Yanan" userId="a8f760e9-50c6-421d-9788-7991509e9b00" providerId="ADAL" clId="{CE83D114-1C90-4F39-8D42-4D8D4E384834}" dt="2023-07-02T09:30:20.377" v="5923" actId="1076"/>
          <ac:spMkLst>
            <pc:docMk/>
            <pc:sldMk cId="74238437" sldId="2145707104"/>
            <ac:spMk id="171" creationId="{D44C406C-4553-4514-8B87-D6FB1031B3D0}"/>
          </ac:spMkLst>
        </pc:spChg>
        <pc:spChg chg="mod">
          <ac:chgData name="Sheng, Yanan" userId="a8f760e9-50c6-421d-9788-7991509e9b00" providerId="ADAL" clId="{CE83D114-1C90-4F39-8D42-4D8D4E384834}" dt="2023-07-02T09:30:20.377" v="5923" actId="1076"/>
          <ac:spMkLst>
            <pc:docMk/>
            <pc:sldMk cId="74238437" sldId="2145707104"/>
            <ac:spMk id="172" creationId="{06BEB7E2-836F-482C-B5C3-5AD9AA84668B}"/>
          </ac:spMkLst>
        </pc:spChg>
        <pc:spChg chg="mod">
          <ac:chgData name="Sheng, Yanan" userId="a8f760e9-50c6-421d-9788-7991509e9b00" providerId="ADAL" clId="{CE83D114-1C90-4F39-8D42-4D8D4E384834}" dt="2023-07-02T09:30:20.377" v="5923" actId="1076"/>
          <ac:spMkLst>
            <pc:docMk/>
            <pc:sldMk cId="74238437" sldId="2145707104"/>
            <ac:spMk id="173" creationId="{ED8CBCB1-1913-4042-AF4C-A956E22F8BE5}"/>
          </ac:spMkLst>
        </pc:spChg>
        <pc:spChg chg="mod">
          <ac:chgData name="Sheng, Yanan" userId="a8f760e9-50c6-421d-9788-7991509e9b00" providerId="ADAL" clId="{CE83D114-1C90-4F39-8D42-4D8D4E384834}" dt="2023-07-02T09:30:20.377" v="5923" actId="1076"/>
          <ac:spMkLst>
            <pc:docMk/>
            <pc:sldMk cId="74238437" sldId="2145707104"/>
            <ac:spMk id="174" creationId="{CD00E7E7-7C5F-4EED-BD76-270232DE0376}"/>
          </ac:spMkLst>
        </pc:spChg>
        <pc:spChg chg="mod">
          <ac:chgData name="Sheng, Yanan" userId="a8f760e9-50c6-421d-9788-7991509e9b00" providerId="ADAL" clId="{CE83D114-1C90-4F39-8D42-4D8D4E384834}" dt="2023-07-02T09:30:20.377" v="5923" actId="1076"/>
          <ac:spMkLst>
            <pc:docMk/>
            <pc:sldMk cId="74238437" sldId="2145707104"/>
            <ac:spMk id="175" creationId="{92879CAE-E8B3-4999-BA4C-38B1D6EA1C82}"/>
          </ac:spMkLst>
        </pc:spChg>
        <pc:spChg chg="mod">
          <ac:chgData name="Sheng, Yanan" userId="a8f760e9-50c6-421d-9788-7991509e9b00" providerId="ADAL" clId="{CE83D114-1C90-4F39-8D42-4D8D4E384834}" dt="2023-07-02T09:30:20.377" v="5923" actId="1076"/>
          <ac:spMkLst>
            <pc:docMk/>
            <pc:sldMk cId="74238437" sldId="2145707104"/>
            <ac:spMk id="176" creationId="{21920C9C-3093-4705-A403-79E88934A55E}"/>
          </ac:spMkLst>
        </pc:spChg>
        <pc:spChg chg="mod">
          <ac:chgData name="Sheng, Yanan" userId="a8f760e9-50c6-421d-9788-7991509e9b00" providerId="ADAL" clId="{CE83D114-1C90-4F39-8D42-4D8D4E384834}" dt="2023-07-02T09:30:20.377" v="5923" actId="1076"/>
          <ac:spMkLst>
            <pc:docMk/>
            <pc:sldMk cId="74238437" sldId="2145707104"/>
            <ac:spMk id="177" creationId="{E268AB34-0454-4398-84EA-EE352151B7D0}"/>
          </ac:spMkLst>
        </pc:spChg>
        <pc:spChg chg="mod">
          <ac:chgData name="Sheng, Yanan" userId="a8f760e9-50c6-421d-9788-7991509e9b00" providerId="ADAL" clId="{CE83D114-1C90-4F39-8D42-4D8D4E384834}" dt="2023-07-02T09:30:20.377" v="5923" actId="1076"/>
          <ac:spMkLst>
            <pc:docMk/>
            <pc:sldMk cId="74238437" sldId="2145707104"/>
            <ac:spMk id="178" creationId="{395BEBB1-950F-46C0-9975-06A8DC2E33CA}"/>
          </ac:spMkLst>
        </pc:spChg>
        <pc:spChg chg="mod">
          <ac:chgData name="Sheng, Yanan" userId="a8f760e9-50c6-421d-9788-7991509e9b00" providerId="ADAL" clId="{CE83D114-1C90-4F39-8D42-4D8D4E384834}" dt="2023-07-02T09:30:20.377" v="5923" actId="1076"/>
          <ac:spMkLst>
            <pc:docMk/>
            <pc:sldMk cId="74238437" sldId="2145707104"/>
            <ac:spMk id="179" creationId="{9FEA7E51-E462-40FA-8013-D496FBB2C928}"/>
          </ac:spMkLst>
        </pc:spChg>
        <pc:spChg chg="mod">
          <ac:chgData name="Sheng, Yanan" userId="a8f760e9-50c6-421d-9788-7991509e9b00" providerId="ADAL" clId="{CE83D114-1C90-4F39-8D42-4D8D4E384834}" dt="2023-07-02T09:30:20.377" v="5923" actId="1076"/>
          <ac:spMkLst>
            <pc:docMk/>
            <pc:sldMk cId="74238437" sldId="2145707104"/>
            <ac:spMk id="180" creationId="{84627C99-0000-4AD8-8231-012F980A1BF0}"/>
          </ac:spMkLst>
        </pc:spChg>
        <pc:spChg chg="mod">
          <ac:chgData name="Sheng, Yanan" userId="a8f760e9-50c6-421d-9788-7991509e9b00" providerId="ADAL" clId="{CE83D114-1C90-4F39-8D42-4D8D4E384834}" dt="2023-07-02T09:30:20.377" v="5923" actId="1076"/>
          <ac:spMkLst>
            <pc:docMk/>
            <pc:sldMk cId="74238437" sldId="2145707104"/>
            <ac:spMk id="181" creationId="{863CCB4D-1059-4CFE-9954-674EF3855D27}"/>
          </ac:spMkLst>
        </pc:spChg>
        <pc:spChg chg="mod">
          <ac:chgData name="Sheng, Yanan" userId="a8f760e9-50c6-421d-9788-7991509e9b00" providerId="ADAL" clId="{CE83D114-1C90-4F39-8D42-4D8D4E384834}" dt="2023-07-02T09:30:20.377" v="5923" actId="1076"/>
          <ac:spMkLst>
            <pc:docMk/>
            <pc:sldMk cId="74238437" sldId="2145707104"/>
            <ac:spMk id="182" creationId="{47F2487E-7371-4363-A4B7-8CF76B2C77E9}"/>
          </ac:spMkLst>
        </pc:spChg>
        <pc:spChg chg="mod">
          <ac:chgData name="Sheng, Yanan" userId="a8f760e9-50c6-421d-9788-7991509e9b00" providerId="ADAL" clId="{CE83D114-1C90-4F39-8D42-4D8D4E384834}" dt="2023-07-02T09:30:20.377" v="5923" actId="1076"/>
          <ac:spMkLst>
            <pc:docMk/>
            <pc:sldMk cId="74238437" sldId="2145707104"/>
            <ac:spMk id="194" creationId="{54EA234B-3561-4523-88BB-8560F7B7EE63}"/>
          </ac:spMkLst>
        </pc:spChg>
        <pc:spChg chg="mod">
          <ac:chgData name="Sheng, Yanan" userId="a8f760e9-50c6-421d-9788-7991509e9b00" providerId="ADAL" clId="{CE83D114-1C90-4F39-8D42-4D8D4E384834}" dt="2023-07-02T09:30:20.377" v="5923" actId="1076"/>
          <ac:spMkLst>
            <pc:docMk/>
            <pc:sldMk cId="74238437" sldId="2145707104"/>
            <ac:spMk id="195" creationId="{400E325C-04D2-46DF-A6B9-3357BF7F7854}"/>
          </ac:spMkLst>
        </pc:spChg>
        <pc:spChg chg="mod">
          <ac:chgData name="Sheng, Yanan" userId="a8f760e9-50c6-421d-9788-7991509e9b00" providerId="ADAL" clId="{CE83D114-1C90-4F39-8D42-4D8D4E384834}" dt="2023-07-02T09:30:20.377" v="5923" actId="1076"/>
          <ac:spMkLst>
            <pc:docMk/>
            <pc:sldMk cId="74238437" sldId="2145707104"/>
            <ac:spMk id="196" creationId="{C0E5855A-1662-489B-BC4C-3D88A92FC320}"/>
          </ac:spMkLst>
        </pc:spChg>
        <pc:spChg chg="mod">
          <ac:chgData name="Sheng, Yanan" userId="a8f760e9-50c6-421d-9788-7991509e9b00" providerId="ADAL" clId="{CE83D114-1C90-4F39-8D42-4D8D4E384834}" dt="2023-07-02T09:30:20.377" v="5923" actId="1076"/>
          <ac:spMkLst>
            <pc:docMk/>
            <pc:sldMk cId="74238437" sldId="2145707104"/>
            <ac:spMk id="198" creationId="{F9D81B4E-7B9E-4D2B-8D5F-90AF456E4B36}"/>
          </ac:spMkLst>
        </pc:spChg>
        <pc:spChg chg="mod">
          <ac:chgData name="Sheng, Yanan" userId="a8f760e9-50c6-421d-9788-7991509e9b00" providerId="ADAL" clId="{CE83D114-1C90-4F39-8D42-4D8D4E384834}" dt="2023-07-02T09:30:20.377" v="5923" actId="1076"/>
          <ac:spMkLst>
            <pc:docMk/>
            <pc:sldMk cId="74238437" sldId="2145707104"/>
            <ac:spMk id="199" creationId="{EBD03D8B-E88D-47CF-BA80-E84CC7F32B2D}"/>
          </ac:spMkLst>
        </pc:spChg>
        <pc:spChg chg="mod">
          <ac:chgData name="Sheng, Yanan" userId="a8f760e9-50c6-421d-9788-7991509e9b00" providerId="ADAL" clId="{CE83D114-1C90-4F39-8D42-4D8D4E384834}" dt="2023-07-02T09:30:20.377" v="5923" actId="1076"/>
          <ac:spMkLst>
            <pc:docMk/>
            <pc:sldMk cId="74238437" sldId="2145707104"/>
            <ac:spMk id="200" creationId="{E8E8A02C-3D3B-43B5-B608-1FEFEA7AB0FC}"/>
          </ac:spMkLst>
        </pc:spChg>
        <pc:grpChg chg="mod">
          <ac:chgData name="Sheng, Yanan" userId="a8f760e9-50c6-421d-9788-7991509e9b00" providerId="ADAL" clId="{CE83D114-1C90-4F39-8D42-4D8D4E384834}" dt="2023-07-02T09:30:20.377" v="5923" actId="1076"/>
          <ac:grpSpMkLst>
            <pc:docMk/>
            <pc:sldMk cId="74238437" sldId="2145707104"/>
            <ac:grpSpMk id="26" creationId="{FED71F90-3532-4047-9D83-D8BA7A33C89A}"/>
          </ac:grpSpMkLst>
        </pc:grpChg>
        <pc:grpChg chg="mod">
          <ac:chgData name="Sheng, Yanan" userId="a8f760e9-50c6-421d-9788-7991509e9b00" providerId="ADAL" clId="{CE83D114-1C90-4F39-8D42-4D8D4E384834}" dt="2023-07-02T09:30:20.377" v="5923" actId="1076"/>
          <ac:grpSpMkLst>
            <pc:docMk/>
            <pc:sldMk cId="74238437" sldId="2145707104"/>
            <ac:grpSpMk id="32" creationId="{0D495157-3745-4CAA-9278-F0E160B20597}"/>
          </ac:grpSpMkLst>
        </pc:grpChg>
        <pc:grpChg chg="mod">
          <ac:chgData name="Sheng, Yanan" userId="a8f760e9-50c6-421d-9788-7991509e9b00" providerId="ADAL" clId="{CE83D114-1C90-4F39-8D42-4D8D4E384834}" dt="2023-07-02T09:30:20.377" v="5923" actId="1076"/>
          <ac:grpSpMkLst>
            <pc:docMk/>
            <pc:sldMk cId="74238437" sldId="2145707104"/>
            <ac:grpSpMk id="35" creationId="{9BDB83EB-6876-4F88-8BE1-781AF9D1D848}"/>
          </ac:grpSpMkLst>
        </pc:grpChg>
        <pc:grpChg chg="add mod">
          <ac:chgData name="Sheng, Yanan" userId="a8f760e9-50c6-421d-9788-7991509e9b00" providerId="ADAL" clId="{CE83D114-1C90-4F39-8D42-4D8D4E384834}" dt="2023-07-02T09:30:20.377" v="5923" actId="1076"/>
          <ac:grpSpMkLst>
            <pc:docMk/>
            <pc:sldMk cId="74238437" sldId="2145707104"/>
            <ac:grpSpMk id="59" creationId="{59B4485E-6F82-CC07-4443-36DF163AE8D4}"/>
          </ac:grpSpMkLst>
        </pc:grpChg>
        <pc:grpChg chg="add mod">
          <ac:chgData name="Sheng, Yanan" userId="a8f760e9-50c6-421d-9788-7991509e9b00" providerId="ADAL" clId="{CE83D114-1C90-4F39-8D42-4D8D4E384834}" dt="2023-07-02T09:30:20.377" v="5923" actId="1076"/>
          <ac:grpSpMkLst>
            <pc:docMk/>
            <pc:sldMk cId="74238437" sldId="2145707104"/>
            <ac:grpSpMk id="61" creationId="{17B32669-40B4-D5D2-3E03-8E8588B9F307}"/>
          </ac:grpSpMkLst>
        </pc:grpChg>
        <pc:grpChg chg="add mod">
          <ac:chgData name="Sheng, Yanan" userId="a8f760e9-50c6-421d-9788-7991509e9b00" providerId="ADAL" clId="{CE83D114-1C90-4F39-8D42-4D8D4E384834}" dt="2023-07-02T09:28:59.030" v="5900" actId="164"/>
          <ac:grpSpMkLst>
            <pc:docMk/>
            <pc:sldMk cId="74238437" sldId="2145707104"/>
            <ac:grpSpMk id="62" creationId="{019A8A80-A919-99D4-2582-1414E4DDC73E}"/>
          </ac:grpSpMkLst>
        </pc:grpChg>
        <pc:grpChg chg="mod">
          <ac:chgData name="Sheng, Yanan" userId="a8f760e9-50c6-421d-9788-7991509e9b00" providerId="ADAL" clId="{CE83D114-1C90-4F39-8D42-4D8D4E384834}" dt="2023-07-02T09:30:20.377" v="5923" actId="1076"/>
          <ac:grpSpMkLst>
            <pc:docMk/>
            <pc:sldMk cId="74238437" sldId="2145707104"/>
            <ac:grpSpMk id="82" creationId="{26BDE2E4-960C-4704-AC09-5719281027CB}"/>
          </ac:grpSpMkLst>
        </pc:grpChg>
        <pc:grpChg chg="mod">
          <ac:chgData name="Sheng, Yanan" userId="a8f760e9-50c6-421d-9788-7991509e9b00" providerId="ADAL" clId="{CE83D114-1C90-4F39-8D42-4D8D4E384834}" dt="2023-07-02T09:30:20.377" v="5923" actId="1076"/>
          <ac:grpSpMkLst>
            <pc:docMk/>
            <pc:sldMk cId="74238437" sldId="2145707104"/>
            <ac:grpSpMk id="145" creationId="{9B562F6D-74FD-45F5-A4DC-53B1B89A3A28}"/>
          </ac:grpSpMkLst>
        </pc:grpChg>
        <pc:grpChg chg="mod">
          <ac:chgData name="Sheng, Yanan" userId="a8f760e9-50c6-421d-9788-7991509e9b00" providerId="ADAL" clId="{CE83D114-1C90-4F39-8D42-4D8D4E384834}" dt="2023-07-02T09:30:20.377" v="5923" actId="1076"/>
          <ac:grpSpMkLst>
            <pc:docMk/>
            <pc:sldMk cId="74238437" sldId="2145707104"/>
            <ac:grpSpMk id="149" creationId="{FE34E175-06B8-4F03-945B-A5319A98A89A}"/>
          </ac:grpSpMkLst>
        </pc:grpChg>
        <pc:grpChg chg="mod">
          <ac:chgData name="Sheng, Yanan" userId="a8f760e9-50c6-421d-9788-7991509e9b00" providerId="ADAL" clId="{CE83D114-1C90-4F39-8D42-4D8D4E384834}" dt="2023-07-02T09:30:20.377" v="5923" actId="1076"/>
          <ac:grpSpMkLst>
            <pc:docMk/>
            <pc:sldMk cId="74238437" sldId="2145707104"/>
            <ac:grpSpMk id="168" creationId="{90140546-3D43-47D0-B5C8-D570D34E9910}"/>
          </ac:grpSpMkLst>
        </pc:grpChg>
        <pc:grpChg chg="mod">
          <ac:chgData name="Sheng, Yanan" userId="a8f760e9-50c6-421d-9788-7991509e9b00" providerId="ADAL" clId="{CE83D114-1C90-4F39-8D42-4D8D4E384834}" dt="2023-07-02T09:30:20.377" v="5923" actId="1076"/>
          <ac:grpSpMkLst>
            <pc:docMk/>
            <pc:sldMk cId="74238437" sldId="2145707104"/>
            <ac:grpSpMk id="197" creationId="{1EFCC302-FA07-45FC-A137-A60376D6B639}"/>
          </ac:grpSpMkLst>
        </pc:grpChg>
        <pc:graphicFrameChg chg="add mod">
          <ac:chgData name="Sheng, Yanan" userId="a8f760e9-50c6-421d-9788-7991509e9b00" providerId="ADAL" clId="{CE83D114-1C90-4F39-8D42-4D8D4E384834}" dt="2023-07-02T09:30:20.377" v="5923" actId="1076"/>
          <ac:graphicFrameMkLst>
            <pc:docMk/>
            <pc:sldMk cId="74238437" sldId="2145707104"/>
            <ac:graphicFrameMk id="4" creationId="{80469BE8-AED1-C056-1CF4-9DB1464892F1}"/>
          </ac:graphicFrameMkLst>
        </pc:graphicFrameChg>
        <pc:graphicFrameChg chg="del">
          <ac:chgData name="Sheng, Yanan" userId="a8f760e9-50c6-421d-9788-7991509e9b00" providerId="ADAL" clId="{CE83D114-1C90-4F39-8D42-4D8D4E384834}" dt="2023-07-02T08:47:24.981" v="5444" actId="478"/>
          <ac:graphicFrameMkLst>
            <pc:docMk/>
            <pc:sldMk cId="74238437" sldId="2145707104"/>
            <ac:graphicFrameMk id="5" creationId="{B90B5BDB-2B17-4FBC-A648-D14FA70D8BEF}"/>
          </ac:graphicFrameMkLst>
        </pc:graphicFrameChg>
        <pc:picChg chg="del">
          <ac:chgData name="Sheng, Yanan" userId="a8f760e9-50c6-421d-9788-7991509e9b00" providerId="ADAL" clId="{CE83D114-1C90-4F39-8D42-4D8D4E384834}" dt="2023-07-02T08:47:24.981" v="5444" actId="478"/>
          <ac:picMkLst>
            <pc:docMk/>
            <pc:sldMk cId="74238437" sldId="2145707104"/>
            <ac:picMk id="6" creationId="{32484BC5-98D1-4ADE-A802-5247AF356EAA}"/>
          </ac:picMkLst>
        </pc:picChg>
        <pc:picChg chg="add mod">
          <ac:chgData name="Sheng, Yanan" userId="a8f760e9-50c6-421d-9788-7991509e9b00" providerId="ADAL" clId="{CE83D114-1C90-4F39-8D42-4D8D4E384834}" dt="2023-07-02T09:30:20.377" v="5923" actId="1076"/>
          <ac:picMkLst>
            <pc:docMk/>
            <pc:sldMk cId="74238437" sldId="2145707104"/>
            <ac:picMk id="24" creationId="{661C47BF-CFC1-0472-3A76-8C71894DEFC4}"/>
          </ac:picMkLst>
        </pc:picChg>
        <pc:picChg chg="add mod">
          <ac:chgData name="Sheng, Yanan" userId="a8f760e9-50c6-421d-9788-7991509e9b00" providerId="ADAL" clId="{CE83D114-1C90-4F39-8D42-4D8D4E384834}" dt="2023-07-02T09:30:20.377" v="5923" actId="1076"/>
          <ac:picMkLst>
            <pc:docMk/>
            <pc:sldMk cId="74238437" sldId="2145707104"/>
            <ac:picMk id="25" creationId="{C09CA78B-5D21-968A-D483-F5E2CD7D40C2}"/>
          </ac:picMkLst>
        </pc:picChg>
        <pc:picChg chg="add mod">
          <ac:chgData name="Sheng, Yanan" userId="a8f760e9-50c6-421d-9788-7991509e9b00" providerId="ADAL" clId="{CE83D114-1C90-4F39-8D42-4D8D4E384834}" dt="2023-07-02T09:30:20.377" v="5923" actId="1076"/>
          <ac:picMkLst>
            <pc:docMk/>
            <pc:sldMk cId="74238437" sldId="2145707104"/>
            <ac:picMk id="27" creationId="{21F5473D-7FDF-EA6F-9792-7AD5DF7320D6}"/>
          </ac:picMkLst>
        </pc:picChg>
        <pc:picChg chg="mod">
          <ac:chgData name="Sheng, Yanan" userId="a8f760e9-50c6-421d-9788-7991509e9b00" providerId="ADAL" clId="{CE83D114-1C90-4F39-8D42-4D8D4E384834}" dt="2023-07-02T09:30:20.377" v="5923" actId="1076"/>
          <ac:picMkLst>
            <pc:docMk/>
            <pc:sldMk cId="74238437" sldId="2145707104"/>
            <ac:picMk id="84" creationId="{BD5FF05C-C8F4-4D06-AE79-FFD0E3788523}"/>
          </ac:picMkLst>
        </pc:picChg>
        <pc:picChg chg="mod">
          <ac:chgData name="Sheng, Yanan" userId="a8f760e9-50c6-421d-9788-7991509e9b00" providerId="ADAL" clId="{CE83D114-1C90-4F39-8D42-4D8D4E384834}" dt="2023-07-02T09:30:20.377" v="5923" actId="1076"/>
          <ac:picMkLst>
            <pc:docMk/>
            <pc:sldMk cId="74238437" sldId="2145707104"/>
            <ac:picMk id="86" creationId="{BED57A4B-4E68-4160-AA8E-A4BE0C201895}"/>
          </ac:picMkLst>
        </pc:picChg>
        <pc:picChg chg="del">
          <ac:chgData name="Sheng, Yanan" userId="a8f760e9-50c6-421d-9788-7991509e9b00" providerId="ADAL" clId="{CE83D114-1C90-4F39-8D42-4D8D4E384834}" dt="2023-07-02T08:47:24.981" v="5444" actId="478"/>
          <ac:picMkLst>
            <pc:docMk/>
            <pc:sldMk cId="74238437" sldId="2145707104"/>
            <ac:picMk id="120" creationId="{6899DB32-6994-42DC-B4EE-A631CF8C3541}"/>
          </ac:picMkLst>
        </pc:picChg>
        <pc:picChg chg="del">
          <ac:chgData name="Sheng, Yanan" userId="a8f760e9-50c6-421d-9788-7991509e9b00" providerId="ADAL" clId="{CE83D114-1C90-4F39-8D42-4D8D4E384834}" dt="2023-07-02T08:47:24.981" v="5444" actId="478"/>
          <ac:picMkLst>
            <pc:docMk/>
            <pc:sldMk cId="74238437" sldId="2145707104"/>
            <ac:picMk id="121" creationId="{DA7112FB-D6D9-4368-A9B4-9344F69288A5}"/>
          </ac:picMkLst>
        </pc:picChg>
        <pc:cxnChg chg="add mod">
          <ac:chgData name="Sheng, Yanan" userId="a8f760e9-50c6-421d-9788-7991509e9b00" providerId="ADAL" clId="{CE83D114-1C90-4F39-8D42-4D8D4E384834}" dt="2023-07-02T09:30:20.377" v="5923" actId="1076"/>
          <ac:cxnSpMkLst>
            <pc:docMk/>
            <pc:sldMk cId="74238437" sldId="2145707104"/>
            <ac:cxnSpMk id="48" creationId="{9FD8AA7D-67E2-5B6C-C959-97920EABA9C5}"/>
          </ac:cxnSpMkLst>
        </pc:cxnChg>
        <pc:cxnChg chg="add mod">
          <ac:chgData name="Sheng, Yanan" userId="a8f760e9-50c6-421d-9788-7991509e9b00" providerId="ADAL" clId="{CE83D114-1C90-4F39-8D42-4D8D4E384834}" dt="2023-07-02T09:30:20.377" v="5923" actId="1076"/>
          <ac:cxnSpMkLst>
            <pc:docMk/>
            <pc:sldMk cId="74238437" sldId="2145707104"/>
            <ac:cxnSpMk id="53" creationId="{37D678BA-F39A-7734-570C-2D50816D7571}"/>
          </ac:cxnSpMkLst>
        </pc:cxnChg>
        <pc:cxnChg chg="del">
          <ac:chgData name="Sheng, Yanan" userId="a8f760e9-50c6-421d-9788-7991509e9b00" providerId="ADAL" clId="{CE83D114-1C90-4F39-8D42-4D8D4E384834}" dt="2023-07-02T08:47:24.981" v="5444" actId="478"/>
          <ac:cxnSpMkLst>
            <pc:docMk/>
            <pc:sldMk cId="74238437" sldId="2145707104"/>
            <ac:cxnSpMk id="132" creationId="{0A4B8DA6-9B2B-42D1-B29F-F2D6127F65A7}"/>
          </ac:cxnSpMkLst>
        </pc:cxnChg>
        <pc:cxnChg chg="del">
          <ac:chgData name="Sheng, Yanan" userId="a8f760e9-50c6-421d-9788-7991509e9b00" providerId="ADAL" clId="{CE83D114-1C90-4F39-8D42-4D8D4E384834}" dt="2023-07-02T08:47:24.981" v="5444" actId="478"/>
          <ac:cxnSpMkLst>
            <pc:docMk/>
            <pc:sldMk cId="74238437" sldId="2145707104"/>
            <ac:cxnSpMk id="133" creationId="{BFFFD4D6-F509-4AF8-9B30-247FBE79CAAB}"/>
          </ac:cxnSpMkLst>
        </pc:cxnChg>
      </pc:sldChg>
      <pc:sldChg chg="modSp mod ord">
        <pc:chgData name="Sheng, Yanan" userId="a8f760e9-50c6-421d-9788-7991509e9b00" providerId="ADAL" clId="{CE83D114-1C90-4F39-8D42-4D8D4E384834}" dt="2023-07-02T10:15:33.351" v="6341" actId="207"/>
        <pc:sldMkLst>
          <pc:docMk/>
          <pc:sldMk cId="1754269421" sldId="2145707105"/>
        </pc:sldMkLst>
        <pc:spChg chg="mod">
          <ac:chgData name="Sheng, Yanan" userId="a8f760e9-50c6-421d-9788-7991509e9b00" providerId="ADAL" clId="{CE83D114-1C90-4F39-8D42-4D8D4E384834}" dt="2023-06-14T05:38:36.046" v="1834" actId="20577"/>
          <ac:spMkLst>
            <pc:docMk/>
            <pc:sldMk cId="1754269421" sldId="2145707105"/>
            <ac:spMk id="22" creationId="{5F530736-32AD-42C7-B3FC-79FE10B74A3A}"/>
          </ac:spMkLst>
        </pc:spChg>
        <pc:spChg chg="mod">
          <ac:chgData name="Sheng, Yanan" userId="a8f760e9-50c6-421d-9788-7991509e9b00" providerId="ADAL" clId="{CE83D114-1C90-4F39-8D42-4D8D4E384834}" dt="2023-07-02T10:12:06.376" v="6324" actId="108"/>
          <ac:spMkLst>
            <pc:docMk/>
            <pc:sldMk cId="1754269421" sldId="2145707105"/>
            <ac:spMk id="45" creationId="{233D7C96-A35F-461A-A9D7-022529DB81E6}"/>
          </ac:spMkLst>
        </pc:spChg>
        <pc:spChg chg="mod">
          <ac:chgData name="Sheng, Yanan" userId="a8f760e9-50c6-421d-9788-7991509e9b00" providerId="ADAL" clId="{CE83D114-1C90-4F39-8D42-4D8D4E384834}" dt="2023-07-02T10:15:33.351" v="6341" actId="207"/>
          <ac:spMkLst>
            <pc:docMk/>
            <pc:sldMk cId="1754269421" sldId="2145707105"/>
            <ac:spMk id="201" creationId="{56D8978F-2B64-47FA-A5D4-6C8C50BB3DA3}"/>
          </ac:spMkLst>
        </pc:spChg>
        <pc:spChg chg="mod">
          <ac:chgData name="Sheng, Yanan" userId="a8f760e9-50c6-421d-9788-7991509e9b00" providerId="ADAL" clId="{CE83D114-1C90-4F39-8D42-4D8D4E384834}" dt="2023-07-02T10:13:19.567" v="6333" actId="207"/>
          <ac:spMkLst>
            <pc:docMk/>
            <pc:sldMk cId="1754269421" sldId="2145707105"/>
            <ac:spMk id="204" creationId="{FB28F259-EF60-47DF-9F59-B1E55D9FEA79}"/>
          </ac:spMkLst>
        </pc:spChg>
        <pc:spChg chg="mod">
          <ac:chgData name="Sheng, Yanan" userId="a8f760e9-50c6-421d-9788-7991509e9b00" providerId="ADAL" clId="{CE83D114-1C90-4F39-8D42-4D8D4E384834}" dt="2023-07-02T10:13:29.694" v="6336" actId="113"/>
          <ac:spMkLst>
            <pc:docMk/>
            <pc:sldMk cId="1754269421" sldId="2145707105"/>
            <ac:spMk id="205" creationId="{796FC306-9CEA-41A9-9737-DED3A7CAF520}"/>
          </ac:spMkLst>
        </pc:spChg>
        <pc:spChg chg="mod">
          <ac:chgData name="Sheng, Yanan" userId="a8f760e9-50c6-421d-9788-7991509e9b00" providerId="ADAL" clId="{CE83D114-1C90-4F39-8D42-4D8D4E384834}" dt="2023-07-02T10:13:45.159" v="6339" actId="207"/>
          <ac:spMkLst>
            <pc:docMk/>
            <pc:sldMk cId="1754269421" sldId="2145707105"/>
            <ac:spMk id="206" creationId="{DD9B7D46-76B0-4668-91A9-921B5E0291CA}"/>
          </ac:spMkLst>
        </pc:spChg>
      </pc:sldChg>
      <pc:sldChg chg="addSp delSp modSp mod ord">
        <pc:chgData name="Sheng, Yanan" userId="a8f760e9-50c6-421d-9788-7991509e9b00" providerId="ADAL" clId="{CE83D114-1C90-4F39-8D42-4D8D4E384834}" dt="2023-07-02T10:16:41.444" v="6342" actId="108"/>
        <pc:sldMkLst>
          <pc:docMk/>
          <pc:sldMk cId="1334609418" sldId="2145707128"/>
        </pc:sldMkLst>
        <pc:spChg chg="add mod">
          <ac:chgData name="Sheng, Yanan" userId="a8f760e9-50c6-421d-9788-7991509e9b00" providerId="ADAL" clId="{CE83D114-1C90-4F39-8D42-4D8D4E384834}" dt="2023-06-09T06:52:42.752" v="365" actId="1076"/>
          <ac:spMkLst>
            <pc:docMk/>
            <pc:sldMk cId="1334609418" sldId="2145707128"/>
            <ac:spMk id="4" creationId="{22AA13CB-833F-D9AB-CF5E-02BDF77A7C91}"/>
          </ac:spMkLst>
        </pc:spChg>
        <pc:spChg chg="mod">
          <ac:chgData name="Sheng, Yanan" userId="a8f760e9-50c6-421d-9788-7991509e9b00" providerId="ADAL" clId="{CE83D114-1C90-4F39-8D42-4D8D4E384834}" dt="2023-06-09T06:52:42.752" v="365" actId="1076"/>
          <ac:spMkLst>
            <pc:docMk/>
            <pc:sldMk cId="1334609418" sldId="2145707128"/>
            <ac:spMk id="6" creationId="{1021AE78-8ACC-9FD0-2FA1-6DE2FDF8D296}"/>
          </ac:spMkLst>
        </pc:spChg>
        <pc:spChg chg="mod">
          <ac:chgData name="Sheng, Yanan" userId="a8f760e9-50c6-421d-9788-7991509e9b00" providerId="ADAL" clId="{CE83D114-1C90-4F39-8D42-4D8D4E384834}" dt="2023-06-09T06:52:42.752" v="365" actId="1076"/>
          <ac:spMkLst>
            <pc:docMk/>
            <pc:sldMk cId="1334609418" sldId="2145707128"/>
            <ac:spMk id="7" creationId="{F9F9202B-9F2F-2305-07E6-67B62B408834}"/>
          </ac:spMkLst>
        </pc:spChg>
        <pc:spChg chg="mod">
          <ac:chgData name="Sheng, Yanan" userId="a8f760e9-50c6-421d-9788-7991509e9b00" providerId="ADAL" clId="{CE83D114-1C90-4F39-8D42-4D8D4E384834}" dt="2023-06-09T06:52:42.752" v="365" actId="1076"/>
          <ac:spMkLst>
            <pc:docMk/>
            <pc:sldMk cId="1334609418" sldId="2145707128"/>
            <ac:spMk id="8" creationId="{1AD8AD46-05CB-9048-24AD-90134F1CC10F}"/>
          </ac:spMkLst>
        </pc:spChg>
        <pc:spChg chg="add mod">
          <ac:chgData name="Sheng, Yanan" userId="a8f760e9-50c6-421d-9788-7991509e9b00" providerId="ADAL" clId="{CE83D114-1C90-4F39-8D42-4D8D4E384834}" dt="2023-06-20T09:44:01.425" v="2448" actId="1076"/>
          <ac:spMkLst>
            <pc:docMk/>
            <pc:sldMk cId="1334609418" sldId="2145707128"/>
            <ac:spMk id="9" creationId="{57D5D79C-6AEE-D2A9-7087-6416FFCFA2FE}"/>
          </ac:spMkLst>
        </pc:spChg>
        <pc:spChg chg="add del mod">
          <ac:chgData name="Sheng, Yanan" userId="a8f760e9-50c6-421d-9788-7991509e9b00" providerId="ADAL" clId="{CE83D114-1C90-4F39-8D42-4D8D4E384834}" dt="2023-06-09T06:47:59.282" v="275" actId="478"/>
          <ac:spMkLst>
            <pc:docMk/>
            <pc:sldMk cId="1334609418" sldId="2145707128"/>
            <ac:spMk id="9" creationId="{5FEE1137-8BD5-4288-A8EE-5E3ECF112349}"/>
          </ac:spMkLst>
        </pc:spChg>
        <pc:spChg chg="add mod">
          <ac:chgData name="Sheng, Yanan" userId="a8f760e9-50c6-421d-9788-7991509e9b00" providerId="ADAL" clId="{CE83D114-1C90-4F39-8D42-4D8D4E384834}" dt="2023-06-09T06:47:57.885" v="274"/>
          <ac:spMkLst>
            <pc:docMk/>
            <pc:sldMk cId="1334609418" sldId="2145707128"/>
            <ac:spMk id="11" creationId="{02460D6D-73A8-4159-8C3E-7B00E1EA34B4}"/>
          </ac:spMkLst>
        </pc:spChg>
        <pc:spChg chg="add mod">
          <ac:chgData name="Sheng, Yanan" userId="a8f760e9-50c6-421d-9788-7991509e9b00" providerId="ADAL" clId="{CE83D114-1C90-4F39-8D42-4D8D4E384834}" dt="2023-06-09T06:47:57.885" v="274"/>
          <ac:spMkLst>
            <pc:docMk/>
            <pc:sldMk cId="1334609418" sldId="2145707128"/>
            <ac:spMk id="12" creationId="{793902E4-FCDC-4897-8922-D0788CCD34B6}"/>
          </ac:spMkLst>
        </pc:spChg>
        <pc:spChg chg="add mod">
          <ac:chgData name="Sheng, Yanan" userId="a8f760e9-50c6-421d-9788-7991509e9b00" providerId="ADAL" clId="{CE83D114-1C90-4F39-8D42-4D8D4E384834}" dt="2023-06-09T06:47:57.885" v="274"/>
          <ac:spMkLst>
            <pc:docMk/>
            <pc:sldMk cId="1334609418" sldId="2145707128"/>
            <ac:spMk id="13" creationId="{F91FBFB9-EABC-4F97-85D0-C13C57CB5563}"/>
          </ac:spMkLst>
        </pc:spChg>
        <pc:spChg chg="mod topLvl">
          <ac:chgData name="Sheng, Yanan" userId="a8f760e9-50c6-421d-9788-7991509e9b00" providerId="ADAL" clId="{CE83D114-1C90-4F39-8D42-4D8D4E384834}" dt="2023-06-20T09:29:26.434" v="2402" actId="14100"/>
          <ac:spMkLst>
            <pc:docMk/>
            <pc:sldMk cId="1334609418" sldId="2145707128"/>
            <ac:spMk id="16" creationId="{D5FDCEA9-097E-50DF-B84F-DED37BC8E018}"/>
          </ac:spMkLst>
        </pc:spChg>
        <pc:spChg chg="add mod">
          <ac:chgData name="Sheng, Yanan" userId="a8f760e9-50c6-421d-9788-7991509e9b00" providerId="ADAL" clId="{CE83D114-1C90-4F39-8D42-4D8D4E384834}" dt="2023-06-20T09:32:40.769" v="2438" actId="113"/>
          <ac:spMkLst>
            <pc:docMk/>
            <pc:sldMk cId="1334609418" sldId="2145707128"/>
            <ac:spMk id="19" creationId="{BA59485A-4EBA-276B-BB4C-A81AD05A83DF}"/>
          </ac:spMkLst>
        </pc:spChg>
        <pc:spChg chg="add del mod">
          <ac:chgData name="Sheng, Yanan" userId="a8f760e9-50c6-421d-9788-7991509e9b00" providerId="ADAL" clId="{CE83D114-1C90-4F39-8D42-4D8D4E384834}" dt="2023-06-09T06:59:10.953" v="491" actId="478"/>
          <ac:spMkLst>
            <pc:docMk/>
            <pc:sldMk cId="1334609418" sldId="2145707128"/>
            <ac:spMk id="20" creationId="{FA97A9E0-DC35-6AF7-0A5C-088A8B1DA9AB}"/>
          </ac:spMkLst>
        </pc:spChg>
        <pc:spChg chg="add mod">
          <ac:chgData name="Sheng, Yanan" userId="a8f760e9-50c6-421d-9788-7991509e9b00" providerId="ADAL" clId="{CE83D114-1C90-4F39-8D42-4D8D4E384834}" dt="2023-06-20T09:31:59.877" v="2433" actId="20577"/>
          <ac:spMkLst>
            <pc:docMk/>
            <pc:sldMk cId="1334609418" sldId="2145707128"/>
            <ac:spMk id="22" creationId="{154EA94C-0D05-9F70-BAA4-CFCFEC3693E6}"/>
          </ac:spMkLst>
        </pc:spChg>
        <pc:spChg chg="mod">
          <ac:chgData name="Sheng, Yanan" userId="a8f760e9-50c6-421d-9788-7991509e9b00" providerId="ADAL" clId="{CE83D114-1C90-4F39-8D42-4D8D4E384834}" dt="2023-06-09T07:12:11.042" v="893" actId="1038"/>
          <ac:spMkLst>
            <pc:docMk/>
            <pc:sldMk cId="1334609418" sldId="2145707128"/>
            <ac:spMk id="24" creationId="{01452A0B-DE35-857C-CDBF-6D43AF9B12C1}"/>
          </ac:spMkLst>
        </pc:spChg>
        <pc:spChg chg="mod">
          <ac:chgData name="Sheng, Yanan" userId="a8f760e9-50c6-421d-9788-7991509e9b00" providerId="ADAL" clId="{CE83D114-1C90-4F39-8D42-4D8D4E384834}" dt="2023-06-09T07:12:11.042" v="893" actId="1038"/>
          <ac:spMkLst>
            <pc:docMk/>
            <pc:sldMk cId="1334609418" sldId="2145707128"/>
            <ac:spMk id="26" creationId="{C84DF273-A431-E164-6632-D2A08B78B87D}"/>
          </ac:spMkLst>
        </pc:spChg>
        <pc:spChg chg="mod">
          <ac:chgData name="Sheng, Yanan" userId="a8f760e9-50c6-421d-9788-7991509e9b00" providerId="ADAL" clId="{CE83D114-1C90-4F39-8D42-4D8D4E384834}" dt="2023-06-09T07:12:11.042" v="893" actId="1038"/>
          <ac:spMkLst>
            <pc:docMk/>
            <pc:sldMk cId="1334609418" sldId="2145707128"/>
            <ac:spMk id="27" creationId="{999CC37F-8094-8E2B-28AD-2194D8FA5F2C}"/>
          </ac:spMkLst>
        </pc:spChg>
        <pc:spChg chg="add mod">
          <ac:chgData name="Sheng, Yanan" userId="a8f760e9-50c6-421d-9788-7991509e9b00" providerId="ADAL" clId="{CE83D114-1C90-4F39-8D42-4D8D4E384834}" dt="2023-06-09T07:12:11.042" v="893" actId="1038"/>
          <ac:spMkLst>
            <pc:docMk/>
            <pc:sldMk cId="1334609418" sldId="2145707128"/>
            <ac:spMk id="28" creationId="{EE54555B-DAE3-3838-BFF6-DBC92FD7B56C}"/>
          </ac:spMkLst>
        </pc:spChg>
        <pc:spChg chg="mod">
          <ac:chgData name="Sheng, Yanan" userId="a8f760e9-50c6-421d-9788-7991509e9b00" providerId="ADAL" clId="{CE83D114-1C90-4F39-8D42-4D8D4E384834}" dt="2023-06-09T07:12:11.042" v="893" actId="1038"/>
          <ac:spMkLst>
            <pc:docMk/>
            <pc:sldMk cId="1334609418" sldId="2145707128"/>
            <ac:spMk id="30" creationId="{2D2D537E-58B7-92DB-BFA8-02FD286E53BA}"/>
          </ac:spMkLst>
        </pc:spChg>
        <pc:spChg chg="mod">
          <ac:chgData name="Sheng, Yanan" userId="a8f760e9-50c6-421d-9788-7991509e9b00" providerId="ADAL" clId="{CE83D114-1C90-4F39-8D42-4D8D4E384834}" dt="2023-06-09T07:12:11.042" v="893" actId="1038"/>
          <ac:spMkLst>
            <pc:docMk/>
            <pc:sldMk cId="1334609418" sldId="2145707128"/>
            <ac:spMk id="31" creationId="{4DB39B2F-CC22-3A3C-4B69-9465A01FDD6D}"/>
          </ac:spMkLst>
        </pc:spChg>
        <pc:spChg chg="mod">
          <ac:chgData name="Sheng, Yanan" userId="a8f760e9-50c6-421d-9788-7991509e9b00" providerId="ADAL" clId="{CE83D114-1C90-4F39-8D42-4D8D4E384834}" dt="2023-06-09T07:12:11.042" v="893" actId="1038"/>
          <ac:spMkLst>
            <pc:docMk/>
            <pc:sldMk cId="1334609418" sldId="2145707128"/>
            <ac:spMk id="32" creationId="{5AE56B01-5C6A-17E6-90AA-5440D800147C}"/>
          </ac:spMkLst>
        </pc:spChg>
        <pc:spChg chg="mod">
          <ac:chgData name="Sheng, Yanan" userId="a8f760e9-50c6-421d-9788-7991509e9b00" providerId="ADAL" clId="{CE83D114-1C90-4F39-8D42-4D8D4E384834}" dt="2023-06-09T07:08:21.657" v="830"/>
          <ac:spMkLst>
            <pc:docMk/>
            <pc:sldMk cId="1334609418" sldId="2145707128"/>
            <ac:spMk id="34" creationId="{C1D8CF2E-796A-BB89-9787-35508BFCB7F5}"/>
          </ac:spMkLst>
        </pc:spChg>
        <pc:spChg chg="mod">
          <ac:chgData name="Sheng, Yanan" userId="a8f760e9-50c6-421d-9788-7991509e9b00" providerId="ADAL" clId="{CE83D114-1C90-4F39-8D42-4D8D4E384834}" dt="2023-06-09T07:08:21.657" v="830"/>
          <ac:spMkLst>
            <pc:docMk/>
            <pc:sldMk cId="1334609418" sldId="2145707128"/>
            <ac:spMk id="35" creationId="{7DC5552E-7F2B-E25B-C982-40951A5EDB57}"/>
          </ac:spMkLst>
        </pc:spChg>
        <pc:spChg chg="mod">
          <ac:chgData name="Sheng, Yanan" userId="a8f760e9-50c6-421d-9788-7991509e9b00" providerId="ADAL" clId="{CE83D114-1C90-4F39-8D42-4D8D4E384834}" dt="2023-06-09T07:08:21.657" v="830"/>
          <ac:spMkLst>
            <pc:docMk/>
            <pc:sldMk cId="1334609418" sldId="2145707128"/>
            <ac:spMk id="36" creationId="{8F66B132-4DF0-12EC-C1FF-0BDE05D4CFF9}"/>
          </ac:spMkLst>
        </pc:spChg>
        <pc:spChg chg="mod">
          <ac:chgData name="Sheng, Yanan" userId="a8f760e9-50c6-421d-9788-7991509e9b00" providerId="ADAL" clId="{CE83D114-1C90-4F39-8D42-4D8D4E384834}" dt="2023-06-09T07:08:21.657" v="830"/>
          <ac:spMkLst>
            <pc:docMk/>
            <pc:sldMk cId="1334609418" sldId="2145707128"/>
            <ac:spMk id="37" creationId="{E3802B01-8A41-9744-98F4-62B8A88C5087}"/>
          </ac:spMkLst>
        </pc:spChg>
        <pc:spChg chg="mod">
          <ac:chgData name="Sheng, Yanan" userId="a8f760e9-50c6-421d-9788-7991509e9b00" providerId="ADAL" clId="{CE83D114-1C90-4F39-8D42-4D8D4E384834}" dt="2023-06-09T07:08:21.657" v="830"/>
          <ac:spMkLst>
            <pc:docMk/>
            <pc:sldMk cId="1334609418" sldId="2145707128"/>
            <ac:spMk id="38" creationId="{76AEC56D-6836-CB58-9A1F-783E2E898C8F}"/>
          </ac:spMkLst>
        </pc:spChg>
        <pc:spChg chg="mod">
          <ac:chgData name="Sheng, Yanan" userId="a8f760e9-50c6-421d-9788-7991509e9b00" providerId="ADAL" clId="{CE83D114-1C90-4F39-8D42-4D8D4E384834}" dt="2023-06-09T07:08:21.657" v="830"/>
          <ac:spMkLst>
            <pc:docMk/>
            <pc:sldMk cId="1334609418" sldId="2145707128"/>
            <ac:spMk id="39" creationId="{B6874FAF-3DBD-CA93-AC8F-86F41F3E9FE1}"/>
          </ac:spMkLst>
        </pc:spChg>
        <pc:spChg chg="del">
          <ac:chgData name="Sheng, Yanan" userId="a8f760e9-50c6-421d-9788-7991509e9b00" providerId="ADAL" clId="{CE83D114-1C90-4F39-8D42-4D8D4E384834}" dt="2023-06-09T06:46:23.021" v="254" actId="478"/>
          <ac:spMkLst>
            <pc:docMk/>
            <pc:sldMk cId="1334609418" sldId="2145707128"/>
            <ac:spMk id="40" creationId="{F51D6F2E-8680-4B74-9243-869E09234559}"/>
          </ac:spMkLst>
        </pc:spChg>
        <pc:spChg chg="mod">
          <ac:chgData name="Sheng, Yanan" userId="a8f760e9-50c6-421d-9788-7991509e9b00" providerId="ADAL" clId="{CE83D114-1C90-4F39-8D42-4D8D4E384834}" dt="2023-06-09T07:08:21.657" v="830"/>
          <ac:spMkLst>
            <pc:docMk/>
            <pc:sldMk cId="1334609418" sldId="2145707128"/>
            <ac:spMk id="41" creationId="{8D4604E6-B43F-5C52-262E-5ACE538FF20B}"/>
          </ac:spMkLst>
        </pc:spChg>
        <pc:spChg chg="del">
          <ac:chgData name="Sheng, Yanan" userId="a8f760e9-50c6-421d-9788-7991509e9b00" providerId="ADAL" clId="{CE83D114-1C90-4F39-8D42-4D8D4E384834}" dt="2023-06-09T06:46:26.156" v="255" actId="478"/>
          <ac:spMkLst>
            <pc:docMk/>
            <pc:sldMk cId="1334609418" sldId="2145707128"/>
            <ac:spMk id="42" creationId="{57E3FA42-9AEE-46A5-85E4-92040BFF341B}"/>
          </ac:spMkLst>
        </pc:spChg>
        <pc:spChg chg="mod">
          <ac:chgData name="Sheng, Yanan" userId="a8f760e9-50c6-421d-9788-7991509e9b00" providerId="ADAL" clId="{CE83D114-1C90-4F39-8D42-4D8D4E384834}" dt="2023-06-09T07:08:21.657" v="830"/>
          <ac:spMkLst>
            <pc:docMk/>
            <pc:sldMk cId="1334609418" sldId="2145707128"/>
            <ac:spMk id="43" creationId="{E2B33403-673B-BDFB-BE51-49946A873ADD}"/>
          </ac:spMkLst>
        </pc:spChg>
        <pc:spChg chg="mod">
          <ac:chgData name="Sheng, Yanan" userId="a8f760e9-50c6-421d-9788-7991509e9b00" providerId="ADAL" clId="{CE83D114-1C90-4F39-8D42-4D8D4E384834}" dt="2023-06-09T07:08:21.657" v="830"/>
          <ac:spMkLst>
            <pc:docMk/>
            <pc:sldMk cId="1334609418" sldId="2145707128"/>
            <ac:spMk id="44" creationId="{18A1F905-C75C-2622-3639-345715E5C9DC}"/>
          </ac:spMkLst>
        </pc:spChg>
        <pc:spChg chg="mod">
          <ac:chgData name="Sheng, Yanan" userId="a8f760e9-50c6-421d-9788-7991509e9b00" providerId="ADAL" clId="{CE83D114-1C90-4F39-8D42-4D8D4E384834}" dt="2023-06-09T07:08:21.657" v="830"/>
          <ac:spMkLst>
            <pc:docMk/>
            <pc:sldMk cId="1334609418" sldId="2145707128"/>
            <ac:spMk id="45" creationId="{8692B5BD-6383-DA75-4B7E-E82182087B61}"/>
          </ac:spMkLst>
        </pc:spChg>
        <pc:spChg chg="mod">
          <ac:chgData name="Sheng, Yanan" userId="a8f760e9-50c6-421d-9788-7991509e9b00" providerId="ADAL" clId="{CE83D114-1C90-4F39-8D42-4D8D4E384834}" dt="2023-06-09T07:08:21.657" v="830"/>
          <ac:spMkLst>
            <pc:docMk/>
            <pc:sldMk cId="1334609418" sldId="2145707128"/>
            <ac:spMk id="46" creationId="{CD19382F-52AB-F38E-5707-06ED837015A4}"/>
          </ac:spMkLst>
        </pc:spChg>
        <pc:spChg chg="mod">
          <ac:chgData name="Sheng, Yanan" userId="a8f760e9-50c6-421d-9788-7991509e9b00" providerId="ADAL" clId="{CE83D114-1C90-4F39-8D42-4D8D4E384834}" dt="2023-06-09T07:08:21.657" v="830"/>
          <ac:spMkLst>
            <pc:docMk/>
            <pc:sldMk cId="1334609418" sldId="2145707128"/>
            <ac:spMk id="47" creationId="{942043E6-AABF-BF6A-17B1-E0A8DC71B47A}"/>
          </ac:spMkLst>
        </pc:spChg>
        <pc:spChg chg="mod">
          <ac:chgData name="Sheng, Yanan" userId="a8f760e9-50c6-421d-9788-7991509e9b00" providerId="ADAL" clId="{CE83D114-1C90-4F39-8D42-4D8D4E384834}" dt="2023-06-09T07:08:21.657" v="830"/>
          <ac:spMkLst>
            <pc:docMk/>
            <pc:sldMk cId="1334609418" sldId="2145707128"/>
            <ac:spMk id="48" creationId="{DA226915-CF9E-1D89-EA0C-763E22DC1D22}"/>
          </ac:spMkLst>
        </pc:spChg>
        <pc:spChg chg="mod">
          <ac:chgData name="Sheng, Yanan" userId="a8f760e9-50c6-421d-9788-7991509e9b00" providerId="ADAL" clId="{CE83D114-1C90-4F39-8D42-4D8D4E384834}" dt="2023-06-09T07:08:21.657" v="830"/>
          <ac:spMkLst>
            <pc:docMk/>
            <pc:sldMk cId="1334609418" sldId="2145707128"/>
            <ac:spMk id="49" creationId="{6D12B61B-6929-D18E-BA80-CB8D2BFC4B2B}"/>
          </ac:spMkLst>
        </pc:spChg>
        <pc:spChg chg="mod">
          <ac:chgData name="Sheng, Yanan" userId="a8f760e9-50c6-421d-9788-7991509e9b00" providerId="ADAL" clId="{CE83D114-1C90-4F39-8D42-4D8D4E384834}" dt="2023-06-09T07:08:21.657" v="830"/>
          <ac:spMkLst>
            <pc:docMk/>
            <pc:sldMk cId="1334609418" sldId="2145707128"/>
            <ac:spMk id="50" creationId="{B5AC711D-BAC7-45FC-042E-A4670A091381}"/>
          </ac:spMkLst>
        </pc:spChg>
        <pc:spChg chg="mod">
          <ac:chgData name="Sheng, Yanan" userId="a8f760e9-50c6-421d-9788-7991509e9b00" providerId="ADAL" clId="{CE83D114-1C90-4F39-8D42-4D8D4E384834}" dt="2023-06-09T07:08:21.657" v="830"/>
          <ac:spMkLst>
            <pc:docMk/>
            <pc:sldMk cId="1334609418" sldId="2145707128"/>
            <ac:spMk id="51" creationId="{162FF082-6998-A8A3-BF3A-349FB79410FE}"/>
          </ac:spMkLst>
        </pc:spChg>
        <pc:spChg chg="mod">
          <ac:chgData name="Sheng, Yanan" userId="a8f760e9-50c6-421d-9788-7991509e9b00" providerId="ADAL" clId="{CE83D114-1C90-4F39-8D42-4D8D4E384834}" dt="2023-06-09T07:08:21.657" v="830"/>
          <ac:spMkLst>
            <pc:docMk/>
            <pc:sldMk cId="1334609418" sldId="2145707128"/>
            <ac:spMk id="52" creationId="{E664A4BE-4F60-61CC-33AF-430C0F7F4957}"/>
          </ac:spMkLst>
        </pc:spChg>
        <pc:spChg chg="mod">
          <ac:chgData name="Sheng, Yanan" userId="a8f760e9-50c6-421d-9788-7991509e9b00" providerId="ADAL" clId="{CE83D114-1C90-4F39-8D42-4D8D4E384834}" dt="2023-06-09T07:08:21.657" v="830"/>
          <ac:spMkLst>
            <pc:docMk/>
            <pc:sldMk cId="1334609418" sldId="2145707128"/>
            <ac:spMk id="53" creationId="{EED6DC80-FB95-EDE0-9EF0-0CE24D8708B7}"/>
          </ac:spMkLst>
        </pc:spChg>
        <pc:spChg chg="mod">
          <ac:chgData name="Sheng, Yanan" userId="a8f760e9-50c6-421d-9788-7991509e9b00" providerId="ADAL" clId="{CE83D114-1C90-4F39-8D42-4D8D4E384834}" dt="2023-06-09T07:08:21.657" v="830"/>
          <ac:spMkLst>
            <pc:docMk/>
            <pc:sldMk cId="1334609418" sldId="2145707128"/>
            <ac:spMk id="54" creationId="{CF4DA3BB-F462-936E-9645-BF4C0F144556}"/>
          </ac:spMkLst>
        </pc:spChg>
        <pc:spChg chg="mod">
          <ac:chgData name="Sheng, Yanan" userId="a8f760e9-50c6-421d-9788-7991509e9b00" providerId="ADAL" clId="{CE83D114-1C90-4F39-8D42-4D8D4E384834}" dt="2023-06-09T07:14:27.190" v="947" actId="14100"/>
          <ac:spMkLst>
            <pc:docMk/>
            <pc:sldMk cId="1334609418" sldId="2145707128"/>
            <ac:spMk id="55" creationId="{C38ACF46-577A-4DDA-BD16-40764B317AE5}"/>
          </ac:spMkLst>
        </pc:spChg>
        <pc:spChg chg="mod">
          <ac:chgData name="Sheng, Yanan" userId="a8f760e9-50c6-421d-9788-7991509e9b00" providerId="ADAL" clId="{CE83D114-1C90-4F39-8D42-4D8D4E384834}" dt="2023-06-14T05:37:57.427" v="1831" actId="20577"/>
          <ac:spMkLst>
            <pc:docMk/>
            <pc:sldMk cId="1334609418" sldId="2145707128"/>
            <ac:spMk id="56" creationId="{12BE8534-E3CA-4FAD-820D-814DE459AB5D}"/>
          </ac:spMkLst>
        </pc:spChg>
        <pc:spChg chg="mod">
          <ac:chgData name="Sheng, Yanan" userId="a8f760e9-50c6-421d-9788-7991509e9b00" providerId="ADAL" clId="{CE83D114-1C90-4F39-8D42-4D8D4E384834}" dt="2023-06-09T07:08:21.657" v="830"/>
          <ac:spMkLst>
            <pc:docMk/>
            <pc:sldMk cId="1334609418" sldId="2145707128"/>
            <ac:spMk id="57" creationId="{761BC964-18D0-E776-6085-927D295C5215}"/>
          </ac:spMkLst>
        </pc:spChg>
        <pc:spChg chg="mod">
          <ac:chgData name="Sheng, Yanan" userId="a8f760e9-50c6-421d-9788-7991509e9b00" providerId="ADAL" clId="{CE83D114-1C90-4F39-8D42-4D8D4E384834}" dt="2023-06-14T05:37:39.295" v="1818" actId="20577"/>
          <ac:spMkLst>
            <pc:docMk/>
            <pc:sldMk cId="1334609418" sldId="2145707128"/>
            <ac:spMk id="58" creationId="{9812CC02-5746-4E05-8EF9-8BB8A7434F34}"/>
          </ac:spMkLst>
        </pc:spChg>
        <pc:spChg chg="mod">
          <ac:chgData name="Sheng, Yanan" userId="a8f760e9-50c6-421d-9788-7991509e9b00" providerId="ADAL" clId="{CE83D114-1C90-4F39-8D42-4D8D4E384834}" dt="2023-07-02T10:16:41.444" v="6342" actId="108"/>
          <ac:spMkLst>
            <pc:docMk/>
            <pc:sldMk cId="1334609418" sldId="2145707128"/>
            <ac:spMk id="59" creationId="{C4277649-E801-40F4-B5EF-D7D92DD18879}"/>
          </ac:spMkLst>
        </pc:spChg>
        <pc:spChg chg="mod">
          <ac:chgData name="Sheng, Yanan" userId="a8f760e9-50c6-421d-9788-7991509e9b00" providerId="ADAL" clId="{CE83D114-1C90-4F39-8D42-4D8D4E384834}" dt="2023-06-09T07:08:21.657" v="830"/>
          <ac:spMkLst>
            <pc:docMk/>
            <pc:sldMk cId="1334609418" sldId="2145707128"/>
            <ac:spMk id="60" creationId="{FC0A373D-40E1-78EF-F725-4C35D7C22C23}"/>
          </ac:spMkLst>
        </pc:spChg>
        <pc:spChg chg="mod">
          <ac:chgData name="Sheng, Yanan" userId="a8f760e9-50c6-421d-9788-7991509e9b00" providerId="ADAL" clId="{CE83D114-1C90-4F39-8D42-4D8D4E384834}" dt="2023-06-09T07:08:21.657" v="830"/>
          <ac:spMkLst>
            <pc:docMk/>
            <pc:sldMk cId="1334609418" sldId="2145707128"/>
            <ac:spMk id="61" creationId="{F9901A8D-C8B2-D64E-9836-8C7B1114693F}"/>
          </ac:spMkLst>
        </pc:spChg>
        <pc:spChg chg="mod">
          <ac:chgData name="Sheng, Yanan" userId="a8f760e9-50c6-421d-9788-7991509e9b00" providerId="ADAL" clId="{CE83D114-1C90-4F39-8D42-4D8D4E384834}" dt="2023-06-09T06:49:50.167" v="329" actId="1076"/>
          <ac:spMkLst>
            <pc:docMk/>
            <pc:sldMk cId="1334609418" sldId="2145707128"/>
            <ac:spMk id="62" creationId="{ECE07BA7-EDFE-47AB-A909-F88886C40D4B}"/>
          </ac:spMkLst>
        </pc:spChg>
        <pc:spChg chg="mod">
          <ac:chgData name="Sheng, Yanan" userId="a8f760e9-50c6-421d-9788-7991509e9b00" providerId="ADAL" clId="{CE83D114-1C90-4F39-8D42-4D8D4E384834}" dt="2023-06-09T07:08:21.657" v="830"/>
          <ac:spMkLst>
            <pc:docMk/>
            <pc:sldMk cId="1334609418" sldId="2145707128"/>
            <ac:spMk id="63" creationId="{D4AB9107-EE80-20C9-8A39-3AB6706ED30D}"/>
          </ac:spMkLst>
        </pc:spChg>
        <pc:spChg chg="mod">
          <ac:chgData name="Sheng, Yanan" userId="a8f760e9-50c6-421d-9788-7991509e9b00" providerId="ADAL" clId="{CE83D114-1C90-4F39-8D42-4D8D4E384834}" dt="2023-06-09T07:08:21.657" v="830"/>
          <ac:spMkLst>
            <pc:docMk/>
            <pc:sldMk cId="1334609418" sldId="2145707128"/>
            <ac:spMk id="65" creationId="{ABC52C36-ECFD-C0C2-8E7A-26B4D4DDBA8E}"/>
          </ac:spMkLst>
        </pc:spChg>
        <pc:spChg chg="mod">
          <ac:chgData name="Sheng, Yanan" userId="a8f760e9-50c6-421d-9788-7991509e9b00" providerId="ADAL" clId="{CE83D114-1C90-4F39-8D42-4D8D4E384834}" dt="2023-06-09T07:08:21.657" v="830"/>
          <ac:spMkLst>
            <pc:docMk/>
            <pc:sldMk cId="1334609418" sldId="2145707128"/>
            <ac:spMk id="66" creationId="{BA54CF1C-053D-3B54-A91D-5114B6B93911}"/>
          </ac:spMkLst>
        </pc:spChg>
        <pc:spChg chg="mod">
          <ac:chgData name="Sheng, Yanan" userId="a8f760e9-50c6-421d-9788-7991509e9b00" providerId="ADAL" clId="{CE83D114-1C90-4F39-8D42-4D8D4E384834}" dt="2023-06-09T07:08:21.657" v="830"/>
          <ac:spMkLst>
            <pc:docMk/>
            <pc:sldMk cId="1334609418" sldId="2145707128"/>
            <ac:spMk id="67" creationId="{287B28E0-7352-8D99-B9A7-833D9A555FFC}"/>
          </ac:spMkLst>
        </pc:spChg>
        <pc:spChg chg="mod">
          <ac:chgData name="Sheng, Yanan" userId="a8f760e9-50c6-421d-9788-7991509e9b00" providerId="ADAL" clId="{CE83D114-1C90-4F39-8D42-4D8D4E384834}" dt="2023-06-09T07:08:21.657" v="830"/>
          <ac:spMkLst>
            <pc:docMk/>
            <pc:sldMk cId="1334609418" sldId="2145707128"/>
            <ac:spMk id="68" creationId="{BCA53E82-FFA4-D060-49F0-3B191E38592A}"/>
          </ac:spMkLst>
        </pc:spChg>
        <pc:spChg chg="mod">
          <ac:chgData name="Sheng, Yanan" userId="a8f760e9-50c6-421d-9788-7991509e9b00" providerId="ADAL" clId="{CE83D114-1C90-4F39-8D42-4D8D4E384834}" dt="2023-06-09T07:08:21.657" v="830"/>
          <ac:spMkLst>
            <pc:docMk/>
            <pc:sldMk cId="1334609418" sldId="2145707128"/>
            <ac:spMk id="69" creationId="{AAF658D3-7BAA-FBD4-0744-73A8483A9689}"/>
          </ac:spMkLst>
        </pc:spChg>
        <pc:spChg chg="mod">
          <ac:chgData name="Sheng, Yanan" userId="a8f760e9-50c6-421d-9788-7991509e9b00" providerId="ADAL" clId="{CE83D114-1C90-4F39-8D42-4D8D4E384834}" dt="2023-06-09T06:43:32.819" v="206" actId="20577"/>
          <ac:spMkLst>
            <pc:docMk/>
            <pc:sldMk cId="1334609418" sldId="2145707128"/>
            <ac:spMk id="72" creationId="{6DBF9731-19ED-42D6-8263-4B40B5FFA90D}"/>
          </ac:spMkLst>
        </pc:spChg>
        <pc:spChg chg="mod">
          <ac:chgData name="Sheng, Yanan" userId="a8f760e9-50c6-421d-9788-7991509e9b00" providerId="ADAL" clId="{CE83D114-1C90-4F39-8D42-4D8D4E384834}" dt="2023-06-09T07:08:21.657" v="830"/>
          <ac:spMkLst>
            <pc:docMk/>
            <pc:sldMk cId="1334609418" sldId="2145707128"/>
            <ac:spMk id="74" creationId="{038F260E-CDF0-E115-BD89-3A7530546FE3}"/>
          </ac:spMkLst>
        </pc:spChg>
        <pc:spChg chg="mod">
          <ac:chgData name="Sheng, Yanan" userId="a8f760e9-50c6-421d-9788-7991509e9b00" providerId="ADAL" clId="{CE83D114-1C90-4F39-8D42-4D8D4E384834}" dt="2023-06-09T07:13:24.526" v="895" actId="947"/>
          <ac:spMkLst>
            <pc:docMk/>
            <pc:sldMk cId="1334609418" sldId="2145707128"/>
            <ac:spMk id="81" creationId="{8F3E38E8-0B94-4DFD-A42B-F2EBF6C5FEBD}"/>
          </ac:spMkLst>
        </pc:spChg>
        <pc:spChg chg="del">
          <ac:chgData name="Sheng, Yanan" userId="a8f760e9-50c6-421d-9788-7991509e9b00" providerId="ADAL" clId="{CE83D114-1C90-4F39-8D42-4D8D4E384834}" dt="2023-06-09T06:51:27.419" v="353" actId="478"/>
          <ac:spMkLst>
            <pc:docMk/>
            <pc:sldMk cId="1334609418" sldId="2145707128"/>
            <ac:spMk id="82" creationId="{7A54229F-55C7-487B-BFBD-7405E579E8E7}"/>
          </ac:spMkLst>
        </pc:spChg>
        <pc:spChg chg="mod">
          <ac:chgData name="Sheng, Yanan" userId="a8f760e9-50c6-421d-9788-7991509e9b00" providerId="ADAL" clId="{CE83D114-1C90-4F39-8D42-4D8D4E384834}" dt="2023-06-09T06:52:42.752" v="365" actId="1076"/>
          <ac:spMkLst>
            <pc:docMk/>
            <pc:sldMk cId="1334609418" sldId="2145707128"/>
            <ac:spMk id="84" creationId="{137FBAB5-4767-4BBC-BFD5-678C4CC3264A}"/>
          </ac:spMkLst>
        </pc:spChg>
        <pc:spChg chg="mod">
          <ac:chgData name="Sheng, Yanan" userId="a8f760e9-50c6-421d-9788-7991509e9b00" providerId="ADAL" clId="{CE83D114-1C90-4F39-8D42-4D8D4E384834}" dt="2023-06-09T06:52:42.752" v="365" actId="1076"/>
          <ac:spMkLst>
            <pc:docMk/>
            <pc:sldMk cId="1334609418" sldId="2145707128"/>
            <ac:spMk id="86" creationId="{7B6996AC-929E-41E3-B193-C9392FE080C3}"/>
          </ac:spMkLst>
        </pc:spChg>
        <pc:spChg chg="mod">
          <ac:chgData name="Sheng, Yanan" userId="a8f760e9-50c6-421d-9788-7991509e9b00" providerId="ADAL" clId="{CE83D114-1C90-4F39-8D42-4D8D4E384834}" dt="2023-06-09T06:52:42.752" v="365" actId="1076"/>
          <ac:spMkLst>
            <pc:docMk/>
            <pc:sldMk cId="1334609418" sldId="2145707128"/>
            <ac:spMk id="87" creationId="{832FBD5A-B953-4BEC-B40B-8F408F29D0BD}"/>
          </ac:spMkLst>
        </pc:spChg>
        <pc:spChg chg="mod">
          <ac:chgData name="Sheng, Yanan" userId="a8f760e9-50c6-421d-9788-7991509e9b00" providerId="ADAL" clId="{CE83D114-1C90-4F39-8D42-4D8D4E384834}" dt="2023-06-09T06:52:42.752" v="365" actId="1076"/>
          <ac:spMkLst>
            <pc:docMk/>
            <pc:sldMk cId="1334609418" sldId="2145707128"/>
            <ac:spMk id="114" creationId="{9D35CAF3-CDC1-4BB9-97F1-5A0AB58AC840}"/>
          </ac:spMkLst>
        </pc:spChg>
        <pc:spChg chg="mod">
          <ac:chgData name="Sheng, Yanan" userId="a8f760e9-50c6-421d-9788-7991509e9b00" providerId="ADAL" clId="{CE83D114-1C90-4F39-8D42-4D8D4E384834}" dt="2023-06-09T07:13:37.141" v="897" actId="947"/>
          <ac:spMkLst>
            <pc:docMk/>
            <pc:sldMk cId="1334609418" sldId="2145707128"/>
            <ac:spMk id="115" creationId="{E37193E4-1A4B-4592-9438-FCA03555F4E5}"/>
          </ac:spMkLst>
        </pc:spChg>
        <pc:spChg chg="mod">
          <ac:chgData name="Sheng, Yanan" userId="a8f760e9-50c6-421d-9788-7991509e9b00" providerId="ADAL" clId="{CE83D114-1C90-4F39-8D42-4D8D4E384834}" dt="2023-06-09T06:52:42.752" v="365" actId="1076"/>
          <ac:spMkLst>
            <pc:docMk/>
            <pc:sldMk cId="1334609418" sldId="2145707128"/>
            <ac:spMk id="119" creationId="{E8AC4AAD-FA2A-41C1-8FAE-D32E3BB7BAD1}"/>
          </ac:spMkLst>
        </pc:spChg>
        <pc:spChg chg="mod">
          <ac:chgData name="Sheng, Yanan" userId="a8f760e9-50c6-421d-9788-7991509e9b00" providerId="ADAL" clId="{CE83D114-1C90-4F39-8D42-4D8D4E384834}" dt="2023-06-09T06:52:42.752" v="365" actId="1076"/>
          <ac:spMkLst>
            <pc:docMk/>
            <pc:sldMk cId="1334609418" sldId="2145707128"/>
            <ac:spMk id="120" creationId="{6D8174B7-48F2-4FBC-B550-1C31D07A47F5}"/>
          </ac:spMkLst>
        </pc:spChg>
        <pc:spChg chg="mod">
          <ac:chgData name="Sheng, Yanan" userId="a8f760e9-50c6-421d-9788-7991509e9b00" providerId="ADAL" clId="{CE83D114-1C90-4F39-8D42-4D8D4E384834}" dt="2023-06-09T06:52:42.752" v="365" actId="1076"/>
          <ac:spMkLst>
            <pc:docMk/>
            <pc:sldMk cId="1334609418" sldId="2145707128"/>
            <ac:spMk id="121" creationId="{E5B9DCF5-53B9-4AD5-A82E-6E0BE928FC66}"/>
          </ac:spMkLst>
        </pc:spChg>
        <pc:spChg chg="del">
          <ac:chgData name="Sheng, Yanan" userId="a8f760e9-50c6-421d-9788-7991509e9b00" providerId="ADAL" clId="{CE83D114-1C90-4F39-8D42-4D8D4E384834}" dt="2023-06-09T06:51:16.503" v="350" actId="478"/>
          <ac:spMkLst>
            <pc:docMk/>
            <pc:sldMk cId="1334609418" sldId="2145707128"/>
            <ac:spMk id="127" creationId="{5FEE1137-8BD5-4288-A8EE-5E3ECF112349}"/>
          </ac:spMkLst>
        </pc:spChg>
        <pc:grpChg chg="add mod">
          <ac:chgData name="Sheng, Yanan" userId="a8f760e9-50c6-421d-9788-7991509e9b00" providerId="ADAL" clId="{CE83D114-1C90-4F39-8D42-4D8D4E384834}" dt="2023-06-09T06:52:42.752" v="365" actId="1076"/>
          <ac:grpSpMkLst>
            <pc:docMk/>
            <pc:sldMk cId="1334609418" sldId="2145707128"/>
            <ac:grpSpMk id="5" creationId="{20EC13E5-E1D2-1F65-BEB8-96C26CE83585}"/>
          </ac:grpSpMkLst>
        </pc:grpChg>
        <pc:grpChg chg="add del mod">
          <ac:chgData name="Sheng, Yanan" userId="a8f760e9-50c6-421d-9788-7991509e9b00" providerId="ADAL" clId="{CE83D114-1C90-4F39-8D42-4D8D4E384834}" dt="2023-06-09T06:47:59.282" v="275" actId="478"/>
          <ac:grpSpMkLst>
            <pc:docMk/>
            <pc:sldMk cId="1334609418" sldId="2145707128"/>
            <ac:grpSpMk id="10" creationId="{3429F367-2F85-4BBE-9CCA-847013864306}"/>
          </ac:grpSpMkLst>
        </pc:grpChg>
        <pc:grpChg chg="add del mod">
          <ac:chgData name="Sheng, Yanan" userId="a8f760e9-50c6-421d-9788-7991509e9b00" providerId="ADAL" clId="{CE83D114-1C90-4F39-8D42-4D8D4E384834}" dt="2023-06-09T07:06:52.234" v="802" actId="478"/>
          <ac:grpSpMkLst>
            <pc:docMk/>
            <pc:sldMk cId="1334609418" sldId="2145707128"/>
            <ac:grpSpMk id="15" creationId="{57E1BF8B-1179-7F00-4DA7-9F1BF8EE7161}"/>
          </ac:grpSpMkLst>
        </pc:grpChg>
        <pc:grpChg chg="add mod">
          <ac:chgData name="Sheng, Yanan" userId="a8f760e9-50c6-421d-9788-7991509e9b00" providerId="ADAL" clId="{CE83D114-1C90-4F39-8D42-4D8D4E384834}" dt="2023-06-09T07:12:11.042" v="893" actId="1038"/>
          <ac:grpSpMkLst>
            <pc:docMk/>
            <pc:sldMk cId="1334609418" sldId="2145707128"/>
            <ac:grpSpMk id="23" creationId="{2E6BA631-D914-C664-0314-7E0D571560BF}"/>
          </ac:grpSpMkLst>
        </pc:grpChg>
        <pc:grpChg chg="mod">
          <ac:chgData name="Sheng, Yanan" userId="a8f760e9-50c6-421d-9788-7991509e9b00" providerId="ADAL" clId="{CE83D114-1C90-4F39-8D42-4D8D4E384834}" dt="2023-06-09T07:12:11.042" v="893" actId="1038"/>
          <ac:grpSpMkLst>
            <pc:docMk/>
            <pc:sldMk cId="1334609418" sldId="2145707128"/>
            <ac:grpSpMk id="25" creationId="{219429A2-1C45-2F64-968C-F24BBF5C00CD}"/>
          </ac:grpSpMkLst>
        </pc:grpChg>
        <pc:grpChg chg="add del mod">
          <ac:chgData name="Sheng, Yanan" userId="a8f760e9-50c6-421d-9788-7991509e9b00" providerId="ADAL" clId="{CE83D114-1C90-4F39-8D42-4D8D4E384834}" dt="2023-06-20T09:42:03.490" v="2439" actId="478"/>
          <ac:grpSpMkLst>
            <pc:docMk/>
            <pc:sldMk cId="1334609418" sldId="2145707128"/>
            <ac:grpSpMk id="29" creationId="{5C9B89EF-397A-61CE-5B75-DD212EDFC070}"/>
          </ac:grpSpMkLst>
        </pc:grpChg>
        <pc:grpChg chg="add mod">
          <ac:chgData name="Sheng, Yanan" userId="a8f760e9-50c6-421d-9788-7991509e9b00" providerId="ADAL" clId="{CE83D114-1C90-4F39-8D42-4D8D4E384834}" dt="2023-06-20T09:32:32.260" v="2436" actId="1076"/>
          <ac:grpSpMkLst>
            <pc:docMk/>
            <pc:sldMk cId="1334609418" sldId="2145707128"/>
            <ac:grpSpMk id="33" creationId="{005E9606-1809-056F-7E1F-726B80D53C03}"/>
          </ac:grpSpMkLst>
        </pc:grpChg>
        <pc:grpChg chg="mod">
          <ac:chgData name="Sheng, Yanan" userId="a8f760e9-50c6-421d-9788-7991509e9b00" providerId="ADAL" clId="{CE83D114-1C90-4F39-8D42-4D8D4E384834}" dt="2023-06-09T06:52:42.752" v="365" actId="1076"/>
          <ac:grpSpMkLst>
            <pc:docMk/>
            <pc:sldMk cId="1334609418" sldId="2145707128"/>
            <ac:grpSpMk id="83" creationId="{0510174A-D397-4B0C-8435-C00AD2BB130E}"/>
          </ac:grpSpMkLst>
        </pc:grpChg>
        <pc:grpChg chg="mod">
          <ac:chgData name="Sheng, Yanan" userId="a8f760e9-50c6-421d-9788-7991509e9b00" providerId="ADAL" clId="{CE83D114-1C90-4F39-8D42-4D8D4E384834}" dt="2023-06-09T06:52:42.752" v="365" actId="1076"/>
          <ac:grpSpMkLst>
            <pc:docMk/>
            <pc:sldMk cId="1334609418" sldId="2145707128"/>
            <ac:grpSpMk id="85" creationId="{53748144-8BC2-4520-A2C7-494AF10BDD28}"/>
          </ac:grpSpMkLst>
        </pc:grpChg>
        <pc:grpChg chg="mod">
          <ac:chgData name="Sheng, Yanan" userId="a8f760e9-50c6-421d-9788-7991509e9b00" providerId="ADAL" clId="{CE83D114-1C90-4F39-8D42-4D8D4E384834}" dt="2023-06-09T06:52:42.752" v="365" actId="1076"/>
          <ac:grpSpMkLst>
            <pc:docMk/>
            <pc:sldMk cId="1334609418" sldId="2145707128"/>
            <ac:grpSpMk id="116" creationId="{43E1B121-E33A-4296-9D74-FE8D7899FB42}"/>
          </ac:grpSpMkLst>
        </pc:grpChg>
        <pc:grpChg chg="mod">
          <ac:chgData name="Sheng, Yanan" userId="a8f760e9-50c6-421d-9788-7991509e9b00" providerId="ADAL" clId="{CE83D114-1C90-4F39-8D42-4D8D4E384834}" dt="2023-06-09T06:52:42.752" v="365" actId="1076"/>
          <ac:grpSpMkLst>
            <pc:docMk/>
            <pc:sldMk cId="1334609418" sldId="2145707128"/>
            <ac:grpSpMk id="118" creationId="{DDA58564-59D2-475E-802D-E49EA36477D1}"/>
          </ac:grpSpMkLst>
        </pc:grpChg>
        <pc:grpChg chg="del mod">
          <ac:chgData name="Sheng, Yanan" userId="a8f760e9-50c6-421d-9788-7991509e9b00" providerId="ADAL" clId="{CE83D114-1C90-4F39-8D42-4D8D4E384834}" dt="2023-06-09T06:51:15.650" v="349" actId="478"/>
          <ac:grpSpMkLst>
            <pc:docMk/>
            <pc:sldMk cId="1334609418" sldId="2145707128"/>
            <ac:grpSpMk id="128" creationId="{3429F367-2F85-4BBE-9CCA-847013864306}"/>
          </ac:grpSpMkLst>
        </pc:grpChg>
        <pc:graphicFrameChg chg="del">
          <ac:chgData name="Sheng, Yanan" userId="a8f760e9-50c6-421d-9788-7991509e9b00" providerId="ADAL" clId="{CE83D114-1C90-4F39-8D42-4D8D4E384834}" dt="2023-06-09T06:46:26.156" v="255" actId="478"/>
          <ac:graphicFrameMkLst>
            <pc:docMk/>
            <pc:sldMk cId="1334609418" sldId="2145707128"/>
            <ac:graphicFrameMk id="2" creationId="{341126C4-A4B4-42B7-8982-70928078B2C9}"/>
          </ac:graphicFrameMkLst>
        </pc:graphicFrameChg>
        <pc:graphicFrameChg chg="add del mod modGraphic">
          <ac:chgData name="Sheng, Yanan" userId="a8f760e9-50c6-421d-9788-7991509e9b00" providerId="ADAL" clId="{CE83D114-1C90-4F39-8D42-4D8D4E384834}" dt="2023-06-09T07:05:41.550" v="783" actId="478"/>
          <ac:graphicFrameMkLst>
            <pc:docMk/>
            <pc:sldMk cId="1334609418" sldId="2145707128"/>
            <ac:graphicFrameMk id="14" creationId="{F950ED5F-949B-479C-B61A-1653E0F9F80C}"/>
          </ac:graphicFrameMkLst>
        </pc:graphicFrameChg>
        <pc:graphicFrameChg chg="add mod modGraphic">
          <ac:chgData name="Sheng, Yanan" userId="a8f760e9-50c6-421d-9788-7991509e9b00" providerId="ADAL" clId="{CE83D114-1C90-4F39-8D42-4D8D4E384834}" dt="2023-06-20T09:32:28.070" v="2435"/>
          <ac:graphicFrameMkLst>
            <pc:docMk/>
            <pc:sldMk cId="1334609418" sldId="2145707128"/>
            <ac:graphicFrameMk id="21" creationId="{FA6EAA89-ACB0-7354-52FA-6B3B3F261AD6}"/>
          </ac:graphicFrameMkLst>
        </pc:graphicFrameChg>
        <pc:graphicFrameChg chg="mod">
          <ac:chgData name="Sheng, Yanan" userId="a8f760e9-50c6-421d-9788-7991509e9b00" providerId="ADAL" clId="{CE83D114-1C90-4F39-8D42-4D8D4E384834}" dt="2023-06-09T06:52:42.752" v="365" actId="1076"/>
          <ac:graphicFrameMkLst>
            <pc:docMk/>
            <pc:sldMk cId="1334609418" sldId="2145707128"/>
            <ac:graphicFrameMk id="117" creationId="{959411DD-9D6E-4F36-839C-947A1938F717}"/>
          </ac:graphicFrameMkLst>
        </pc:graphicFrameChg>
        <pc:picChg chg="add del mod">
          <ac:chgData name="Sheng, Yanan" userId="a8f760e9-50c6-421d-9788-7991509e9b00" providerId="ADAL" clId="{CE83D114-1C90-4F39-8D42-4D8D4E384834}" dt="2023-06-20T09:43:52.538" v="2443" actId="478"/>
          <ac:picMkLst>
            <pc:docMk/>
            <pc:sldMk cId="1334609418" sldId="2145707128"/>
            <ac:picMk id="2" creationId="{DE915C20-E821-AA77-3F94-A7D0A4345755}"/>
          </ac:picMkLst>
        </pc:picChg>
        <pc:picChg chg="del mod topLvl">
          <ac:chgData name="Sheng, Yanan" userId="a8f760e9-50c6-421d-9788-7991509e9b00" providerId="ADAL" clId="{CE83D114-1C90-4F39-8D42-4D8D4E384834}" dt="2023-06-09T07:06:52.234" v="802" actId="478"/>
          <ac:picMkLst>
            <pc:docMk/>
            <pc:sldMk cId="1334609418" sldId="2145707128"/>
            <ac:picMk id="17" creationId="{DA5682E6-E1DE-6B9B-EFBD-10887565DFE6}"/>
          </ac:picMkLst>
        </pc:picChg>
      </pc:sldChg>
      <pc:sldChg chg="addSp delSp modSp mod">
        <pc:chgData name="Sheng, Yanan" userId="a8f760e9-50c6-421d-9788-7991509e9b00" providerId="ADAL" clId="{CE83D114-1C90-4F39-8D42-4D8D4E384834}" dt="2023-07-02T08:24:45.919" v="5322" actId="20577"/>
        <pc:sldMkLst>
          <pc:docMk/>
          <pc:sldMk cId="712140339" sldId="2145707129"/>
        </pc:sldMkLst>
        <pc:spChg chg="add del">
          <ac:chgData name="Sheng, Yanan" userId="a8f760e9-50c6-421d-9788-7991509e9b00" providerId="ADAL" clId="{CE83D114-1C90-4F39-8D42-4D8D4E384834}" dt="2023-06-14T03:01:21.900" v="988"/>
          <ac:spMkLst>
            <pc:docMk/>
            <pc:sldMk cId="712140339" sldId="2145707129"/>
            <ac:spMk id="2" creationId="{F5BADD4D-002C-30CF-E30F-BBF2FE3629B3}"/>
          </ac:spMkLst>
        </pc:spChg>
        <pc:spChg chg="mod">
          <ac:chgData name="Sheng, Yanan" userId="a8f760e9-50c6-421d-9788-7991509e9b00" providerId="ADAL" clId="{CE83D114-1C90-4F39-8D42-4D8D4E384834}" dt="2023-07-02T07:21:51.506" v="5096" actId="108"/>
          <ac:spMkLst>
            <pc:docMk/>
            <pc:sldMk cId="712140339" sldId="2145707129"/>
            <ac:spMk id="11" creationId="{F96EFBFF-67EB-43A1-B3BC-A98BCE0F49C9}"/>
          </ac:spMkLst>
        </pc:spChg>
        <pc:spChg chg="mod">
          <ac:chgData name="Sheng, Yanan" userId="a8f760e9-50c6-421d-9788-7991509e9b00" providerId="ADAL" clId="{CE83D114-1C90-4F39-8D42-4D8D4E384834}" dt="2023-06-30T09:14:27.181" v="3327" actId="1076"/>
          <ac:spMkLst>
            <pc:docMk/>
            <pc:sldMk cId="712140339" sldId="2145707129"/>
            <ac:spMk id="21" creationId="{1665824D-4315-4CB2-81A1-B0643683E1C0}"/>
          </ac:spMkLst>
        </pc:spChg>
        <pc:spChg chg="mod">
          <ac:chgData name="Sheng, Yanan" userId="a8f760e9-50c6-421d-9788-7991509e9b00" providerId="ADAL" clId="{CE83D114-1C90-4F39-8D42-4D8D4E384834}" dt="2023-07-02T08:22:22.159" v="5202" actId="207"/>
          <ac:spMkLst>
            <pc:docMk/>
            <pc:sldMk cId="712140339" sldId="2145707129"/>
            <ac:spMk id="22" creationId="{5F530736-32AD-42C7-B3FC-79FE10B74A3A}"/>
          </ac:spMkLst>
        </pc:spChg>
        <pc:spChg chg="mod">
          <ac:chgData name="Sheng, Yanan" userId="a8f760e9-50c6-421d-9788-7991509e9b00" providerId="ADAL" clId="{CE83D114-1C90-4F39-8D42-4D8D4E384834}" dt="2023-07-02T08:24:45.919" v="5322" actId="20577"/>
          <ac:spMkLst>
            <pc:docMk/>
            <pc:sldMk cId="712140339" sldId="2145707129"/>
            <ac:spMk id="23" creationId="{C42D7144-9BCF-4A34-80A9-B62CD682B103}"/>
          </ac:spMkLst>
        </pc:spChg>
        <pc:spChg chg="mod">
          <ac:chgData name="Sheng, Yanan" userId="a8f760e9-50c6-421d-9788-7991509e9b00" providerId="ADAL" clId="{CE83D114-1C90-4F39-8D42-4D8D4E384834}" dt="2023-06-30T09:51:04.291" v="4186" actId="207"/>
          <ac:spMkLst>
            <pc:docMk/>
            <pc:sldMk cId="712140339" sldId="2145707129"/>
            <ac:spMk id="54" creationId="{A7130905-FFC5-42DD-88DE-E75F9483819E}"/>
          </ac:spMkLst>
        </pc:spChg>
        <pc:grpChg chg="mod">
          <ac:chgData name="Sheng, Yanan" userId="a8f760e9-50c6-421d-9788-7991509e9b00" providerId="ADAL" clId="{CE83D114-1C90-4F39-8D42-4D8D4E384834}" dt="2023-07-02T06:29:41.022" v="4492" actId="1038"/>
          <ac:grpSpMkLst>
            <pc:docMk/>
            <pc:sldMk cId="712140339" sldId="2145707129"/>
            <ac:grpSpMk id="4" creationId="{A0C76D40-4439-4470-91A5-4BC833C93F44}"/>
          </ac:grpSpMkLst>
        </pc:grpChg>
      </pc:sldChg>
      <pc:sldChg chg="addSp delSp modSp new mod">
        <pc:chgData name="Sheng, Yanan" userId="a8f760e9-50c6-421d-9788-7991509e9b00" providerId="ADAL" clId="{CE83D114-1C90-4F39-8D42-4D8D4E384834}" dt="2023-07-02T10:12:29.384" v="6327" actId="207"/>
        <pc:sldMkLst>
          <pc:docMk/>
          <pc:sldMk cId="513165850" sldId="2145707130"/>
        </pc:sldMkLst>
        <pc:spChg chg="del mod">
          <ac:chgData name="Sheng, Yanan" userId="a8f760e9-50c6-421d-9788-7991509e9b00" providerId="ADAL" clId="{CE83D114-1C90-4F39-8D42-4D8D4E384834}" dt="2023-07-02T09:37:30.374" v="6009" actId="478"/>
          <ac:spMkLst>
            <pc:docMk/>
            <pc:sldMk cId="513165850" sldId="2145707130"/>
            <ac:spMk id="2" creationId="{699746F7-81B9-F5AD-7657-D66F6B61DAB7}"/>
          </ac:spMkLst>
        </pc:spChg>
        <pc:spChg chg="del">
          <ac:chgData name="Sheng, Yanan" userId="a8f760e9-50c6-421d-9788-7991509e9b00" providerId="ADAL" clId="{CE83D114-1C90-4F39-8D42-4D8D4E384834}" dt="2023-07-02T09:31:34.378" v="5927" actId="478"/>
          <ac:spMkLst>
            <pc:docMk/>
            <pc:sldMk cId="513165850" sldId="2145707130"/>
            <ac:spMk id="3" creationId="{09F91CC8-B44D-038A-6AB0-1D63B9695089}"/>
          </ac:spMkLst>
        </pc:spChg>
        <pc:spChg chg="del">
          <ac:chgData name="Sheng, Yanan" userId="a8f760e9-50c6-421d-9788-7991509e9b00" providerId="ADAL" clId="{CE83D114-1C90-4F39-8D42-4D8D4E384834}" dt="2023-07-02T09:31:34.378" v="5927" actId="478"/>
          <ac:spMkLst>
            <pc:docMk/>
            <pc:sldMk cId="513165850" sldId="2145707130"/>
            <ac:spMk id="4" creationId="{73866AB1-40B0-32F2-9AEC-5513EB5B10C2}"/>
          </ac:spMkLst>
        </pc:spChg>
        <pc:spChg chg="del">
          <ac:chgData name="Sheng, Yanan" userId="a8f760e9-50c6-421d-9788-7991509e9b00" providerId="ADAL" clId="{CE83D114-1C90-4F39-8D42-4D8D4E384834}" dt="2023-07-02T09:31:34.378" v="5927" actId="478"/>
          <ac:spMkLst>
            <pc:docMk/>
            <pc:sldMk cId="513165850" sldId="2145707130"/>
            <ac:spMk id="5" creationId="{EB7CD296-B5A3-57C0-1D61-76A1AE43FC6A}"/>
          </ac:spMkLst>
        </pc:spChg>
        <pc:spChg chg="del">
          <ac:chgData name="Sheng, Yanan" userId="a8f760e9-50c6-421d-9788-7991509e9b00" providerId="ADAL" clId="{CE83D114-1C90-4F39-8D42-4D8D4E384834}" dt="2023-07-02T09:31:39.717" v="5929" actId="478"/>
          <ac:spMkLst>
            <pc:docMk/>
            <pc:sldMk cId="513165850" sldId="2145707130"/>
            <ac:spMk id="6" creationId="{F530A444-A2F4-5C03-F1E8-230584CD7364}"/>
          </ac:spMkLst>
        </pc:spChg>
        <pc:spChg chg="del">
          <ac:chgData name="Sheng, Yanan" userId="a8f760e9-50c6-421d-9788-7991509e9b00" providerId="ADAL" clId="{CE83D114-1C90-4F39-8D42-4D8D4E384834}" dt="2023-07-02T09:41:54.850" v="6055" actId="478"/>
          <ac:spMkLst>
            <pc:docMk/>
            <pc:sldMk cId="513165850" sldId="2145707130"/>
            <ac:spMk id="8" creationId="{3336885C-AC33-3B41-553C-9E473EDD6FAD}"/>
          </ac:spMkLst>
        </pc:spChg>
        <pc:spChg chg="del">
          <ac:chgData name="Sheng, Yanan" userId="a8f760e9-50c6-421d-9788-7991509e9b00" providerId="ADAL" clId="{CE83D114-1C90-4F39-8D42-4D8D4E384834}" dt="2023-07-02T09:31:34.378" v="5927" actId="478"/>
          <ac:spMkLst>
            <pc:docMk/>
            <pc:sldMk cId="513165850" sldId="2145707130"/>
            <ac:spMk id="9" creationId="{7B776E0E-DDEB-3B7D-AF51-9C31A2374E25}"/>
          </ac:spMkLst>
        </pc:spChg>
        <pc:spChg chg="del">
          <ac:chgData name="Sheng, Yanan" userId="a8f760e9-50c6-421d-9788-7991509e9b00" providerId="ADAL" clId="{CE83D114-1C90-4F39-8D42-4D8D4E384834}" dt="2023-07-02T09:31:34.378" v="5927" actId="478"/>
          <ac:spMkLst>
            <pc:docMk/>
            <pc:sldMk cId="513165850" sldId="2145707130"/>
            <ac:spMk id="10" creationId="{5F9708F8-EEA4-B03E-90C5-E3C3704D7C8A}"/>
          </ac:spMkLst>
        </pc:spChg>
        <pc:spChg chg="add del mod">
          <ac:chgData name="Sheng, Yanan" userId="a8f760e9-50c6-421d-9788-7991509e9b00" providerId="ADAL" clId="{CE83D114-1C90-4F39-8D42-4D8D4E384834}" dt="2023-07-02T09:33:23.618" v="5947" actId="478"/>
          <ac:spMkLst>
            <pc:docMk/>
            <pc:sldMk cId="513165850" sldId="2145707130"/>
            <ac:spMk id="11" creationId="{C8B11AE3-97F7-66A9-353A-874C4E212265}"/>
          </ac:spMkLst>
        </pc:spChg>
        <pc:spChg chg="add mod">
          <ac:chgData name="Sheng, Yanan" userId="a8f760e9-50c6-421d-9788-7991509e9b00" providerId="ADAL" clId="{CE83D114-1C90-4F39-8D42-4D8D4E384834}" dt="2023-07-02T09:31:49.559" v="5931"/>
          <ac:spMkLst>
            <pc:docMk/>
            <pc:sldMk cId="513165850" sldId="2145707130"/>
            <ac:spMk id="12" creationId="{CD052CD0-0FAE-4B10-79EC-68394FDD55FF}"/>
          </ac:spMkLst>
        </pc:spChg>
        <pc:spChg chg="add mod">
          <ac:chgData name="Sheng, Yanan" userId="a8f760e9-50c6-421d-9788-7991509e9b00" providerId="ADAL" clId="{CE83D114-1C90-4F39-8D42-4D8D4E384834}" dt="2023-07-02T09:31:49.559" v="5931"/>
          <ac:spMkLst>
            <pc:docMk/>
            <pc:sldMk cId="513165850" sldId="2145707130"/>
            <ac:spMk id="13" creationId="{5C09C18A-DD2A-F546-FC7D-3C5457D3D547}"/>
          </ac:spMkLst>
        </pc:spChg>
        <pc:spChg chg="add mod">
          <ac:chgData name="Sheng, Yanan" userId="a8f760e9-50c6-421d-9788-7991509e9b00" providerId="ADAL" clId="{CE83D114-1C90-4F39-8D42-4D8D4E384834}" dt="2023-07-02T10:11:08.469" v="6318" actId="108"/>
          <ac:spMkLst>
            <pc:docMk/>
            <pc:sldMk cId="513165850" sldId="2145707130"/>
            <ac:spMk id="14" creationId="{78365E64-6FF8-B10E-5729-72558B1435C5}"/>
          </ac:spMkLst>
        </pc:spChg>
        <pc:spChg chg="add mod topLvl">
          <ac:chgData name="Sheng, Yanan" userId="a8f760e9-50c6-421d-9788-7991509e9b00" providerId="ADAL" clId="{CE83D114-1C90-4F39-8D42-4D8D4E384834}" dt="2023-07-02T10:03:59.832" v="6309" actId="1038"/>
          <ac:spMkLst>
            <pc:docMk/>
            <pc:sldMk cId="513165850" sldId="2145707130"/>
            <ac:spMk id="16" creationId="{EF666D6C-CFFA-BD88-39F9-3DEF28023D8B}"/>
          </ac:spMkLst>
        </pc:spChg>
        <pc:spChg chg="add del mod">
          <ac:chgData name="Sheng, Yanan" userId="a8f760e9-50c6-421d-9788-7991509e9b00" providerId="ADAL" clId="{CE83D114-1C90-4F39-8D42-4D8D4E384834}" dt="2023-07-02T09:34:41.008" v="5975"/>
          <ac:spMkLst>
            <pc:docMk/>
            <pc:sldMk cId="513165850" sldId="2145707130"/>
            <ac:spMk id="17" creationId="{03E2AC32-2001-1022-C71A-A9E76F6E9701}"/>
          </ac:spMkLst>
        </pc:spChg>
        <pc:spChg chg="add del mod">
          <ac:chgData name="Sheng, Yanan" userId="a8f760e9-50c6-421d-9788-7991509e9b00" providerId="ADAL" clId="{CE83D114-1C90-4F39-8D42-4D8D4E384834}" dt="2023-07-02T10:02:58.762" v="6291" actId="478"/>
          <ac:spMkLst>
            <pc:docMk/>
            <pc:sldMk cId="513165850" sldId="2145707130"/>
            <ac:spMk id="18" creationId="{A176CDF2-F78D-1563-906B-162C8B63898C}"/>
          </ac:spMkLst>
        </pc:spChg>
        <pc:spChg chg="mod">
          <ac:chgData name="Sheng, Yanan" userId="a8f760e9-50c6-421d-9788-7991509e9b00" providerId="ADAL" clId="{CE83D114-1C90-4F39-8D42-4D8D4E384834}" dt="2023-07-02T09:37:20.900" v="6006"/>
          <ac:spMkLst>
            <pc:docMk/>
            <pc:sldMk cId="513165850" sldId="2145707130"/>
            <ac:spMk id="21" creationId="{957E6EF4-A517-3D50-2A35-76B11E36FB0A}"/>
          </ac:spMkLst>
        </pc:spChg>
        <pc:spChg chg="mod">
          <ac:chgData name="Sheng, Yanan" userId="a8f760e9-50c6-421d-9788-7991509e9b00" providerId="ADAL" clId="{CE83D114-1C90-4F39-8D42-4D8D4E384834}" dt="2023-07-02T09:37:20.900" v="6006"/>
          <ac:spMkLst>
            <pc:docMk/>
            <pc:sldMk cId="513165850" sldId="2145707130"/>
            <ac:spMk id="22" creationId="{1FC7BA7A-5FC6-0339-E2A3-287B59C8DFF4}"/>
          </ac:spMkLst>
        </pc:spChg>
        <pc:spChg chg="mod">
          <ac:chgData name="Sheng, Yanan" userId="a8f760e9-50c6-421d-9788-7991509e9b00" providerId="ADAL" clId="{CE83D114-1C90-4F39-8D42-4D8D4E384834}" dt="2023-07-02T09:37:20.900" v="6006"/>
          <ac:spMkLst>
            <pc:docMk/>
            <pc:sldMk cId="513165850" sldId="2145707130"/>
            <ac:spMk id="23" creationId="{490C982D-7492-ED9D-03F6-821BBFBAE15A}"/>
          </ac:spMkLst>
        </pc:spChg>
        <pc:spChg chg="mod">
          <ac:chgData name="Sheng, Yanan" userId="a8f760e9-50c6-421d-9788-7991509e9b00" providerId="ADAL" clId="{CE83D114-1C90-4F39-8D42-4D8D4E384834}" dt="2023-07-02T09:37:20.900" v="6006"/>
          <ac:spMkLst>
            <pc:docMk/>
            <pc:sldMk cId="513165850" sldId="2145707130"/>
            <ac:spMk id="24" creationId="{FEADADBA-4EA2-D007-5FD1-D1EDD060DBA7}"/>
          </ac:spMkLst>
        </pc:spChg>
        <pc:spChg chg="mod">
          <ac:chgData name="Sheng, Yanan" userId="a8f760e9-50c6-421d-9788-7991509e9b00" providerId="ADAL" clId="{CE83D114-1C90-4F39-8D42-4D8D4E384834}" dt="2023-07-02T09:37:20.900" v="6006"/>
          <ac:spMkLst>
            <pc:docMk/>
            <pc:sldMk cId="513165850" sldId="2145707130"/>
            <ac:spMk id="25" creationId="{424DF68E-8DEB-010D-DE8B-99752A770F7E}"/>
          </ac:spMkLst>
        </pc:spChg>
        <pc:spChg chg="mod">
          <ac:chgData name="Sheng, Yanan" userId="a8f760e9-50c6-421d-9788-7991509e9b00" providerId="ADAL" clId="{CE83D114-1C90-4F39-8D42-4D8D4E384834}" dt="2023-07-02T09:37:20.900" v="6006"/>
          <ac:spMkLst>
            <pc:docMk/>
            <pc:sldMk cId="513165850" sldId="2145707130"/>
            <ac:spMk id="26" creationId="{F8E5EC63-CD80-0C55-423E-FF64A4AD478F}"/>
          </ac:spMkLst>
        </pc:spChg>
        <pc:spChg chg="mod">
          <ac:chgData name="Sheng, Yanan" userId="a8f760e9-50c6-421d-9788-7991509e9b00" providerId="ADAL" clId="{CE83D114-1C90-4F39-8D42-4D8D4E384834}" dt="2023-07-02T09:37:20.900" v="6006"/>
          <ac:spMkLst>
            <pc:docMk/>
            <pc:sldMk cId="513165850" sldId="2145707130"/>
            <ac:spMk id="27" creationId="{51497B0B-5B43-CE2B-1558-DABBA40BB054}"/>
          </ac:spMkLst>
        </pc:spChg>
        <pc:spChg chg="mod">
          <ac:chgData name="Sheng, Yanan" userId="a8f760e9-50c6-421d-9788-7991509e9b00" providerId="ADAL" clId="{CE83D114-1C90-4F39-8D42-4D8D4E384834}" dt="2023-07-02T09:37:20.900" v="6006"/>
          <ac:spMkLst>
            <pc:docMk/>
            <pc:sldMk cId="513165850" sldId="2145707130"/>
            <ac:spMk id="28" creationId="{08E88321-570A-1454-07F7-FE99118CA69C}"/>
          </ac:spMkLst>
        </pc:spChg>
        <pc:spChg chg="mod">
          <ac:chgData name="Sheng, Yanan" userId="a8f760e9-50c6-421d-9788-7991509e9b00" providerId="ADAL" clId="{CE83D114-1C90-4F39-8D42-4D8D4E384834}" dt="2023-07-02T09:37:46.165" v="6011" actId="1076"/>
          <ac:spMkLst>
            <pc:docMk/>
            <pc:sldMk cId="513165850" sldId="2145707130"/>
            <ac:spMk id="31" creationId="{5AED4452-0E98-458E-5DF6-6D0EEA2CA944}"/>
          </ac:spMkLst>
        </pc:spChg>
        <pc:spChg chg="mod">
          <ac:chgData name="Sheng, Yanan" userId="a8f760e9-50c6-421d-9788-7991509e9b00" providerId="ADAL" clId="{CE83D114-1C90-4F39-8D42-4D8D4E384834}" dt="2023-07-02T09:37:46.165" v="6011" actId="1076"/>
          <ac:spMkLst>
            <pc:docMk/>
            <pc:sldMk cId="513165850" sldId="2145707130"/>
            <ac:spMk id="32" creationId="{CA7AED69-59CB-C9D9-C6C0-DF43A0AB19C4}"/>
          </ac:spMkLst>
        </pc:spChg>
        <pc:spChg chg="mod">
          <ac:chgData name="Sheng, Yanan" userId="a8f760e9-50c6-421d-9788-7991509e9b00" providerId="ADAL" clId="{CE83D114-1C90-4F39-8D42-4D8D4E384834}" dt="2023-07-02T09:37:46.165" v="6011" actId="1076"/>
          <ac:spMkLst>
            <pc:docMk/>
            <pc:sldMk cId="513165850" sldId="2145707130"/>
            <ac:spMk id="34" creationId="{6C8853D9-1CA1-AB36-F184-70B48BAAFD8A}"/>
          </ac:spMkLst>
        </pc:spChg>
        <pc:spChg chg="add mod topLvl">
          <ac:chgData name="Sheng, Yanan" userId="a8f760e9-50c6-421d-9788-7991509e9b00" providerId="ADAL" clId="{CE83D114-1C90-4F39-8D42-4D8D4E384834}" dt="2023-07-02T10:04:04.622" v="6314" actId="1037"/>
          <ac:spMkLst>
            <pc:docMk/>
            <pc:sldMk cId="513165850" sldId="2145707130"/>
            <ac:spMk id="36" creationId="{F867FFA7-6C5A-717E-7248-7AA2CDDA3103}"/>
          </ac:spMkLst>
        </pc:spChg>
        <pc:spChg chg="add mod topLvl">
          <ac:chgData name="Sheng, Yanan" userId="a8f760e9-50c6-421d-9788-7991509e9b00" providerId="ADAL" clId="{CE83D114-1C90-4F39-8D42-4D8D4E384834}" dt="2023-07-02T10:04:04.622" v="6314" actId="1037"/>
          <ac:spMkLst>
            <pc:docMk/>
            <pc:sldMk cId="513165850" sldId="2145707130"/>
            <ac:spMk id="37" creationId="{C640D876-4288-2552-4757-48BDF4391ACA}"/>
          </ac:spMkLst>
        </pc:spChg>
        <pc:spChg chg="add mod topLvl">
          <ac:chgData name="Sheng, Yanan" userId="a8f760e9-50c6-421d-9788-7991509e9b00" providerId="ADAL" clId="{CE83D114-1C90-4F39-8D42-4D8D4E384834}" dt="2023-07-02T10:04:04.622" v="6314" actId="1037"/>
          <ac:spMkLst>
            <pc:docMk/>
            <pc:sldMk cId="513165850" sldId="2145707130"/>
            <ac:spMk id="38" creationId="{C206E2D7-108B-F435-18E8-7A2C8FD60611}"/>
          </ac:spMkLst>
        </pc:spChg>
        <pc:spChg chg="add mod topLvl">
          <ac:chgData name="Sheng, Yanan" userId="a8f760e9-50c6-421d-9788-7991509e9b00" providerId="ADAL" clId="{CE83D114-1C90-4F39-8D42-4D8D4E384834}" dt="2023-07-02T10:04:04.622" v="6314" actId="1037"/>
          <ac:spMkLst>
            <pc:docMk/>
            <pc:sldMk cId="513165850" sldId="2145707130"/>
            <ac:spMk id="39" creationId="{77144DB1-B9E1-5857-A370-3410ED750E94}"/>
          </ac:spMkLst>
        </pc:spChg>
        <pc:spChg chg="add mod topLvl">
          <ac:chgData name="Sheng, Yanan" userId="a8f760e9-50c6-421d-9788-7991509e9b00" providerId="ADAL" clId="{CE83D114-1C90-4F39-8D42-4D8D4E384834}" dt="2023-07-02T10:04:04.622" v="6314" actId="1037"/>
          <ac:spMkLst>
            <pc:docMk/>
            <pc:sldMk cId="513165850" sldId="2145707130"/>
            <ac:spMk id="40" creationId="{8B11E730-19CA-7A05-2E5F-9F23884A3964}"/>
          </ac:spMkLst>
        </pc:spChg>
        <pc:spChg chg="add mod topLvl">
          <ac:chgData name="Sheng, Yanan" userId="a8f760e9-50c6-421d-9788-7991509e9b00" providerId="ADAL" clId="{CE83D114-1C90-4F39-8D42-4D8D4E384834}" dt="2023-07-02T10:04:04.622" v="6314" actId="1037"/>
          <ac:spMkLst>
            <pc:docMk/>
            <pc:sldMk cId="513165850" sldId="2145707130"/>
            <ac:spMk id="41" creationId="{1094F008-4685-D4D8-148E-6224A99DE56C}"/>
          </ac:spMkLst>
        </pc:spChg>
        <pc:spChg chg="add mod topLvl">
          <ac:chgData name="Sheng, Yanan" userId="a8f760e9-50c6-421d-9788-7991509e9b00" providerId="ADAL" clId="{CE83D114-1C90-4F39-8D42-4D8D4E384834}" dt="2023-07-02T10:12:24.616" v="6325" actId="207"/>
          <ac:spMkLst>
            <pc:docMk/>
            <pc:sldMk cId="513165850" sldId="2145707130"/>
            <ac:spMk id="42" creationId="{B65195B4-E3E4-3AA5-ADDD-19A48CD988F4}"/>
          </ac:spMkLst>
        </pc:spChg>
        <pc:spChg chg="add mod topLvl">
          <ac:chgData name="Sheng, Yanan" userId="a8f760e9-50c6-421d-9788-7991509e9b00" providerId="ADAL" clId="{CE83D114-1C90-4F39-8D42-4D8D4E384834}" dt="2023-07-02T10:12:27.212" v="6326" actId="207"/>
          <ac:spMkLst>
            <pc:docMk/>
            <pc:sldMk cId="513165850" sldId="2145707130"/>
            <ac:spMk id="43" creationId="{813EFAE8-0D97-1517-200D-A6DA20239632}"/>
          </ac:spMkLst>
        </pc:spChg>
        <pc:spChg chg="add mod topLvl">
          <ac:chgData name="Sheng, Yanan" userId="a8f760e9-50c6-421d-9788-7991509e9b00" providerId="ADAL" clId="{CE83D114-1C90-4F39-8D42-4D8D4E384834}" dt="2023-07-02T10:12:29.384" v="6327" actId="207"/>
          <ac:spMkLst>
            <pc:docMk/>
            <pc:sldMk cId="513165850" sldId="2145707130"/>
            <ac:spMk id="44" creationId="{E2C4E2DC-0CB9-1B9D-AEDD-C6DF37568037}"/>
          </ac:spMkLst>
        </pc:spChg>
        <pc:spChg chg="mod">
          <ac:chgData name="Sheng, Yanan" userId="a8f760e9-50c6-421d-9788-7991509e9b00" providerId="ADAL" clId="{CE83D114-1C90-4F39-8D42-4D8D4E384834}" dt="2023-07-02T10:04:04.622" v="6314" actId="1037"/>
          <ac:spMkLst>
            <pc:docMk/>
            <pc:sldMk cId="513165850" sldId="2145707130"/>
            <ac:spMk id="46" creationId="{B33B6139-C2F6-4FBD-BB67-ECFB00F9622A}"/>
          </ac:spMkLst>
        </pc:spChg>
        <pc:spChg chg="mod">
          <ac:chgData name="Sheng, Yanan" userId="a8f760e9-50c6-421d-9788-7991509e9b00" providerId="ADAL" clId="{CE83D114-1C90-4F39-8D42-4D8D4E384834}" dt="2023-07-02T10:04:04.622" v="6314" actId="1037"/>
          <ac:spMkLst>
            <pc:docMk/>
            <pc:sldMk cId="513165850" sldId="2145707130"/>
            <ac:spMk id="47" creationId="{A7976B74-2C8F-703B-AC48-BEB7BDB27F7D}"/>
          </ac:spMkLst>
        </pc:spChg>
        <pc:spChg chg="mod">
          <ac:chgData name="Sheng, Yanan" userId="a8f760e9-50c6-421d-9788-7991509e9b00" providerId="ADAL" clId="{CE83D114-1C90-4F39-8D42-4D8D4E384834}" dt="2023-07-02T10:04:04.622" v="6314" actId="1037"/>
          <ac:spMkLst>
            <pc:docMk/>
            <pc:sldMk cId="513165850" sldId="2145707130"/>
            <ac:spMk id="48" creationId="{3A43B10D-11A4-08D6-5C71-3EB569087116}"/>
          </ac:spMkLst>
        </pc:spChg>
        <pc:spChg chg="mod">
          <ac:chgData name="Sheng, Yanan" userId="a8f760e9-50c6-421d-9788-7991509e9b00" providerId="ADAL" clId="{CE83D114-1C90-4F39-8D42-4D8D4E384834}" dt="2023-07-02T10:04:04.622" v="6314" actId="1037"/>
          <ac:spMkLst>
            <pc:docMk/>
            <pc:sldMk cId="513165850" sldId="2145707130"/>
            <ac:spMk id="50" creationId="{1FE2DDBC-3F7B-E618-988A-B3DD909BFAB4}"/>
          </ac:spMkLst>
        </pc:spChg>
        <pc:spChg chg="mod">
          <ac:chgData name="Sheng, Yanan" userId="a8f760e9-50c6-421d-9788-7991509e9b00" providerId="ADAL" clId="{CE83D114-1C90-4F39-8D42-4D8D4E384834}" dt="2023-07-02T10:04:04.622" v="6314" actId="1037"/>
          <ac:spMkLst>
            <pc:docMk/>
            <pc:sldMk cId="513165850" sldId="2145707130"/>
            <ac:spMk id="51" creationId="{D3DABF55-39A4-DD73-43C8-E5B7C02CB0A3}"/>
          </ac:spMkLst>
        </pc:spChg>
        <pc:spChg chg="mod">
          <ac:chgData name="Sheng, Yanan" userId="a8f760e9-50c6-421d-9788-7991509e9b00" providerId="ADAL" clId="{CE83D114-1C90-4F39-8D42-4D8D4E384834}" dt="2023-07-02T10:04:04.622" v="6314" actId="1037"/>
          <ac:spMkLst>
            <pc:docMk/>
            <pc:sldMk cId="513165850" sldId="2145707130"/>
            <ac:spMk id="52" creationId="{27250910-735F-D93A-6893-0392C0419184}"/>
          </ac:spMkLst>
        </pc:spChg>
        <pc:spChg chg="mod">
          <ac:chgData name="Sheng, Yanan" userId="a8f760e9-50c6-421d-9788-7991509e9b00" providerId="ADAL" clId="{CE83D114-1C90-4F39-8D42-4D8D4E384834}" dt="2023-07-02T10:04:04.622" v="6314" actId="1037"/>
          <ac:spMkLst>
            <pc:docMk/>
            <pc:sldMk cId="513165850" sldId="2145707130"/>
            <ac:spMk id="54" creationId="{00904AF4-299B-B714-7B71-B2D2E2592708}"/>
          </ac:spMkLst>
        </pc:spChg>
        <pc:spChg chg="mod">
          <ac:chgData name="Sheng, Yanan" userId="a8f760e9-50c6-421d-9788-7991509e9b00" providerId="ADAL" clId="{CE83D114-1C90-4F39-8D42-4D8D4E384834}" dt="2023-07-02T10:04:04.622" v="6314" actId="1037"/>
          <ac:spMkLst>
            <pc:docMk/>
            <pc:sldMk cId="513165850" sldId="2145707130"/>
            <ac:spMk id="55" creationId="{D6224708-0B3A-77BE-0FA1-3A5CA53E9F91}"/>
          </ac:spMkLst>
        </pc:spChg>
        <pc:spChg chg="mod">
          <ac:chgData name="Sheng, Yanan" userId="a8f760e9-50c6-421d-9788-7991509e9b00" providerId="ADAL" clId="{CE83D114-1C90-4F39-8D42-4D8D4E384834}" dt="2023-07-02T10:04:04.622" v="6314" actId="1037"/>
          <ac:spMkLst>
            <pc:docMk/>
            <pc:sldMk cId="513165850" sldId="2145707130"/>
            <ac:spMk id="57" creationId="{EDB91559-9011-1F6B-9EBD-E26388997742}"/>
          </ac:spMkLst>
        </pc:spChg>
        <pc:spChg chg="mod">
          <ac:chgData name="Sheng, Yanan" userId="a8f760e9-50c6-421d-9788-7991509e9b00" providerId="ADAL" clId="{CE83D114-1C90-4F39-8D42-4D8D4E384834}" dt="2023-07-02T10:04:04.622" v="6314" actId="1037"/>
          <ac:spMkLst>
            <pc:docMk/>
            <pc:sldMk cId="513165850" sldId="2145707130"/>
            <ac:spMk id="58" creationId="{0C0194F4-EC73-B3E5-439A-E1DCD4DE1D9C}"/>
          </ac:spMkLst>
        </pc:spChg>
        <pc:spChg chg="mod">
          <ac:chgData name="Sheng, Yanan" userId="a8f760e9-50c6-421d-9788-7991509e9b00" providerId="ADAL" clId="{CE83D114-1C90-4F39-8D42-4D8D4E384834}" dt="2023-07-02T10:04:04.622" v="6314" actId="1037"/>
          <ac:spMkLst>
            <pc:docMk/>
            <pc:sldMk cId="513165850" sldId="2145707130"/>
            <ac:spMk id="59" creationId="{879DE863-F2D7-38EB-1766-BCCC88F7438A}"/>
          </ac:spMkLst>
        </pc:spChg>
        <pc:spChg chg="mod">
          <ac:chgData name="Sheng, Yanan" userId="a8f760e9-50c6-421d-9788-7991509e9b00" providerId="ADAL" clId="{CE83D114-1C90-4F39-8D42-4D8D4E384834}" dt="2023-07-02T10:04:04.622" v="6314" actId="1037"/>
          <ac:spMkLst>
            <pc:docMk/>
            <pc:sldMk cId="513165850" sldId="2145707130"/>
            <ac:spMk id="60" creationId="{DD0403D0-8AC7-9A0E-2363-D5FF9C49C02C}"/>
          </ac:spMkLst>
        </pc:spChg>
        <pc:spChg chg="mod">
          <ac:chgData name="Sheng, Yanan" userId="a8f760e9-50c6-421d-9788-7991509e9b00" providerId="ADAL" clId="{CE83D114-1C90-4F39-8D42-4D8D4E384834}" dt="2023-07-02T10:04:04.622" v="6314" actId="1037"/>
          <ac:spMkLst>
            <pc:docMk/>
            <pc:sldMk cId="513165850" sldId="2145707130"/>
            <ac:spMk id="61" creationId="{92EC8304-0F9C-1A94-7E09-E39D53A3A369}"/>
          </ac:spMkLst>
        </pc:spChg>
        <pc:spChg chg="mod">
          <ac:chgData name="Sheng, Yanan" userId="a8f760e9-50c6-421d-9788-7991509e9b00" providerId="ADAL" clId="{CE83D114-1C90-4F39-8D42-4D8D4E384834}" dt="2023-07-02T10:04:04.622" v="6314" actId="1037"/>
          <ac:spMkLst>
            <pc:docMk/>
            <pc:sldMk cId="513165850" sldId="2145707130"/>
            <ac:spMk id="62" creationId="{36553B63-B4D8-2DF5-BEF7-435589122AFF}"/>
          </ac:spMkLst>
        </pc:spChg>
        <pc:spChg chg="mod">
          <ac:chgData name="Sheng, Yanan" userId="a8f760e9-50c6-421d-9788-7991509e9b00" providerId="ADAL" clId="{CE83D114-1C90-4F39-8D42-4D8D4E384834}" dt="2023-07-02T10:04:04.622" v="6314" actId="1037"/>
          <ac:spMkLst>
            <pc:docMk/>
            <pc:sldMk cId="513165850" sldId="2145707130"/>
            <ac:spMk id="63" creationId="{C2D267F3-99CF-26A4-15D9-3AF47C103ECE}"/>
          </ac:spMkLst>
        </pc:spChg>
        <pc:spChg chg="mod">
          <ac:chgData name="Sheng, Yanan" userId="a8f760e9-50c6-421d-9788-7991509e9b00" providerId="ADAL" clId="{CE83D114-1C90-4F39-8D42-4D8D4E384834}" dt="2023-07-02T10:04:04.622" v="6314" actId="1037"/>
          <ac:spMkLst>
            <pc:docMk/>
            <pc:sldMk cId="513165850" sldId="2145707130"/>
            <ac:spMk id="64" creationId="{9552742C-9300-6E0A-4EDE-1E8B60CDFA88}"/>
          </ac:spMkLst>
        </pc:spChg>
        <pc:spChg chg="mod">
          <ac:chgData name="Sheng, Yanan" userId="a8f760e9-50c6-421d-9788-7991509e9b00" providerId="ADAL" clId="{CE83D114-1C90-4F39-8D42-4D8D4E384834}" dt="2023-07-02T10:04:04.622" v="6314" actId="1037"/>
          <ac:spMkLst>
            <pc:docMk/>
            <pc:sldMk cId="513165850" sldId="2145707130"/>
            <ac:spMk id="65" creationId="{1FEDB621-DA00-498C-20C7-964DA64E764D}"/>
          </ac:spMkLst>
        </pc:spChg>
        <pc:spChg chg="mod">
          <ac:chgData name="Sheng, Yanan" userId="a8f760e9-50c6-421d-9788-7991509e9b00" providerId="ADAL" clId="{CE83D114-1C90-4F39-8D42-4D8D4E384834}" dt="2023-07-02T10:04:04.622" v="6314" actId="1037"/>
          <ac:spMkLst>
            <pc:docMk/>
            <pc:sldMk cId="513165850" sldId="2145707130"/>
            <ac:spMk id="66" creationId="{B851E9C6-0EC1-9430-807B-4A4BBB2731B2}"/>
          </ac:spMkLst>
        </pc:spChg>
        <pc:spChg chg="mod">
          <ac:chgData name="Sheng, Yanan" userId="a8f760e9-50c6-421d-9788-7991509e9b00" providerId="ADAL" clId="{CE83D114-1C90-4F39-8D42-4D8D4E384834}" dt="2023-07-02T10:04:04.622" v="6314" actId="1037"/>
          <ac:spMkLst>
            <pc:docMk/>
            <pc:sldMk cId="513165850" sldId="2145707130"/>
            <ac:spMk id="67" creationId="{210F713D-D5BF-E260-7106-4B80DBE6A022}"/>
          </ac:spMkLst>
        </pc:spChg>
        <pc:spChg chg="mod">
          <ac:chgData name="Sheng, Yanan" userId="a8f760e9-50c6-421d-9788-7991509e9b00" providerId="ADAL" clId="{CE83D114-1C90-4F39-8D42-4D8D4E384834}" dt="2023-07-02T10:04:04.622" v="6314" actId="1037"/>
          <ac:spMkLst>
            <pc:docMk/>
            <pc:sldMk cId="513165850" sldId="2145707130"/>
            <ac:spMk id="68" creationId="{A2D0DCEA-083B-B559-ABFE-EA5E51721891}"/>
          </ac:spMkLst>
        </pc:spChg>
        <pc:spChg chg="mod">
          <ac:chgData name="Sheng, Yanan" userId="a8f760e9-50c6-421d-9788-7991509e9b00" providerId="ADAL" clId="{CE83D114-1C90-4F39-8D42-4D8D4E384834}" dt="2023-07-02T10:04:04.622" v="6314" actId="1037"/>
          <ac:spMkLst>
            <pc:docMk/>
            <pc:sldMk cId="513165850" sldId="2145707130"/>
            <ac:spMk id="69" creationId="{286B5D94-78EE-C233-ECD7-3BB25D14844E}"/>
          </ac:spMkLst>
        </pc:spChg>
        <pc:spChg chg="mod">
          <ac:chgData name="Sheng, Yanan" userId="a8f760e9-50c6-421d-9788-7991509e9b00" providerId="ADAL" clId="{CE83D114-1C90-4F39-8D42-4D8D4E384834}" dt="2023-07-02T10:04:04.622" v="6314" actId="1037"/>
          <ac:spMkLst>
            <pc:docMk/>
            <pc:sldMk cId="513165850" sldId="2145707130"/>
            <ac:spMk id="70" creationId="{11E2BF40-3473-4F97-BDFF-D41BBA06A93C}"/>
          </ac:spMkLst>
        </pc:spChg>
        <pc:spChg chg="mod">
          <ac:chgData name="Sheng, Yanan" userId="a8f760e9-50c6-421d-9788-7991509e9b00" providerId="ADAL" clId="{CE83D114-1C90-4F39-8D42-4D8D4E384834}" dt="2023-07-02T10:04:04.622" v="6314" actId="1037"/>
          <ac:spMkLst>
            <pc:docMk/>
            <pc:sldMk cId="513165850" sldId="2145707130"/>
            <ac:spMk id="72" creationId="{EB889755-805C-1FB1-7FE6-C122944614A7}"/>
          </ac:spMkLst>
        </pc:spChg>
        <pc:spChg chg="mod">
          <ac:chgData name="Sheng, Yanan" userId="a8f760e9-50c6-421d-9788-7991509e9b00" providerId="ADAL" clId="{CE83D114-1C90-4F39-8D42-4D8D4E384834}" dt="2023-07-02T10:04:04.622" v="6314" actId="1037"/>
          <ac:spMkLst>
            <pc:docMk/>
            <pc:sldMk cId="513165850" sldId="2145707130"/>
            <ac:spMk id="74" creationId="{19A43083-2CD0-B6DE-F16C-A838D16CB3C7}"/>
          </ac:spMkLst>
        </pc:spChg>
        <pc:spChg chg="mod">
          <ac:chgData name="Sheng, Yanan" userId="a8f760e9-50c6-421d-9788-7991509e9b00" providerId="ADAL" clId="{CE83D114-1C90-4F39-8D42-4D8D4E384834}" dt="2023-07-02T10:04:04.622" v="6314" actId="1037"/>
          <ac:spMkLst>
            <pc:docMk/>
            <pc:sldMk cId="513165850" sldId="2145707130"/>
            <ac:spMk id="75" creationId="{CE589805-06A5-4FF9-CA8E-5A13179FE6A6}"/>
          </ac:spMkLst>
        </pc:spChg>
        <pc:spChg chg="mod">
          <ac:chgData name="Sheng, Yanan" userId="a8f760e9-50c6-421d-9788-7991509e9b00" providerId="ADAL" clId="{CE83D114-1C90-4F39-8D42-4D8D4E384834}" dt="2023-07-02T10:04:04.622" v="6314" actId="1037"/>
          <ac:spMkLst>
            <pc:docMk/>
            <pc:sldMk cId="513165850" sldId="2145707130"/>
            <ac:spMk id="77" creationId="{28454021-1557-EDD6-4A88-C23F615A0B19}"/>
          </ac:spMkLst>
        </pc:spChg>
        <pc:spChg chg="mod">
          <ac:chgData name="Sheng, Yanan" userId="a8f760e9-50c6-421d-9788-7991509e9b00" providerId="ADAL" clId="{CE83D114-1C90-4F39-8D42-4D8D4E384834}" dt="2023-07-02T10:04:04.622" v="6314" actId="1037"/>
          <ac:spMkLst>
            <pc:docMk/>
            <pc:sldMk cId="513165850" sldId="2145707130"/>
            <ac:spMk id="78" creationId="{3F7D4E3A-F9F4-942F-80C9-1CB7D344DBA6}"/>
          </ac:spMkLst>
        </pc:spChg>
        <pc:spChg chg="mod">
          <ac:chgData name="Sheng, Yanan" userId="a8f760e9-50c6-421d-9788-7991509e9b00" providerId="ADAL" clId="{CE83D114-1C90-4F39-8D42-4D8D4E384834}" dt="2023-07-02T10:04:04.622" v="6314" actId="1037"/>
          <ac:spMkLst>
            <pc:docMk/>
            <pc:sldMk cId="513165850" sldId="2145707130"/>
            <ac:spMk id="79" creationId="{EBAE8F2B-7782-FD3F-32C5-CCE93094F9B4}"/>
          </ac:spMkLst>
        </pc:spChg>
        <pc:spChg chg="mod">
          <ac:chgData name="Sheng, Yanan" userId="a8f760e9-50c6-421d-9788-7991509e9b00" providerId="ADAL" clId="{CE83D114-1C90-4F39-8D42-4D8D4E384834}" dt="2023-07-02T09:42:32.532" v="6059" actId="165"/>
          <ac:spMkLst>
            <pc:docMk/>
            <pc:sldMk cId="513165850" sldId="2145707130"/>
            <ac:spMk id="82" creationId="{2C6633EF-7DC6-AA7C-6CD9-5450D12DBBA0}"/>
          </ac:spMkLst>
        </pc:spChg>
        <pc:spChg chg="mod">
          <ac:chgData name="Sheng, Yanan" userId="a8f760e9-50c6-421d-9788-7991509e9b00" providerId="ADAL" clId="{CE83D114-1C90-4F39-8D42-4D8D4E384834}" dt="2023-07-02T09:42:32.532" v="6059" actId="165"/>
          <ac:spMkLst>
            <pc:docMk/>
            <pc:sldMk cId="513165850" sldId="2145707130"/>
            <ac:spMk id="83" creationId="{E045F37C-F2F2-5FFC-CE65-CDBD0092A623}"/>
          </ac:spMkLst>
        </pc:spChg>
        <pc:spChg chg="mod">
          <ac:chgData name="Sheng, Yanan" userId="a8f760e9-50c6-421d-9788-7991509e9b00" providerId="ADAL" clId="{CE83D114-1C90-4F39-8D42-4D8D4E384834}" dt="2023-07-02T09:42:32.532" v="6059" actId="165"/>
          <ac:spMkLst>
            <pc:docMk/>
            <pc:sldMk cId="513165850" sldId="2145707130"/>
            <ac:spMk id="84" creationId="{AE074215-0946-CEBD-6330-7F5E13060AA6}"/>
          </ac:spMkLst>
        </pc:spChg>
        <pc:spChg chg="mod">
          <ac:chgData name="Sheng, Yanan" userId="a8f760e9-50c6-421d-9788-7991509e9b00" providerId="ADAL" clId="{CE83D114-1C90-4F39-8D42-4D8D4E384834}" dt="2023-07-02T09:42:32.532" v="6059" actId="165"/>
          <ac:spMkLst>
            <pc:docMk/>
            <pc:sldMk cId="513165850" sldId="2145707130"/>
            <ac:spMk id="85" creationId="{AE4C179C-E0B3-A3EC-0413-0DABAB134DA6}"/>
          </ac:spMkLst>
        </pc:spChg>
        <pc:spChg chg="mod">
          <ac:chgData name="Sheng, Yanan" userId="a8f760e9-50c6-421d-9788-7991509e9b00" providerId="ADAL" clId="{CE83D114-1C90-4F39-8D42-4D8D4E384834}" dt="2023-07-02T09:42:32.532" v="6059" actId="165"/>
          <ac:spMkLst>
            <pc:docMk/>
            <pc:sldMk cId="513165850" sldId="2145707130"/>
            <ac:spMk id="86" creationId="{482D679F-116B-3806-6099-1A6960F8EAB2}"/>
          </ac:spMkLst>
        </pc:spChg>
        <pc:spChg chg="mod">
          <ac:chgData name="Sheng, Yanan" userId="a8f760e9-50c6-421d-9788-7991509e9b00" providerId="ADAL" clId="{CE83D114-1C90-4F39-8D42-4D8D4E384834}" dt="2023-07-02T09:42:32.532" v="6059" actId="165"/>
          <ac:spMkLst>
            <pc:docMk/>
            <pc:sldMk cId="513165850" sldId="2145707130"/>
            <ac:spMk id="87" creationId="{135CD9A0-51F0-89CB-B9F9-555080A527CC}"/>
          </ac:spMkLst>
        </pc:spChg>
        <pc:spChg chg="mod">
          <ac:chgData name="Sheng, Yanan" userId="a8f760e9-50c6-421d-9788-7991509e9b00" providerId="ADAL" clId="{CE83D114-1C90-4F39-8D42-4D8D4E384834}" dt="2023-07-02T09:42:32.532" v="6059" actId="165"/>
          <ac:spMkLst>
            <pc:docMk/>
            <pc:sldMk cId="513165850" sldId="2145707130"/>
            <ac:spMk id="88" creationId="{FFF1804D-22A9-7467-E033-DCB9950ABB97}"/>
          </ac:spMkLst>
        </pc:spChg>
        <pc:spChg chg="mod">
          <ac:chgData name="Sheng, Yanan" userId="a8f760e9-50c6-421d-9788-7991509e9b00" providerId="ADAL" clId="{CE83D114-1C90-4F39-8D42-4D8D4E384834}" dt="2023-07-02T09:42:32.532" v="6059" actId="165"/>
          <ac:spMkLst>
            <pc:docMk/>
            <pc:sldMk cId="513165850" sldId="2145707130"/>
            <ac:spMk id="89" creationId="{9025A7EB-088D-6BB2-F718-77DA04324505}"/>
          </ac:spMkLst>
        </pc:spChg>
        <pc:spChg chg="mod">
          <ac:chgData name="Sheng, Yanan" userId="a8f760e9-50c6-421d-9788-7991509e9b00" providerId="ADAL" clId="{CE83D114-1C90-4F39-8D42-4D8D4E384834}" dt="2023-07-02T09:49:03.630" v="6147" actId="1076"/>
          <ac:spMkLst>
            <pc:docMk/>
            <pc:sldMk cId="513165850" sldId="2145707130"/>
            <ac:spMk id="92" creationId="{315A31D2-7271-CFCB-65DC-D308F94E7818}"/>
          </ac:spMkLst>
        </pc:spChg>
        <pc:spChg chg="mod">
          <ac:chgData name="Sheng, Yanan" userId="a8f760e9-50c6-421d-9788-7991509e9b00" providerId="ADAL" clId="{CE83D114-1C90-4F39-8D42-4D8D4E384834}" dt="2023-07-02T09:49:03.630" v="6147" actId="1076"/>
          <ac:spMkLst>
            <pc:docMk/>
            <pc:sldMk cId="513165850" sldId="2145707130"/>
            <ac:spMk id="93" creationId="{303CEA38-13A4-0517-B9BF-6456F54C5C86}"/>
          </ac:spMkLst>
        </pc:spChg>
        <pc:spChg chg="mod">
          <ac:chgData name="Sheng, Yanan" userId="a8f760e9-50c6-421d-9788-7991509e9b00" providerId="ADAL" clId="{CE83D114-1C90-4F39-8D42-4D8D4E384834}" dt="2023-07-02T09:49:03.630" v="6147" actId="1076"/>
          <ac:spMkLst>
            <pc:docMk/>
            <pc:sldMk cId="513165850" sldId="2145707130"/>
            <ac:spMk id="95" creationId="{15E92614-2198-1AFA-3003-55724858FB54}"/>
          </ac:spMkLst>
        </pc:spChg>
        <pc:spChg chg="add mod topLvl">
          <ac:chgData name="Sheng, Yanan" userId="a8f760e9-50c6-421d-9788-7991509e9b00" providerId="ADAL" clId="{CE83D114-1C90-4F39-8D42-4D8D4E384834}" dt="2023-07-02T10:03:59.832" v="6309" actId="1038"/>
          <ac:spMkLst>
            <pc:docMk/>
            <pc:sldMk cId="513165850" sldId="2145707130"/>
            <ac:spMk id="99" creationId="{99762656-BA3B-4F57-8233-52CC91F6A9AA}"/>
          </ac:spMkLst>
        </pc:spChg>
        <pc:spChg chg="add mod topLvl">
          <ac:chgData name="Sheng, Yanan" userId="a8f760e9-50c6-421d-9788-7991509e9b00" providerId="ADAL" clId="{CE83D114-1C90-4F39-8D42-4D8D4E384834}" dt="2023-07-02T10:04:04.622" v="6314" actId="1037"/>
          <ac:spMkLst>
            <pc:docMk/>
            <pc:sldMk cId="513165850" sldId="2145707130"/>
            <ac:spMk id="101" creationId="{565B289D-B046-E016-9915-75C16FB5A72A}"/>
          </ac:spMkLst>
        </pc:spChg>
        <pc:spChg chg="add del mod">
          <ac:chgData name="Sheng, Yanan" userId="a8f760e9-50c6-421d-9788-7991509e9b00" providerId="ADAL" clId="{CE83D114-1C90-4F39-8D42-4D8D4E384834}" dt="2023-07-02T09:50:11.929" v="6160" actId="478"/>
          <ac:spMkLst>
            <pc:docMk/>
            <pc:sldMk cId="513165850" sldId="2145707130"/>
            <ac:spMk id="102" creationId="{36C3520A-D8C6-6EC0-2CD2-A3F9748EE883}"/>
          </ac:spMkLst>
        </pc:spChg>
        <pc:spChg chg="add mod topLvl">
          <ac:chgData name="Sheng, Yanan" userId="a8f760e9-50c6-421d-9788-7991509e9b00" providerId="ADAL" clId="{CE83D114-1C90-4F39-8D42-4D8D4E384834}" dt="2023-07-02T10:04:04.622" v="6314" actId="1037"/>
          <ac:spMkLst>
            <pc:docMk/>
            <pc:sldMk cId="513165850" sldId="2145707130"/>
            <ac:spMk id="105" creationId="{9F359E60-405E-E938-A346-7BABF987EE1B}"/>
          </ac:spMkLst>
        </pc:spChg>
        <pc:spChg chg="add mod topLvl">
          <ac:chgData name="Sheng, Yanan" userId="a8f760e9-50c6-421d-9788-7991509e9b00" providerId="ADAL" clId="{CE83D114-1C90-4F39-8D42-4D8D4E384834}" dt="2023-07-02T10:04:04.622" v="6314" actId="1037"/>
          <ac:spMkLst>
            <pc:docMk/>
            <pc:sldMk cId="513165850" sldId="2145707130"/>
            <ac:spMk id="106" creationId="{32DA19D1-D1A9-7E7E-0693-0AE4394F0FD4}"/>
          </ac:spMkLst>
        </pc:spChg>
        <pc:spChg chg="add mod topLvl">
          <ac:chgData name="Sheng, Yanan" userId="a8f760e9-50c6-421d-9788-7991509e9b00" providerId="ADAL" clId="{CE83D114-1C90-4F39-8D42-4D8D4E384834}" dt="2023-07-02T10:04:04.622" v="6314" actId="1037"/>
          <ac:spMkLst>
            <pc:docMk/>
            <pc:sldMk cId="513165850" sldId="2145707130"/>
            <ac:spMk id="107" creationId="{160B0939-F959-6963-9106-865BA9053E48}"/>
          </ac:spMkLst>
        </pc:spChg>
        <pc:spChg chg="add mod topLvl">
          <ac:chgData name="Sheng, Yanan" userId="a8f760e9-50c6-421d-9788-7991509e9b00" providerId="ADAL" clId="{CE83D114-1C90-4F39-8D42-4D8D4E384834}" dt="2023-07-02T10:04:04.622" v="6314" actId="1037"/>
          <ac:spMkLst>
            <pc:docMk/>
            <pc:sldMk cId="513165850" sldId="2145707130"/>
            <ac:spMk id="108" creationId="{CFF41B6F-29FB-AC00-30C5-56E1E99E9CD0}"/>
          </ac:spMkLst>
        </pc:spChg>
        <pc:spChg chg="add mod topLvl">
          <ac:chgData name="Sheng, Yanan" userId="a8f760e9-50c6-421d-9788-7991509e9b00" providerId="ADAL" clId="{CE83D114-1C90-4F39-8D42-4D8D4E384834}" dt="2023-07-02T10:04:04.622" v="6314" actId="1037"/>
          <ac:spMkLst>
            <pc:docMk/>
            <pc:sldMk cId="513165850" sldId="2145707130"/>
            <ac:spMk id="109" creationId="{337470B7-CF51-EA16-F12E-2BF2A5A4A3B7}"/>
          </ac:spMkLst>
        </pc:spChg>
        <pc:spChg chg="add mod topLvl">
          <ac:chgData name="Sheng, Yanan" userId="a8f760e9-50c6-421d-9788-7991509e9b00" providerId="ADAL" clId="{CE83D114-1C90-4F39-8D42-4D8D4E384834}" dt="2023-07-02T10:04:04.622" v="6314" actId="1037"/>
          <ac:spMkLst>
            <pc:docMk/>
            <pc:sldMk cId="513165850" sldId="2145707130"/>
            <ac:spMk id="110" creationId="{A5A157F9-6CB3-0EA2-2202-89CD718858F3}"/>
          </ac:spMkLst>
        </pc:spChg>
        <pc:spChg chg="add mod topLvl">
          <ac:chgData name="Sheng, Yanan" userId="a8f760e9-50c6-421d-9788-7991509e9b00" providerId="ADAL" clId="{CE83D114-1C90-4F39-8D42-4D8D4E384834}" dt="2023-07-02T10:04:04.622" v="6314" actId="1037"/>
          <ac:spMkLst>
            <pc:docMk/>
            <pc:sldMk cId="513165850" sldId="2145707130"/>
            <ac:spMk id="111" creationId="{4B875A10-3E6B-6DEA-F59A-48351A729DEB}"/>
          </ac:spMkLst>
        </pc:spChg>
        <pc:spChg chg="add mod topLvl">
          <ac:chgData name="Sheng, Yanan" userId="a8f760e9-50c6-421d-9788-7991509e9b00" providerId="ADAL" clId="{CE83D114-1C90-4F39-8D42-4D8D4E384834}" dt="2023-07-02T10:04:04.622" v="6314" actId="1037"/>
          <ac:spMkLst>
            <pc:docMk/>
            <pc:sldMk cId="513165850" sldId="2145707130"/>
            <ac:spMk id="112" creationId="{D0F9AE58-73FF-A6EF-0135-44E90E57F4AA}"/>
          </ac:spMkLst>
        </pc:spChg>
        <pc:spChg chg="add mod topLvl">
          <ac:chgData name="Sheng, Yanan" userId="a8f760e9-50c6-421d-9788-7991509e9b00" providerId="ADAL" clId="{CE83D114-1C90-4F39-8D42-4D8D4E384834}" dt="2023-07-02T10:04:04.622" v="6314" actId="1037"/>
          <ac:spMkLst>
            <pc:docMk/>
            <pc:sldMk cId="513165850" sldId="2145707130"/>
            <ac:spMk id="113" creationId="{1AEAB10E-12D2-E5FB-AC77-F53F008523B3}"/>
          </ac:spMkLst>
        </pc:spChg>
        <pc:spChg chg="add mod topLvl">
          <ac:chgData name="Sheng, Yanan" userId="a8f760e9-50c6-421d-9788-7991509e9b00" providerId="ADAL" clId="{CE83D114-1C90-4F39-8D42-4D8D4E384834}" dt="2023-07-02T10:04:04.622" v="6314" actId="1037"/>
          <ac:spMkLst>
            <pc:docMk/>
            <pc:sldMk cId="513165850" sldId="2145707130"/>
            <ac:spMk id="114" creationId="{9815728D-B78B-4C11-243D-A1E22F3C53BA}"/>
          </ac:spMkLst>
        </pc:spChg>
        <pc:spChg chg="add mod topLvl">
          <ac:chgData name="Sheng, Yanan" userId="a8f760e9-50c6-421d-9788-7991509e9b00" providerId="ADAL" clId="{CE83D114-1C90-4F39-8D42-4D8D4E384834}" dt="2023-07-02T10:04:04.622" v="6314" actId="1037"/>
          <ac:spMkLst>
            <pc:docMk/>
            <pc:sldMk cId="513165850" sldId="2145707130"/>
            <ac:spMk id="115" creationId="{D7858B73-F8FD-FE8C-5AB9-6D9CCB612528}"/>
          </ac:spMkLst>
        </pc:spChg>
        <pc:spChg chg="add mod topLvl">
          <ac:chgData name="Sheng, Yanan" userId="a8f760e9-50c6-421d-9788-7991509e9b00" providerId="ADAL" clId="{CE83D114-1C90-4F39-8D42-4D8D4E384834}" dt="2023-07-02T10:04:04.622" v="6314" actId="1037"/>
          <ac:spMkLst>
            <pc:docMk/>
            <pc:sldMk cId="513165850" sldId="2145707130"/>
            <ac:spMk id="116" creationId="{3E49A82D-C4FA-A4A0-0786-9B6F2FB0ED3C}"/>
          </ac:spMkLst>
        </pc:spChg>
        <pc:spChg chg="add mod topLvl">
          <ac:chgData name="Sheng, Yanan" userId="a8f760e9-50c6-421d-9788-7991509e9b00" providerId="ADAL" clId="{CE83D114-1C90-4F39-8D42-4D8D4E384834}" dt="2023-07-02T10:04:04.622" v="6314" actId="1037"/>
          <ac:spMkLst>
            <pc:docMk/>
            <pc:sldMk cId="513165850" sldId="2145707130"/>
            <ac:spMk id="117" creationId="{B189B876-6D7D-FBE0-6E21-19325DD80529}"/>
          </ac:spMkLst>
        </pc:spChg>
        <pc:spChg chg="add mod topLvl">
          <ac:chgData name="Sheng, Yanan" userId="a8f760e9-50c6-421d-9788-7991509e9b00" providerId="ADAL" clId="{CE83D114-1C90-4F39-8D42-4D8D4E384834}" dt="2023-07-02T10:04:04.622" v="6314" actId="1037"/>
          <ac:spMkLst>
            <pc:docMk/>
            <pc:sldMk cId="513165850" sldId="2145707130"/>
            <ac:spMk id="119" creationId="{99A8ACA0-5C51-41A5-F981-1928E1E57903}"/>
          </ac:spMkLst>
        </pc:spChg>
        <pc:spChg chg="add mod topLvl">
          <ac:chgData name="Sheng, Yanan" userId="a8f760e9-50c6-421d-9788-7991509e9b00" providerId="ADAL" clId="{CE83D114-1C90-4F39-8D42-4D8D4E384834}" dt="2023-07-02T10:04:04.622" v="6314" actId="1037"/>
          <ac:spMkLst>
            <pc:docMk/>
            <pc:sldMk cId="513165850" sldId="2145707130"/>
            <ac:spMk id="120" creationId="{6148893C-E7F2-6A8E-1508-31542456F882}"/>
          </ac:spMkLst>
        </pc:spChg>
        <pc:spChg chg="add mod topLvl">
          <ac:chgData name="Sheng, Yanan" userId="a8f760e9-50c6-421d-9788-7991509e9b00" providerId="ADAL" clId="{CE83D114-1C90-4F39-8D42-4D8D4E384834}" dt="2023-07-02T10:04:04.622" v="6314" actId="1037"/>
          <ac:spMkLst>
            <pc:docMk/>
            <pc:sldMk cId="513165850" sldId="2145707130"/>
            <ac:spMk id="121" creationId="{273F0405-14B6-73EA-B055-0FB3E8262D75}"/>
          </ac:spMkLst>
        </pc:spChg>
        <pc:spChg chg="add mod topLvl">
          <ac:chgData name="Sheng, Yanan" userId="a8f760e9-50c6-421d-9788-7991509e9b00" providerId="ADAL" clId="{CE83D114-1C90-4F39-8D42-4D8D4E384834}" dt="2023-07-02T10:04:04.622" v="6314" actId="1037"/>
          <ac:spMkLst>
            <pc:docMk/>
            <pc:sldMk cId="513165850" sldId="2145707130"/>
            <ac:spMk id="123" creationId="{AA70FB77-DEE3-60EF-E082-4B7F4A207E5D}"/>
          </ac:spMkLst>
        </pc:spChg>
        <pc:spChg chg="add mod topLvl">
          <ac:chgData name="Sheng, Yanan" userId="a8f760e9-50c6-421d-9788-7991509e9b00" providerId="ADAL" clId="{CE83D114-1C90-4F39-8D42-4D8D4E384834}" dt="2023-07-02T10:03:59.832" v="6309" actId="1038"/>
          <ac:spMkLst>
            <pc:docMk/>
            <pc:sldMk cId="513165850" sldId="2145707130"/>
            <ac:spMk id="124" creationId="{AA0AC2CB-304C-EF8A-47C0-FC0FDF05C1F0}"/>
          </ac:spMkLst>
        </pc:spChg>
        <pc:spChg chg="add mod topLvl">
          <ac:chgData name="Sheng, Yanan" userId="a8f760e9-50c6-421d-9788-7991509e9b00" providerId="ADAL" clId="{CE83D114-1C90-4F39-8D42-4D8D4E384834}" dt="2023-07-02T10:03:59.832" v="6309" actId="1038"/>
          <ac:spMkLst>
            <pc:docMk/>
            <pc:sldMk cId="513165850" sldId="2145707130"/>
            <ac:spMk id="125" creationId="{BD60F537-BDDB-6936-E30C-9E231DF2D842}"/>
          </ac:spMkLst>
        </pc:spChg>
        <pc:spChg chg="add mod topLvl">
          <ac:chgData name="Sheng, Yanan" userId="a8f760e9-50c6-421d-9788-7991509e9b00" providerId="ADAL" clId="{CE83D114-1C90-4F39-8D42-4D8D4E384834}" dt="2023-07-02T10:04:04.622" v="6314" actId="1037"/>
          <ac:spMkLst>
            <pc:docMk/>
            <pc:sldMk cId="513165850" sldId="2145707130"/>
            <ac:spMk id="126" creationId="{B3FEB0D3-C06D-67F4-B82C-BB0EA727874E}"/>
          </ac:spMkLst>
        </pc:spChg>
        <pc:spChg chg="mod">
          <ac:chgData name="Sheng, Yanan" userId="a8f760e9-50c6-421d-9788-7991509e9b00" providerId="ADAL" clId="{CE83D114-1C90-4F39-8D42-4D8D4E384834}" dt="2023-07-02T09:54:46.097" v="6176" actId="207"/>
          <ac:spMkLst>
            <pc:docMk/>
            <pc:sldMk cId="513165850" sldId="2145707130"/>
            <ac:spMk id="129" creationId="{EEAE8AA8-6DA0-CCEB-8F9F-8E5C3D29F906}"/>
          </ac:spMkLst>
        </pc:spChg>
        <pc:spChg chg="del mod">
          <ac:chgData name="Sheng, Yanan" userId="a8f760e9-50c6-421d-9788-7991509e9b00" providerId="ADAL" clId="{CE83D114-1C90-4F39-8D42-4D8D4E384834}" dt="2023-07-02T09:56:15.892" v="6208" actId="478"/>
          <ac:spMkLst>
            <pc:docMk/>
            <pc:sldMk cId="513165850" sldId="2145707130"/>
            <ac:spMk id="130" creationId="{DBCB302C-7A04-CFC8-A91E-0969BA192765}"/>
          </ac:spMkLst>
        </pc:spChg>
        <pc:spChg chg="mod">
          <ac:chgData name="Sheng, Yanan" userId="a8f760e9-50c6-421d-9788-7991509e9b00" providerId="ADAL" clId="{CE83D114-1C90-4F39-8D42-4D8D4E384834}" dt="2023-07-02T09:54:46.097" v="6176" actId="207"/>
          <ac:spMkLst>
            <pc:docMk/>
            <pc:sldMk cId="513165850" sldId="2145707130"/>
            <ac:spMk id="131" creationId="{F010F168-7232-2E2F-85A6-16DAFCB3920F}"/>
          </ac:spMkLst>
        </pc:spChg>
        <pc:spChg chg="del mod">
          <ac:chgData name="Sheng, Yanan" userId="a8f760e9-50c6-421d-9788-7991509e9b00" providerId="ADAL" clId="{CE83D114-1C90-4F39-8D42-4D8D4E384834}" dt="2023-07-02T09:55:27.266" v="6190" actId="478"/>
          <ac:spMkLst>
            <pc:docMk/>
            <pc:sldMk cId="513165850" sldId="2145707130"/>
            <ac:spMk id="132" creationId="{A9C697F9-C41F-6528-F7E5-BA507950BB7F}"/>
          </ac:spMkLst>
        </pc:spChg>
        <pc:spChg chg="mod">
          <ac:chgData name="Sheng, Yanan" userId="a8f760e9-50c6-421d-9788-7991509e9b00" providerId="ADAL" clId="{CE83D114-1C90-4F39-8D42-4D8D4E384834}" dt="2023-07-02T09:54:46.097" v="6176" actId="207"/>
          <ac:spMkLst>
            <pc:docMk/>
            <pc:sldMk cId="513165850" sldId="2145707130"/>
            <ac:spMk id="133" creationId="{36F35D37-AE4D-FBC5-AACE-628456CCDE52}"/>
          </ac:spMkLst>
        </pc:spChg>
        <pc:spChg chg="del mod">
          <ac:chgData name="Sheng, Yanan" userId="a8f760e9-50c6-421d-9788-7991509e9b00" providerId="ADAL" clId="{CE83D114-1C90-4F39-8D42-4D8D4E384834}" dt="2023-07-02T09:56:34.955" v="6215" actId="478"/>
          <ac:spMkLst>
            <pc:docMk/>
            <pc:sldMk cId="513165850" sldId="2145707130"/>
            <ac:spMk id="134" creationId="{0FAFCF24-713A-870B-B793-12E7EF2DEB51}"/>
          </ac:spMkLst>
        </pc:spChg>
        <pc:spChg chg="mod">
          <ac:chgData name="Sheng, Yanan" userId="a8f760e9-50c6-421d-9788-7991509e9b00" providerId="ADAL" clId="{CE83D114-1C90-4F39-8D42-4D8D4E384834}" dt="2023-07-02T09:55:04.130" v="6184" actId="14100"/>
          <ac:spMkLst>
            <pc:docMk/>
            <pc:sldMk cId="513165850" sldId="2145707130"/>
            <ac:spMk id="135" creationId="{43C5A448-0FF7-715E-91EE-8A7355EFC8D2}"/>
          </ac:spMkLst>
        </pc:spChg>
        <pc:spChg chg="mod">
          <ac:chgData name="Sheng, Yanan" userId="a8f760e9-50c6-421d-9788-7991509e9b00" providerId="ADAL" clId="{CE83D114-1C90-4F39-8D42-4D8D4E384834}" dt="2023-07-02T09:55:12.001" v="6187" actId="1076"/>
          <ac:spMkLst>
            <pc:docMk/>
            <pc:sldMk cId="513165850" sldId="2145707130"/>
            <ac:spMk id="136" creationId="{7E7EFB3D-7D6C-DC6A-F3EC-AB3CEDE6866D}"/>
          </ac:spMkLst>
        </pc:spChg>
        <pc:spChg chg="add del mod">
          <ac:chgData name="Sheng, Yanan" userId="a8f760e9-50c6-421d-9788-7991509e9b00" providerId="ADAL" clId="{CE83D114-1C90-4F39-8D42-4D8D4E384834}" dt="2023-07-02T09:57:21.748" v="6226" actId="478"/>
          <ac:spMkLst>
            <pc:docMk/>
            <pc:sldMk cId="513165850" sldId="2145707130"/>
            <ac:spMk id="138" creationId="{D571E250-9AB2-FFB9-8C29-9C08C88A18BC}"/>
          </ac:spMkLst>
        </pc:spChg>
        <pc:spChg chg="add del mod">
          <ac:chgData name="Sheng, Yanan" userId="a8f760e9-50c6-421d-9788-7991509e9b00" providerId="ADAL" clId="{CE83D114-1C90-4F39-8D42-4D8D4E384834}" dt="2023-07-02T09:57:21.748" v="6226" actId="478"/>
          <ac:spMkLst>
            <pc:docMk/>
            <pc:sldMk cId="513165850" sldId="2145707130"/>
            <ac:spMk id="139" creationId="{241CABAA-5C27-69D7-5548-BF7DDFF76CD1}"/>
          </ac:spMkLst>
        </pc:spChg>
        <pc:spChg chg="add del mod">
          <ac:chgData name="Sheng, Yanan" userId="a8f760e9-50c6-421d-9788-7991509e9b00" providerId="ADAL" clId="{CE83D114-1C90-4F39-8D42-4D8D4E384834}" dt="2023-07-02T09:57:21.748" v="6226" actId="478"/>
          <ac:spMkLst>
            <pc:docMk/>
            <pc:sldMk cId="513165850" sldId="2145707130"/>
            <ac:spMk id="140" creationId="{7862DF79-9FDE-0FE8-0236-35C2DCAEB6E9}"/>
          </ac:spMkLst>
        </pc:spChg>
        <pc:spChg chg="add mod">
          <ac:chgData name="Sheng, Yanan" userId="a8f760e9-50c6-421d-9788-7991509e9b00" providerId="ADAL" clId="{CE83D114-1C90-4F39-8D42-4D8D4E384834}" dt="2023-07-02T10:03:59.832" v="6309" actId="1038"/>
          <ac:spMkLst>
            <pc:docMk/>
            <pc:sldMk cId="513165850" sldId="2145707130"/>
            <ac:spMk id="141" creationId="{70E67151-AA6E-FE88-A5D7-6385F51885D4}"/>
          </ac:spMkLst>
        </pc:spChg>
        <pc:spChg chg="mod">
          <ac:chgData name="Sheng, Yanan" userId="a8f760e9-50c6-421d-9788-7991509e9b00" providerId="ADAL" clId="{CE83D114-1C90-4F39-8D42-4D8D4E384834}" dt="2023-07-02T10:03:59.832" v="6309" actId="1038"/>
          <ac:spMkLst>
            <pc:docMk/>
            <pc:sldMk cId="513165850" sldId="2145707130"/>
            <ac:spMk id="144" creationId="{B78BCFE3-7732-DE83-7A23-2149CDEE65D0}"/>
          </ac:spMkLst>
        </pc:spChg>
        <pc:spChg chg="mod">
          <ac:chgData name="Sheng, Yanan" userId="a8f760e9-50c6-421d-9788-7991509e9b00" providerId="ADAL" clId="{CE83D114-1C90-4F39-8D42-4D8D4E384834}" dt="2023-07-02T10:03:59.832" v="6309" actId="1038"/>
          <ac:spMkLst>
            <pc:docMk/>
            <pc:sldMk cId="513165850" sldId="2145707130"/>
            <ac:spMk id="145" creationId="{C9E586F5-BFEF-1986-A150-23020AF00217}"/>
          </ac:spMkLst>
        </pc:spChg>
        <pc:spChg chg="mod">
          <ac:chgData name="Sheng, Yanan" userId="a8f760e9-50c6-421d-9788-7991509e9b00" providerId="ADAL" clId="{CE83D114-1C90-4F39-8D42-4D8D4E384834}" dt="2023-07-02T10:03:59.832" v="6309" actId="1038"/>
          <ac:spMkLst>
            <pc:docMk/>
            <pc:sldMk cId="513165850" sldId="2145707130"/>
            <ac:spMk id="146" creationId="{027266A8-9F4D-C4C7-0B14-91A3270A4880}"/>
          </ac:spMkLst>
        </pc:spChg>
        <pc:spChg chg="mod">
          <ac:chgData name="Sheng, Yanan" userId="a8f760e9-50c6-421d-9788-7991509e9b00" providerId="ADAL" clId="{CE83D114-1C90-4F39-8D42-4D8D4E384834}" dt="2023-07-02T10:03:59.832" v="6309" actId="1038"/>
          <ac:spMkLst>
            <pc:docMk/>
            <pc:sldMk cId="513165850" sldId="2145707130"/>
            <ac:spMk id="148" creationId="{72DFC224-7A19-FBA1-EFE2-08D7FD2AE1C6}"/>
          </ac:spMkLst>
        </pc:spChg>
        <pc:spChg chg="add mod">
          <ac:chgData name="Sheng, Yanan" userId="a8f760e9-50c6-421d-9788-7991509e9b00" providerId="ADAL" clId="{CE83D114-1C90-4F39-8D42-4D8D4E384834}" dt="2023-07-02T10:09:39.867" v="6315"/>
          <ac:spMkLst>
            <pc:docMk/>
            <pc:sldMk cId="513165850" sldId="2145707130"/>
            <ac:spMk id="155" creationId="{AD2B6DFE-B08A-4FAE-6600-20D27BC81E25}"/>
          </ac:spMkLst>
        </pc:spChg>
        <pc:grpChg chg="add del mod">
          <ac:chgData name="Sheng, Yanan" userId="a8f760e9-50c6-421d-9788-7991509e9b00" providerId="ADAL" clId="{CE83D114-1C90-4F39-8D42-4D8D4E384834}" dt="2023-07-02T09:37:26.525" v="6007" actId="478"/>
          <ac:grpSpMkLst>
            <pc:docMk/>
            <pc:sldMk cId="513165850" sldId="2145707130"/>
            <ac:grpSpMk id="19" creationId="{5F46CEF2-97E2-98D4-1C7F-E3ECE82398CF}"/>
          </ac:grpSpMkLst>
        </pc:grpChg>
        <pc:grpChg chg="add del mod">
          <ac:chgData name="Sheng, Yanan" userId="a8f760e9-50c6-421d-9788-7991509e9b00" providerId="ADAL" clId="{CE83D114-1C90-4F39-8D42-4D8D4E384834}" dt="2023-07-02T09:39:17.043" v="6022" actId="478"/>
          <ac:grpSpMkLst>
            <pc:docMk/>
            <pc:sldMk cId="513165850" sldId="2145707130"/>
            <ac:grpSpMk id="29" creationId="{E9119887-1725-60A6-8B83-3B9F321B94D9}"/>
          </ac:grpSpMkLst>
        </pc:grpChg>
        <pc:grpChg chg="mod">
          <ac:chgData name="Sheng, Yanan" userId="a8f760e9-50c6-421d-9788-7991509e9b00" providerId="ADAL" clId="{CE83D114-1C90-4F39-8D42-4D8D4E384834}" dt="2023-07-02T09:37:46.165" v="6011" actId="1076"/>
          <ac:grpSpMkLst>
            <pc:docMk/>
            <pc:sldMk cId="513165850" sldId="2145707130"/>
            <ac:grpSpMk id="30" creationId="{C400EBB1-5FAE-83F1-D919-4750FD19FE76}"/>
          </ac:grpSpMkLst>
        </pc:grpChg>
        <pc:grpChg chg="add mod topLvl">
          <ac:chgData name="Sheng, Yanan" userId="a8f760e9-50c6-421d-9788-7991509e9b00" providerId="ADAL" clId="{CE83D114-1C90-4F39-8D42-4D8D4E384834}" dt="2023-07-02T10:04:04.622" v="6314" actId="1037"/>
          <ac:grpSpMkLst>
            <pc:docMk/>
            <pc:sldMk cId="513165850" sldId="2145707130"/>
            <ac:grpSpMk id="45" creationId="{22B4D2F9-25F3-6C44-C56E-997F0A0EB1C5}"/>
          </ac:grpSpMkLst>
        </pc:grpChg>
        <pc:grpChg chg="add mod topLvl">
          <ac:chgData name="Sheng, Yanan" userId="a8f760e9-50c6-421d-9788-7991509e9b00" providerId="ADAL" clId="{CE83D114-1C90-4F39-8D42-4D8D4E384834}" dt="2023-07-02T10:04:04.622" v="6314" actId="1037"/>
          <ac:grpSpMkLst>
            <pc:docMk/>
            <pc:sldMk cId="513165850" sldId="2145707130"/>
            <ac:grpSpMk id="49" creationId="{D95F8A31-571C-FA46-EB7C-68A71F07F98A}"/>
          </ac:grpSpMkLst>
        </pc:grpChg>
        <pc:grpChg chg="add mod topLvl">
          <ac:chgData name="Sheng, Yanan" userId="a8f760e9-50c6-421d-9788-7991509e9b00" providerId="ADAL" clId="{CE83D114-1C90-4F39-8D42-4D8D4E384834}" dt="2023-07-02T10:04:04.622" v="6314" actId="1037"/>
          <ac:grpSpMkLst>
            <pc:docMk/>
            <pc:sldMk cId="513165850" sldId="2145707130"/>
            <ac:grpSpMk id="53" creationId="{9CC69D04-013B-EB3C-2A51-77D9F715F361}"/>
          </ac:grpSpMkLst>
        </pc:grpChg>
        <pc:grpChg chg="add mod topLvl">
          <ac:chgData name="Sheng, Yanan" userId="a8f760e9-50c6-421d-9788-7991509e9b00" providerId="ADAL" clId="{CE83D114-1C90-4F39-8D42-4D8D4E384834}" dt="2023-07-02T10:04:04.622" v="6314" actId="1037"/>
          <ac:grpSpMkLst>
            <pc:docMk/>
            <pc:sldMk cId="513165850" sldId="2145707130"/>
            <ac:grpSpMk id="56" creationId="{05FAA6EB-5553-813C-A09A-E888EF1E9586}"/>
          </ac:grpSpMkLst>
        </pc:grpChg>
        <pc:grpChg chg="add mod topLvl">
          <ac:chgData name="Sheng, Yanan" userId="a8f760e9-50c6-421d-9788-7991509e9b00" providerId="ADAL" clId="{CE83D114-1C90-4F39-8D42-4D8D4E384834}" dt="2023-07-02T10:04:04.622" v="6314" actId="1037"/>
          <ac:grpSpMkLst>
            <pc:docMk/>
            <pc:sldMk cId="513165850" sldId="2145707130"/>
            <ac:grpSpMk id="71" creationId="{94758C0F-55DD-2E5D-D3F8-603F654B42AE}"/>
          </ac:grpSpMkLst>
        </pc:grpChg>
        <pc:grpChg chg="mod">
          <ac:chgData name="Sheng, Yanan" userId="a8f760e9-50c6-421d-9788-7991509e9b00" providerId="ADAL" clId="{CE83D114-1C90-4F39-8D42-4D8D4E384834}" dt="2023-07-02T10:04:04.622" v="6314" actId="1037"/>
          <ac:grpSpMkLst>
            <pc:docMk/>
            <pc:sldMk cId="513165850" sldId="2145707130"/>
            <ac:grpSpMk id="73" creationId="{3569B286-301E-E097-C654-685C68BE9992}"/>
          </ac:grpSpMkLst>
        </pc:grpChg>
        <pc:grpChg chg="add mod topLvl">
          <ac:chgData name="Sheng, Yanan" userId="a8f760e9-50c6-421d-9788-7991509e9b00" providerId="ADAL" clId="{CE83D114-1C90-4F39-8D42-4D8D4E384834}" dt="2023-07-02T10:04:04.622" v="6314" actId="1037"/>
          <ac:grpSpMkLst>
            <pc:docMk/>
            <pc:sldMk cId="513165850" sldId="2145707130"/>
            <ac:grpSpMk id="76" creationId="{76B03F17-3F6C-5758-B3D5-6811AC9B3EC1}"/>
          </ac:grpSpMkLst>
        </pc:grpChg>
        <pc:grpChg chg="add del mod topLvl">
          <ac:chgData name="Sheng, Yanan" userId="a8f760e9-50c6-421d-9788-7991509e9b00" providerId="ADAL" clId="{CE83D114-1C90-4F39-8D42-4D8D4E384834}" dt="2023-07-02T09:44:16.706" v="6092" actId="478"/>
          <ac:grpSpMkLst>
            <pc:docMk/>
            <pc:sldMk cId="513165850" sldId="2145707130"/>
            <ac:grpSpMk id="80" creationId="{1F35F359-89E1-64FD-8C23-D487F172539E}"/>
          </ac:grpSpMkLst>
        </pc:grpChg>
        <pc:grpChg chg="add del mod topLvl">
          <ac:chgData name="Sheng, Yanan" userId="a8f760e9-50c6-421d-9788-7991509e9b00" providerId="ADAL" clId="{CE83D114-1C90-4F39-8D42-4D8D4E384834}" dt="2023-07-02T09:54:24.509" v="6170" actId="478"/>
          <ac:grpSpMkLst>
            <pc:docMk/>
            <pc:sldMk cId="513165850" sldId="2145707130"/>
            <ac:grpSpMk id="90" creationId="{727823EA-A3FA-36E4-5926-EC964F0D3F81}"/>
          </ac:grpSpMkLst>
        </pc:grpChg>
        <pc:grpChg chg="mod">
          <ac:chgData name="Sheng, Yanan" userId="a8f760e9-50c6-421d-9788-7991509e9b00" providerId="ADAL" clId="{CE83D114-1C90-4F39-8D42-4D8D4E384834}" dt="2023-07-02T09:49:03.630" v="6147" actId="1076"/>
          <ac:grpSpMkLst>
            <pc:docMk/>
            <pc:sldMk cId="513165850" sldId="2145707130"/>
            <ac:grpSpMk id="91" creationId="{04252149-A068-3078-D10C-C256C2087EB6}"/>
          </ac:grpSpMkLst>
        </pc:grpChg>
        <pc:grpChg chg="add del mod">
          <ac:chgData name="Sheng, Yanan" userId="a8f760e9-50c6-421d-9788-7991509e9b00" providerId="ADAL" clId="{CE83D114-1C90-4F39-8D42-4D8D4E384834}" dt="2023-07-02T09:42:32.532" v="6059" actId="165"/>
          <ac:grpSpMkLst>
            <pc:docMk/>
            <pc:sldMk cId="513165850" sldId="2145707130"/>
            <ac:grpSpMk id="97" creationId="{911736F7-9D74-3596-10D9-19F81FCE4ECC}"/>
          </ac:grpSpMkLst>
        </pc:grpChg>
        <pc:grpChg chg="add del mod">
          <ac:chgData name="Sheng, Yanan" userId="a8f760e9-50c6-421d-9788-7991509e9b00" providerId="ADAL" clId="{CE83D114-1C90-4F39-8D42-4D8D4E384834}" dt="2023-07-02T09:57:21.748" v="6226" actId="478"/>
          <ac:grpSpMkLst>
            <pc:docMk/>
            <pc:sldMk cId="513165850" sldId="2145707130"/>
            <ac:grpSpMk id="127" creationId="{D214AB15-90F3-B4B0-EDF1-55C68AA88DF8}"/>
          </ac:grpSpMkLst>
        </pc:grpChg>
        <pc:grpChg chg="add mod">
          <ac:chgData name="Sheng, Yanan" userId="a8f760e9-50c6-421d-9788-7991509e9b00" providerId="ADAL" clId="{CE83D114-1C90-4F39-8D42-4D8D4E384834}" dt="2023-07-02T10:03:59.832" v="6309" actId="1038"/>
          <ac:grpSpMkLst>
            <pc:docMk/>
            <pc:sldMk cId="513165850" sldId="2145707130"/>
            <ac:grpSpMk id="142" creationId="{651E7D27-6542-90A5-FBB6-0E0D0777F449}"/>
          </ac:grpSpMkLst>
        </pc:grpChg>
        <pc:grpChg chg="mod">
          <ac:chgData name="Sheng, Yanan" userId="a8f760e9-50c6-421d-9788-7991509e9b00" providerId="ADAL" clId="{CE83D114-1C90-4F39-8D42-4D8D4E384834}" dt="2023-07-02T10:03:59.832" v="6309" actId="1038"/>
          <ac:grpSpMkLst>
            <pc:docMk/>
            <pc:sldMk cId="513165850" sldId="2145707130"/>
            <ac:grpSpMk id="143" creationId="{09B4D6C4-CD1E-94B8-E735-51B9EBD0471E}"/>
          </ac:grpSpMkLst>
        </pc:grpChg>
        <pc:grpChg chg="add mod topLvl">
          <ac:chgData name="Sheng, Yanan" userId="a8f760e9-50c6-421d-9788-7991509e9b00" providerId="ADAL" clId="{CE83D114-1C90-4F39-8D42-4D8D4E384834}" dt="2023-07-02T10:03:59.832" v="6309" actId="1038"/>
          <ac:grpSpMkLst>
            <pc:docMk/>
            <pc:sldMk cId="513165850" sldId="2145707130"/>
            <ac:grpSpMk id="150" creationId="{8AF05248-BCC7-C3A3-A913-B99E08792956}"/>
          </ac:grpSpMkLst>
        </pc:grpChg>
        <pc:grpChg chg="add del mod">
          <ac:chgData name="Sheng, Yanan" userId="a8f760e9-50c6-421d-9788-7991509e9b00" providerId="ADAL" clId="{CE83D114-1C90-4F39-8D42-4D8D4E384834}" dt="2023-07-02T10:00:24.447" v="6261" actId="165"/>
          <ac:grpSpMkLst>
            <pc:docMk/>
            <pc:sldMk cId="513165850" sldId="2145707130"/>
            <ac:grpSpMk id="151" creationId="{1DBC8CB2-31AF-639C-885A-68DFF0782738}"/>
          </ac:grpSpMkLst>
        </pc:grpChg>
        <pc:grpChg chg="add mod">
          <ac:chgData name="Sheng, Yanan" userId="a8f760e9-50c6-421d-9788-7991509e9b00" providerId="ADAL" clId="{CE83D114-1C90-4F39-8D42-4D8D4E384834}" dt="2023-07-02T10:04:04.622" v="6314" actId="1037"/>
          <ac:grpSpMkLst>
            <pc:docMk/>
            <pc:sldMk cId="513165850" sldId="2145707130"/>
            <ac:grpSpMk id="152" creationId="{7C4C7351-7E9B-CBEE-F201-8EB3EF842978}"/>
          </ac:grpSpMkLst>
        </pc:grpChg>
        <pc:grpChg chg="add mod">
          <ac:chgData name="Sheng, Yanan" userId="a8f760e9-50c6-421d-9788-7991509e9b00" providerId="ADAL" clId="{CE83D114-1C90-4F39-8D42-4D8D4E384834}" dt="2023-07-02T10:04:04.622" v="6314" actId="1037"/>
          <ac:grpSpMkLst>
            <pc:docMk/>
            <pc:sldMk cId="513165850" sldId="2145707130"/>
            <ac:grpSpMk id="153" creationId="{99399924-17CF-5B68-3434-3865ADC99D17}"/>
          </ac:grpSpMkLst>
        </pc:grpChg>
        <pc:grpChg chg="add mod">
          <ac:chgData name="Sheng, Yanan" userId="a8f760e9-50c6-421d-9788-7991509e9b00" providerId="ADAL" clId="{CE83D114-1C90-4F39-8D42-4D8D4E384834}" dt="2023-07-02T10:03:59.832" v="6309" actId="1038"/>
          <ac:grpSpMkLst>
            <pc:docMk/>
            <pc:sldMk cId="513165850" sldId="2145707130"/>
            <ac:grpSpMk id="154" creationId="{B1AC1C12-1AF0-8E0A-8942-4986562A2B50}"/>
          </ac:grpSpMkLst>
        </pc:grpChg>
        <pc:graphicFrameChg chg="add mod topLvl">
          <ac:chgData name="Sheng, Yanan" userId="a8f760e9-50c6-421d-9788-7991509e9b00" providerId="ADAL" clId="{CE83D114-1C90-4F39-8D42-4D8D4E384834}" dt="2023-07-02T10:04:04.622" v="6314" actId="1037"/>
          <ac:graphicFrameMkLst>
            <pc:docMk/>
            <pc:sldMk cId="513165850" sldId="2145707130"/>
            <ac:graphicFrameMk id="100" creationId="{BE5BEA9E-FDD0-DD55-18A3-7E9EF191C597}"/>
          </ac:graphicFrameMkLst>
        </pc:graphicFrameChg>
        <pc:picChg chg="mod">
          <ac:chgData name="Sheng, Yanan" userId="a8f760e9-50c6-421d-9788-7991509e9b00" providerId="ADAL" clId="{CE83D114-1C90-4F39-8D42-4D8D4E384834}" dt="2023-07-02T09:37:20.900" v="6006"/>
          <ac:picMkLst>
            <pc:docMk/>
            <pc:sldMk cId="513165850" sldId="2145707130"/>
            <ac:picMk id="20" creationId="{1A0371E4-FCF6-ABF8-4DA5-D26A1DA4A2A8}"/>
          </ac:picMkLst>
        </pc:picChg>
        <pc:picChg chg="mod">
          <ac:chgData name="Sheng, Yanan" userId="a8f760e9-50c6-421d-9788-7991509e9b00" providerId="ADAL" clId="{CE83D114-1C90-4F39-8D42-4D8D4E384834}" dt="2023-07-02T09:37:46.165" v="6011" actId="1076"/>
          <ac:picMkLst>
            <pc:docMk/>
            <pc:sldMk cId="513165850" sldId="2145707130"/>
            <ac:picMk id="33" creationId="{CF249FCE-6B01-94F5-09B1-1D6AC3D351BF}"/>
          </ac:picMkLst>
        </pc:picChg>
        <pc:picChg chg="mod">
          <ac:chgData name="Sheng, Yanan" userId="a8f760e9-50c6-421d-9788-7991509e9b00" providerId="ADAL" clId="{CE83D114-1C90-4F39-8D42-4D8D4E384834}" dt="2023-07-02T09:37:46.165" v="6011" actId="1076"/>
          <ac:picMkLst>
            <pc:docMk/>
            <pc:sldMk cId="513165850" sldId="2145707130"/>
            <ac:picMk id="35" creationId="{C0C4C1FD-1223-CE53-09FB-04D8CE5B644F}"/>
          </ac:picMkLst>
        </pc:picChg>
        <pc:picChg chg="mod">
          <ac:chgData name="Sheng, Yanan" userId="a8f760e9-50c6-421d-9788-7991509e9b00" providerId="ADAL" clId="{CE83D114-1C90-4F39-8D42-4D8D4E384834}" dt="2023-07-02T09:42:32.532" v="6059" actId="165"/>
          <ac:picMkLst>
            <pc:docMk/>
            <pc:sldMk cId="513165850" sldId="2145707130"/>
            <ac:picMk id="81" creationId="{E539F955-AE3C-F29B-1407-13530C13DA09}"/>
          </ac:picMkLst>
        </pc:picChg>
        <pc:picChg chg="mod">
          <ac:chgData name="Sheng, Yanan" userId="a8f760e9-50c6-421d-9788-7991509e9b00" providerId="ADAL" clId="{CE83D114-1C90-4F39-8D42-4D8D4E384834}" dt="2023-07-02T09:49:03.630" v="6147" actId="1076"/>
          <ac:picMkLst>
            <pc:docMk/>
            <pc:sldMk cId="513165850" sldId="2145707130"/>
            <ac:picMk id="94" creationId="{229BE82F-24EF-BE23-83F9-E2A50FA7222B}"/>
          </ac:picMkLst>
        </pc:picChg>
        <pc:picChg chg="mod">
          <ac:chgData name="Sheng, Yanan" userId="a8f760e9-50c6-421d-9788-7991509e9b00" providerId="ADAL" clId="{CE83D114-1C90-4F39-8D42-4D8D4E384834}" dt="2023-07-02T09:49:03.630" v="6147" actId="1076"/>
          <ac:picMkLst>
            <pc:docMk/>
            <pc:sldMk cId="513165850" sldId="2145707130"/>
            <ac:picMk id="96" creationId="{2B365FF3-99DC-D75D-3ECF-4F6A0D6B2507}"/>
          </ac:picMkLst>
        </pc:picChg>
        <pc:picChg chg="add mod topLvl">
          <ac:chgData name="Sheng, Yanan" userId="a8f760e9-50c6-421d-9788-7991509e9b00" providerId="ADAL" clId="{CE83D114-1C90-4F39-8D42-4D8D4E384834}" dt="2023-07-02T10:04:04.622" v="6314" actId="1037"/>
          <ac:picMkLst>
            <pc:docMk/>
            <pc:sldMk cId="513165850" sldId="2145707130"/>
            <ac:picMk id="103" creationId="{5148D4E3-B3D3-4E06-E641-E760626EA291}"/>
          </ac:picMkLst>
        </pc:picChg>
        <pc:picChg chg="add mod topLvl">
          <ac:chgData name="Sheng, Yanan" userId="a8f760e9-50c6-421d-9788-7991509e9b00" providerId="ADAL" clId="{CE83D114-1C90-4F39-8D42-4D8D4E384834}" dt="2023-07-02T10:04:04.622" v="6314" actId="1037"/>
          <ac:picMkLst>
            <pc:docMk/>
            <pc:sldMk cId="513165850" sldId="2145707130"/>
            <ac:picMk id="104" creationId="{4C021A9B-8F60-1FB1-0500-91B53D3AC3F7}"/>
          </ac:picMkLst>
        </pc:picChg>
        <pc:picChg chg="mod">
          <ac:chgData name="Sheng, Yanan" userId="a8f760e9-50c6-421d-9788-7991509e9b00" providerId="ADAL" clId="{CE83D114-1C90-4F39-8D42-4D8D4E384834}" dt="2023-07-02T09:54:25.196" v="6171"/>
          <ac:picMkLst>
            <pc:docMk/>
            <pc:sldMk cId="513165850" sldId="2145707130"/>
            <ac:picMk id="128" creationId="{228911AE-8771-083A-ECD6-7949786DC37A}"/>
          </ac:picMkLst>
        </pc:picChg>
        <pc:picChg chg="mod">
          <ac:chgData name="Sheng, Yanan" userId="a8f760e9-50c6-421d-9788-7991509e9b00" providerId="ADAL" clId="{CE83D114-1C90-4F39-8D42-4D8D4E384834}" dt="2023-07-02T10:03:59.832" v="6309" actId="1038"/>
          <ac:picMkLst>
            <pc:docMk/>
            <pc:sldMk cId="513165850" sldId="2145707130"/>
            <ac:picMk id="147" creationId="{04E7D015-2488-5802-262D-67AD323820B3}"/>
          </ac:picMkLst>
        </pc:picChg>
        <pc:picChg chg="mod">
          <ac:chgData name="Sheng, Yanan" userId="a8f760e9-50c6-421d-9788-7991509e9b00" providerId="ADAL" clId="{CE83D114-1C90-4F39-8D42-4D8D4E384834}" dt="2023-07-02T10:03:59.832" v="6309" actId="1038"/>
          <ac:picMkLst>
            <pc:docMk/>
            <pc:sldMk cId="513165850" sldId="2145707130"/>
            <ac:picMk id="149" creationId="{7D740C1D-2E3A-FD1A-EB55-329F3947244E}"/>
          </ac:picMkLst>
        </pc:picChg>
        <pc:cxnChg chg="add mod topLvl">
          <ac:chgData name="Sheng, Yanan" userId="a8f760e9-50c6-421d-9788-7991509e9b00" providerId="ADAL" clId="{CE83D114-1C90-4F39-8D42-4D8D4E384834}" dt="2023-07-02T10:04:04.622" v="6314" actId="1037"/>
          <ac:cxnSpMkLst>
            <pc:docMk/>
            <pc:sldMk cId="513165850" sldId="2145707130"/>
            <ac:cxnSpMk id="118" creationId="{05FF2DC2-EBF5-A492-D95B-D2A4D76C36A2}"/>
          </ac:cxnSpMkLst>
        </pc:cxnChg>
        <pc:cxnChg chg="add mod topLvl">
          <ac:chgData name="Sheng, Yanan" userId="a8f760e9-50c6-421d-9788-7991509e9b00" providerId="ADAL" clId="{CE83D114-1C90-4F39-8D42-4D8D4E384834}" dt="2023-07-02T10:04:04.622" v="6314" actId="1037"/>
          <ac:cxnSpMkLst>
            <pc:docMk/>
            <pc:sldMk cId="513165850" sldId="2145707130"/>
            <ac:cxnSpMk id="122" creationId="{022633F0-3671-E587-A1FB-FD6E87F96D52}"/>
          </ac:cxnSpMkLst>
        </pc:cxnChg>
      </pc:sldChg>
      <pc:sldChg chg="addSp delSp modSp new del mod">
        <pc:chgData name="Sheng, Yanan" userId="a8f760e9-50c6-421d-9788-7991509e9b00" providerId="ADAL" clId="{CE83D114-1C90-4F39-8D42-4D8D4E384834}" dt="2023-06-14T05:48:46.662" v="1962" actId="47"/>
        <pc:sldMkLst>
          <pc:docMk/>
          <pc:sldMk cId="2760431257" sldId="2145707130"/>
        </pc:sldMkLst>
        <pc:spChg chg="del">
          <ac:chgData name="Sheng, Yanan" userId="a8f760e9-50c6-421d-9788-7991509e9b00" providerId="ADAL" clId="{CE83D114-1C90-4F39-8D42-4D8D4E384834}" dt="2023-06-14T05:48:15.026" v="1956" actId="478"/>
          <ac:spMkLst>
            <pc:docMk/>
            <pc:sldMk cId="2760431257" sldId="2145707130"/>
            <ac:spMk id="2" creationId="{F011CE64-782D-F85D-F416-C2ADAFBB361C}"/>
          </ac:spMkLst>
        </pc:spChg>
        <pc:spChg chg="del">
          <ac:chgData name="Sheng, Yanan" userId="a8f760e9-50c6-421d-9788-7991509e9b00" providerId="ADAL" clId="{CE83D114-1C90-4F39-8D42-4D8D4E384834}" dt="2023-06-14T05:48:15.026" v="1956" actId="478"/>
          <ac:spMkLst>
            <pc:docMk/>
            <pc:sldMk cId="2760431257" sldId="2145707130"/>
            <ac:spMk id="3" creationId="{96A0907B-9C23-C07C-A334-4354B4DA66D4}"/>
          </ac:spMkLst>
        </pc:spChg>
        <pc:spChg chg="del">
          <ac:chgData name="Sheng, Yanan" userId="a8f760e9-50c6-421d-9788-7991509e9b00" providerId="ADAL" clId="{CE83D114-1C90-4F39-8D42-4D8D4E384834}" dt="2023-06-14T05:48:15.026" v="1956" actId="478"/>
          <ac:spMkLst>
            <pc:docMk/>
            <pc:sldMk cId="2760431257" sldId="2145707130"/>
            <ac:spMk id="4" creationId="{02D6CE6D-E473-9573-DB41-F0BFB84755DB}"/>
          </ac:spMkLst>
        </pc:spChg>
        <pc:spChg chg="del">
          <ac:chgData name="Sheng, Yanan" userId="a8f760e9-50c6-421d-9788-7991509e9b00" providerId="ADAL" clId="{CE83D114-1C90-4F39-8D42-4D8D4E384834}" dt="2023-06-14T05:48:15.026" v="1956" actId="478"/>
          <ac:spMkLst>
            <pc:docMk/>
            <pc:sldMk cId="2760431257" sldId="2145707130"/>
            <ac:spMk id="5" creationId="{B56ED9DF-29CD-EE0C-E356-9FC9FFEF363B}"/>
          </ac:spMkLst>
        </pc:spChg>
        <pc:spChg chg="del">
          <ac:chgData name="Sheng, Yanan" userId="a8f760e9-50c6-421d-9788-7991509e9b00" providerId="ADAL" clId="{CE83D114-1C90-4F39-8D42-4D8D4E384834}" dt="2023-06-14T05:48:33.139" v="1959" actId="478"/>
          <ac:spMkLst>
            <pc:docMk/>
            <pc:sldMk cId="2760431257" sldId="2145707130"/>
            <ac:spMk id="6" creationId="{6015ADAF-DFC5-04F7-4B44-3B1AAD19834F}"/>
          </ac:spMkLst>
        </pc:spChg>
        <pc:spChg chg="del">
          <ac:chgData name="Sheng, Yanan" userId="a8f760e9-50c6-421d-9788-7991509e9b00" providerId="ADAL" clId="{CE83D114-1C90-4F39-8D42-4D8D4E384834}" dt="2023-06-14T05:48:15.026" v="1956" actId="478"/>
          <ac:spMkLst>
            <pc:docMk/>
            <pc:sldMk cId="2760431257" sldId="2145707130"/>
            <ac:spMk id="7" creationId="{0447380F-B446-C220-29AE-F962430C2BD4}"/>
          </ac:spMkLst>
        </pc:spChg>
        <pc:spChg chg="del">
          <ac:chgData name="Sheng, Yanan" userId="a8f760e9-50c6-421d-9788-7991509e9b00" providerId="ADAL" clId="{CE83D114-1C90-4F39-8D42-4D8D4E384834}" dt="2023-06-14T05:48:15.026" v="1956" actId="478"/>
          <ac:spMkLst>
            <pc:docMk/>
            <pc:sldMk cId="2760431257" sldId="2145707130"/>
            <ac:spMk id="8" creationId="{6E4B2F45-34BF-AC32-D090-241976E6BFD0}"/>
          </ac:spMkLst>
        </pc:spChg>
        <pc:spChg chg="del">
          <ac:chgData name="Sheng, Yanan" userId="a8f760e9-50c6-421d-9788-7991509e9b00" providerId="ADAL" clId="{CE83D114-1C90-4F39-8D42-4D8D4E384834}" dt="2023-06-14T05:48:15.026" v="1956" actId="478"/>
          <ac:spMkLst>
            <pc:docMk/>
            <pc:sldMk cId="2760431257" sldId="2145707130"/>
            <ac:spMk id="9" creationId="{B0174A77-6681-7BED-4175-350E13AEF0A6}"/>
          </ac:spMkLst>
        </pc:spChg>
        <pc:spChg chg="del">
          <ac:chgData name="Sheng, Yanan" userId="a8f760e9-50c6-421d-9788-7991509e9b00" providerId="ADAL" clId="{CE83D114-1C90-4F39-8D42-4D8D4E384834}" dt="2023-06-14T05:48:15.026" v="1956" actId="478"/>
          <ac:spMkLst>
            <pc:docMk/>
            <pc:sldMk cId="2760431257" sldId="2145707130"/>
            <ac:spMk id="10" creationId="{DE585C47-B7A8-F017-0BF3-CAEF577ECB0F}"/>
          </ac:spMkLst>
        </pc:spChg>
        <pc:spChg chg="add del mod">
          <ac:chgData name="Sheng, Yanan" userId="a8f760e9-50c6-421d-9788-7991509e9b00" providerId="ADAL" clId="{CE83D114-1C90-4F39-8D42-4D8D4E384834}" dt="2023-06-14T05:48:31.418" v="1958"/>
          <ac:spMkLst>
            <pc:docMk/>
            <pc:sldMk cId="2760431257" sldId="2145707130"/>
            <ac:spMk id="11" creationId="{3786597C-D883-27D5-0C16-1537A3DEBF9D}"/>
          </ac:spMkLst>
        </pc:spChg>
        <pc:spChg chg="add del mod">
          <ac:chgData name="Sheng, Yanan" userId="a8f760e9-50c6-421d-9788-7991509e9b00" providerId="ADAL" clId="{CE83D114-1C90-4F39-8D42-4D8D4E384834}" dt="2023-06-14T05:48:31.418" v="1958"/>
          <ac:spMkLst>
            <pc:docMk/>
            <pc:sldMk cId="2760431257" sldId="2145707130"/>
            <ac:spMk id="12" creationId="{7D7833D1-B199-767B-C0D4-300F9AF9B247}"/>
          </ac:spMkLst>
        </pc:spChg>
        <pc:spChg chg="add del mod">
          <ac:chgData name="Sheng, Yanan" userId="a8f760e9-50c6-421d-9788-7991509e9b00" providerId="ADAL" clId="{CE83D114-1C90-4F39-8D42-4D8D4E384834}" dt="2023-06-14T05:48:31.418" v="1958"/>
          <ac:spMkLst>
            <pc:docMk/>
            <pc:sldMk cId="2760431257" sldId="2145707130"/>
            <ac:spMk id="13" creationId="{5ACCAA5A-8C5F-66EE-F220-F83075B8C0D8}"/>
          </ac:spMkLst>
        </pc:spChg>
        <pc:spChg chg="add mod">
          <ac:chgData name="Sheng, Yanan" userId="a8f760e9-50c6-421d-9788-7991509e9b00" providerId="ADAL" clId="{CE83D114-1C90-4F39-8D42-4D8D4E384834}" dt="2023-06-14T05:48:33.451" v="1960"/>
          <ac:spMkLst>
            <pc:docMk/>
            <pc:sldMk cId="2760431257" sldId="2145707130"/>
            <ac:spMk id="14" creationId="{507BA6FC-2017-D225-9FE6-871B87E8CAE5}"/>
          </ac:spMkLst>
        </pc:spChg>
        <pc:spChg chg="add mod">
          <ac:chgData name="Sheng, Yanan" userId="a8f760e9-50c6-421d-9788-7991509e9b00" providerId="ADAL" clId="{CE83D114-1C90-4F39-8D42-4D8D4E384834}" dt="2023-06-14T05:48:33.451" v="1960"/>
          <ac:spMkLst>
            <pc:docMk/>
            <pc:sldMk cId="2760431257" sldId="2145707130"/>
            <ac:spMk id="15" creationId="{8DD82F92-DCCC-1528-C791-A0DDD7D1AB3D}"/>
          </ac:spMkLst>
        </pc:spChg>
        <pc:spChg chg="add mod">
          <ac:chgData name="Sheng, Yanan" userId="a8f760e9-50c6-421d-9788-7991509e9b00" providerId="ADAL" clId="{CE83D114-1C90-4F39-8D42-4D8D4E384834}" dt="2023-06-14T05:48:33.451" v="1960"/>
          <ac:spMkLst>
            <pc:docMk/>
            <pc:sldMk cId="2760431257" sldId="2145707130"/>
            <ac:spMk id="16" creationId="{999A7627-5741-65F7-1CA5-A069154B00D4}"/>
          </ac:spMkLst>
        </pc:spChg>
      </pc:sldChg>
      <pc:sldChg chg="addSp delSp modSp new del mod">
        <pc:chgData name="Sheng, Yanan" userId="a8f760e9-50c6-421d-9788-7991509e9b00" providerId="ADAL" clId="{CE83D114-1C90-4F39-8D42-4D8D4E384834}" dt="2023-07-02T09:15:13.552" v="5706" actId="47"/>
        <pc:sldMkLst>
          <pc:docMk/>
          <pc:sldMk cId="3615939919" sldId="2145707130"/>
        </pc:sldMkLst>
        <pc:spChg chg="del">
          <ac:chgData name="Sheng, Yanan" userId="a8f760e9-50c6-421d-9788-7991509e9b00" providerId="ADAL" clId="{CE83D114-1C90-4F39-8D42-4D8D4E384834}" dt="2023-07-02T09:01:45.728" v="5576" actId="478"/>
          <ac:spMkLst>
            <pc:docMk/>
            <pc:sldMk cId="3615939919" sldId="2145707130"/>
            <ac:spMk id="2" creationId="{B408C671-6E10-50BC-7C81-F4D7A274F887}"/>
          </ac:spMkLst>
        </pc:spChg>
        <pc:spChg chg="del">
          <ac:chgData name="Sheng, Yanan" userId="a8f760e9-50c6-421d-9788-7991509e9b00" providerId="ADAL" clId="{CE83D114-1C90-4F39-8D42-4D8D4E384834}" dt="2023-07-02T08:21:57.106" v="5198" actId="478"/>
          <ac:spMkLst>
            <pc:docMk/>
            <pc:sldMk cId="3615939919" sldId="2145707130"/>
            <ac:spMk id="3" creationId="{17260A5F-DE7A-12A0-74A4-C824E332A5E6}"/>
          </ac:spMkLst>
        </pc:spChg>
        <pc:spChg chg="del">
          <ac:chgData name="Sheng, Yanan" userId="a8f760e9-50c6-421d-9788-7991509e9b00" providerId="ADAL" clId="{CE83D114-1C90-4F39-8D42-4D8D4E384834}" dt="2023-07-02T08:21:57.106" v="5198" actId="478"/>
          <ac:spMkLst>
            <pc:docMk/>
            <pc:sldMk cId="3615939919" sldId="2145707130"/>
            <ac:spMk id="4" creationId="{43D8841B-B290-907E-AFF5-1E256E9CA1ED}"/>
          </ac:spMkLst>
        </pc:spChg>
        <pc:spChg chg="del">
          <ac:chgData name="Sheng, Yanan" userId="a8f760e9-50c6-421d-9788-7991509e9b00" providerId="ADAL" clId="{CE83D114-1C90-4F39-8D42-4D8D4E384834}" dt="2023-07-02T08:21:57.106" v="5198" actId="478"/>
          <ac:spMkLst>
            <pc:docMk/>
            <pc:sldMk cId="3615939919" sldId="2145707130"/>
            <ac:spMk id="5" creationId="{8E64C16F-0FC0-3130-7A14-2B321B7A91B2}"/>
          </ac:spMkLst>
        </pc:spChg>
        <pc:spChg chg="del">
          <ac:chgData name="Sheng, Yanan" userId="a8f760e9-50c6-421d-9788-7991509e9b00" providerId="ADAL" clId="{CE83D114-1C90-4F39-8D42-4D8D4E384834}" dt="2023-07-02T08:22:04.280" v="5199" actId="478"/>
          <ac:spMkLst>
            <pc:docMk/>
            <pc:sldMk cId="3615939919" sldId="2145707130"/>
            <ac:spMk id="6" creationId="{588E4511-30E6-03F5-0479-CA2072950DDD}"/>
          </ac:spMkLst>
        </pc:spChg>
        <pc:spChg chg="del">
          <ac:chgData name="Sheng, Yanan" userId="a8f760e9-50c6-421d-9788-7991509e9b00" providerId="ADAL" clId="{CE83D114-1C90-4F39-8D42-4D8D4E384834}" dt="2023-07-02T08:21:57.106" v="5198" actId="478"/>
          <ac:spMkLst>
            <pc:docMk/>
            <pc:sldMk cId="3615939919" sldId="2145707130"/>
            <ac:spMk id="9" creationId="{777DC58A-BEEA-25AE-729E-4B6C4BFCFF6C}"/>
          </ac:spMkLst>
        </pc:spChg>
        <pc:spChg chg="del">
          <ac:chgData name="Sheng, Yanan" userId="a8f760e9-50c6-421d-9788-7991509e9b00" providerId="ADAL" clId="{CE83D114-1C90-4F39-8D42-4D8D4E384834}" dt="2023-07-02T08:21:57.106" v="5198" actId="478"/>
          <ac:spMkLst>
            <pc:docMk/>
            <pc:sldMk cId="3615939919" sldId="2145707130"/>
            <ac:spMk id="10" creationId="{4E85B489-91C1-214D-E98F-FE10DBD8A724}"/>
          </ac:spMkLst>
        </pc:spChg>
        <pc:spChg chg="add mod">
          <ac:chgData name="Sheng, Yanan" userId="a8f760e9-50c6-421d-9788-7991509e9b00" providerId="ADAL" clId="{CE83D114-1C90-4F39-8D42-4D8D4E384834}" dt="2023-07-02T08:22:04.748" v="5200"/>
          <ac:spMkLst>
            <pc:docMk/>
            <pc:sldMk cId="3615939919" sldId="2145707130"/>
            <ac:spMk id="11" creationId="{5EB6CEE6-8E64-9DE7-37A8-25A9EEDA1D5F}"/>
          </ac:spMkLst>
        </pc:spChg>
        <pc:spChg chg="add mod">
          <ac:chgData name="Sheng, Yanan" userId="a8f760e9-50c6-421d-9788-7991509e9b00" providerId="ADAL" clId="{CE83D114-1C90-4F39-8D42-4D8D4E384834}" dt="2023-07-02T08:22:51.894" v="5206" actId="207"/>
          <ac:spMkLst>
            <pc:docMk/>
            <pc:sldMk cId="3615939919" sldId="2145707130"/>
            <ac:spMk id="12" creationId="{B689D2F8-0743-7A5A-DBB7-3871E2FEF038}"/>
          </ac:spMkLst>
        </pc:spChg>
        <pc:spChg chg="add del">
          <ac:chgData name="Sheng, Yanan" userId="a8f760e9-50c6-421d-9788-7991509e9b00" providerId="ADAL" clId="{CE83D114-1C90-4F39-8D42-4D8D4E384834}" dt="2023-07-02T08:27:31.787" v="5326" actId="22"/>
          <ac:spMkLst>
            <pc:docMk/>
            <pc:sldMk cId="3615939919" sldId="2145707130"/>
            <ac:spMk id="14" creationId="{9E83A9D5-BF86-186C-4B2C-21AEB900FB25}"/>
          </ac:spMkLst>
        </pc:spChg>
        <pc:spChg chg="add del mod">
          <ac:chgData name="Sheng, Yanan" userId="a8f760e9-50c6-421d-9788-7991509e9b00" providerId="ADAL" clId="{CE83D114-1C90-4F39-8D42-4D8D4E384834}" dt="2023-07-02T09:14:30.596" v="5703" actId="21"/>
          <ac:spMkLst>
            <pc:docMk/>
            <pc:sldMk cId="3615939919" sldId="2145707130"/>
            <ac:spMk id="16" creationId="{50BA66F6-0960-0AD0-B056-5BE544E4521E}"/>
          </ac:spMkLst>
        </pc:spChg>
        <pc:spChg chg="add del mod">
          <ac:chgData name="Sheng, Yanan" userId="a8f760e9-50c6-421d-9788-7991509e9b00" providerId="ADAL" clId="{CE83D114-1C90-4F39-8D42-4D8D4E384834}" dt="2023-07-02T08:47:37.275" v="5445" actId="478"/>
          <ac:spMkLst>
            <pc:docMk/>
            <pc:sldMk cId="3615939919" sldId="2145707130"/>
            <ac:spMk id="17" creationId="{852CD88A-A0E3-0DCD-A068-B488587D612A}"/>
          </ac:spMkLst>
        </pc:spChg>
        <pc:spChg chg="add del mod">
          <ac:chgData name="Sheng, Yanan" userId="a8f760e9-50c6-421d-9788-7991509e9b00" providerId="ADAL" clId="{CE83D114-1C90-4F39-8D42-4D8D4E384834}" dt="2023-07-02T08:47:37.275" v="5445" actId="478"/>
          <ac:spMkLst>
            <pc:docMk/>
            <pc:sldMk cId="3615939919" sldId="2145707130"/>
            <ac:spMk id="18" creationId="{3B086395-7F6F-C42A-7B29-EBAAB3A4508E}"/>
          </ac:spMkLst>
        </pc:spChg>
        <pc:spChg chg="add del mod">
          <ac:chgData name="Sheng, Yanan" userId="a8f760e9-50c6-421d-9788-7991509e9b00" providerId="ADAL" clId="{CE83D114-1C90-4F39-8D42-4D8D4E384834}" dt="2023-07-02T08:47:39.521" v="5446" actId="478"/>
          <ac:spMkLst>
            <pc:docMk/>
            <pc:sldMk cId="3615939919" sldId="2145707130"/>
            <ac:spMk id="19" creationId="{4047A89C-D54E-1053-1B2B-1B90E6A8F468}"/>
          </ac:spMkLst>
        </pc:spChg>
        <pc:spChg chg="add del mod">
          <ac:chgData name="Sheng, Yanan" userId="a8f760e9-50c6-421d-9788-7991509e9b00" providerId="ADAL" clId="{CE83D114-1C90-4F39-8D42-4D8D4E384834}" dt="2023-07-02T08:47:37.275" v="5445" actId="478"/>
          <ac:spMkLst>
            <pc:docMk/>
            <pc:sldMk cId="3615939919" sldId="2145707130"/>
            <ac:spMk id="20" creationId="{189E02EB-1311-51AC-A3DB-8E1CF0DF2E93}"/>
          </ac:spMkLst>
        </pc:spChg>
        <pc:spChg chg="add del mod">
          <ac:chgData name="Sheng, Yanan" userId="a8f760e9-50c6-421d-9788-7991509e9b00" providerId="ADAL" clId="{CE83D114-1C90-4F39-8D42-4D8D4E384834}" dt="2023-07-02T08:47:39.521" v="5446" actId="478"/>
          <ac:spMkLst>
            <pc:docMk/>
            <pc:sldMk cId="3615939919" sldId="2145707130"/>
            <ac:spMk id="21" creationId="{33EA18FD-D529-7863-4197-EA008BB5FAC7}"/>
          </ac:spMkLst>
        </pc:spChg>
        <pc:spChg chg="mod">
          <ac:chgData name="Sheng, Yanan" userId="a8f760e9-50c6-421d-9788-7991509e9b00" providerId="ADAL" clId="{CE83D114-1C90-4F39-8D42-4D8D4E384834}" dt="2023-07-02T08:30:10.994" v="5353" actId="1076"/>
          <ac:spMkLst>
            <pc:docMk/>
            <pc:sldMk cId="3615939919" sldId="2145707130"/>
            <ac:spMk id="23" creationId="{0E0B01E1-94F8-104B-505F-CEEBB0FE8728}"/>
          </ac:spMkLst>
        </pc:spChg>
        <pc:spChg chg="mod">
          <ac:chgData name="Sheng, Yanan" userId="a8f760e9-50c6-421d-9788-7991509e9b00" providerId="ADAL" clId="{CE83D114-1C90-4F39-8D42-4D8D4E384834}" dt="2023-07-02T08:30:10.994" v="5353" actId="1076"/>
          <ac:spMkLst>
            <pc:docMk/>
            <pc:sldMk cId="3615939919" sldId="2145707130"/>
            <ac:spMk id="25" creationId="{B2DF2590-C7C5-3BB3-F121-E6B9772F814A}"/>
          </ac:spMkLst>
        </pc:spChg>
        <pc:spChg chg="add del mod">
          <ac:chgData name="Sheng, Yanan" userId="a8f760e9-50c6-421d-9788-7991509e9b00" providerId="ADAL" clId="{CE83D114-1C90-4F39-8D42-4D8D4E384834}" dt="2023-07-02T08:47:37.275" v="5445" actId="478"/>
          <ac:spMkLst>
            <pc:docMk/>
            <pc:sldMk cId="3615939919" sldId="2145707130"/>
            <ac:spMk id="27" creationId="{F1FB9DA3-7A04-1F36-D14E-95952526004A}"/>
          </ac:spMkLst>
        </pc:spChg>
        <pc:spChg chg="add del mod">
          <ac:chgData name="Sheng, Yanan" userId="a8f760e9-50c6-421d-9788-7991509e9b00" providerId="ADAL" clId="{CE83D114-1C90-4F39-8D42-4D8D4E384834}" dt="2023-07-02T08:47:37.275" v="5445" actId="478"/>
          <ac:spMkLst>
            <pc:docMk/>
            <pc:sldMk cId="3615939919" sldId="2145707130"/>
            <ac:spMk id="28" creationId="{DA73BDC7-DDBA-9ECC-15EA-1DB2BFF5F62E}"/>
          </ac:spMkLst>
        </pc:spChg>
        <pc:spChg chg="add del mod">
          <ac:chgData name="Sheng, Yanan" userId="a8f760e9-50c6-421d-9788-7991509e9b00" providerId="ADAL" clId="{CE83D114-1C90-4F39-8D42-4D8D4E384834}" dt="2023-07-02T08:47:39.521" v="5446" actId="478"/>
          <ac:spMkLst>
            <pc:docMk/>
            <pc:sldMk cId="3615939919" sldId="2145707130"/>
            <ac:spMk id="29" creationId="{89D54ECA-5DEB-7559-E011-2CC2D517DD23}"/>
          </ac:spMkLst>
        </pc:spChg>
        <pc:spChg chg="add del mod">
          <ac:chgData name="Sheng, Yanan" userId="a8f760e9-50c6-421d-9788-7991509e9b00" providerId="ADAL" clId="{CE83D114-1C90-4F39-8D42-4D8D4E384834}" dt="2023-07-02T08:47:37.275" v="5445" actId="478"/>
          <ac:spMkLst>
            <pc:docMk/>
            <pc:sldMk cId="3615939919" sldId="2145707130"/>
            <ac:spMk id="30" creationId="{C5B864A8-9232-7136-6842-1D40F72ABCA0}"/>
          </ac:spMkLst>
        </pc:spChg>
        <pc:spChg chg="add del mod">
          <ac:chgData name="Sheng, Yanan" userId="a8f760e9-50c6-421d-9788-7991509e9b00" providerId="ADAL" clId="{CE83D114-1C90-4F39-8D42-4D8D4E384834}" dt="2023-07-02T08:43:13.436" v="5442" actId="478"/>
          <ac:spMkLst>
            <pc:docMk/>
            <pc:sldMk cId="3615939919" sldId="2145707130"/>
            <ac:spMk id="32" creationId="{25DE6768-7712-E75A-47D5-DF8C70A1EF15}"/>
          </ac:spMkLst>
        </pc:spChg>
        <pc:spChg chg="add del mod">
          <ac:chgData name="Sheng, Yanan" userId="a8f760e9-50c6-421d-9788-7991509e9b00" providerId="ADAL" clId="{CE83D114-1C90-4F39-8D42-4D8D4E384834}" dt="2023-07-02T08:43:13.436" v="5442" actId="478"/>
          <ac:spMkLst>
            <pc:docMk/>
            <pc:sldMk cId="3615939919" sldId="2145707130"/>
            <ac:spMk id="33" creationId="{1F1A7013-B67C-4A1F-E56E-F693D3D7D701}"/>
          </ac:spMkLst>
        </pc:spChg>
        <pc:spChg chg="add del mod">
          <ac:chgData name="Sheng, Yanan" userId="a8f760e9-50c6-421d-9788-7991509e9b00" providerId="ADAL" clId="{CE83D114-1C90-4F39-8D42-4D8D4E384834}" dt="2023-07-02T09:01:45.728" v="5576" actId="478"/>
          <ac:spMkLst>
            <pc:docMk/>
            <pc:sldMk cId="3615939919" sldId="2145707130"/>
            <ac:spMk id="34" creationId="{AC9EC8AA-15C4-8107-E4C0-B0A7E8FA6DF2}"/>
          </ac:spMkLst>
        </pc:spChg>
        <pc:spChg chg="add del mod">
          <ac:chgData name="Sheng, Yanan" userId="a8f760e9-50c6-421d-9788-7991509e9b00" providerId="ADAL" clId="{CE83D114-1C90-4F39-8D42-4D8D4E384834}" dt="2023-07-02T09:01:45.728" v="5576" actId="478"/>
          <ac:spMkLst>
            <pc:docMk/>
            <pc:sldMk cId="3615939919" sldId="2145707130"/>
            <ac:spMk id="35" creationId="{415E6D45-C854-78B8-5609-FB666845F984}"/>
          </ac:spMkLst>
        </pc:spChg>
        <pc:spChg chg="add del mod">
          <ac:chgData name="Sheng, Yanan" userId="a8f760e9-50c6-421d-9788-7991509e9b00" providerId="ADAL" clId="{CE83D114-1C90-4F39-8D42-4D8D4E384834}" dt="2023-07-02T09:01:45.728" v="5576" actId="478"/>
          <ac:spMkLst>
            <pc:docMk/>
            <pc:sldMk cId="3615939919" sldId="2145707130"/>
            <ac:spMk id="36" creationId="{5F4B6B02-149B-FCC1-B709-855BD03C9AAB}"/>
          </ac:spMkLst>
        </pc:spChg>
        <pc:spChg chg="add del mod topLvl">
          <ac:chgData name="Sheng, Yanan" userId="a8f760e9-50c6-421d-9788-7991509e9b00" providerId="ADAL" clId="{CE83D114-1C90-4F39-8D42-4D8D4E384834}" dt="2023-07-02T08:53:33.724" v="5486" actId="478"/>
          <ac:spMkLst>
            <pc:docMk/>
            <pc:sldMk cId="3615939919" sldId="2145707130"/>
            <ac:spMk id="37" creationId="{BD44256E-1889-5F07-5EE8-8E1B9809A9BA}"/>
          </ac:spMkLst>
        </pc:spChg>
        <pc:spChg chg="add del mod topLvl">
          <ac:chgData name="Sheng, Yanan" userId="a8f760e9-50c6-421d-9788-7991509e9b00" providerId="ADAL" clId="{CE83D114-1C90-4F39-8D42-4D8D4E384834}" dt="2023-07-02T08:53:33.724" v="5486" actId="478"/>
          <ac:spMkLst>
            <pc:docMk/>
            <pc:sldMk cId="3615939919" sldId="2145707130"/>
            <ac:spMk id="38" creationId="{C84327C9-D82C-C266-CE00-019B0738D31C}"/>
          </ac:spMkLst>
        </pc:spChg>
        <pc:spChg chg="add del mod">
          <ac:chgData name="Sheng, Yanan" userId="a8f760e9-50c6-421d-9788-7991509e9b00" providerId="ADAL" clId="{CE83D114-1C90-4F39-8D42-4D8D4E384834}" dt="2023-07-02T09:01:45.728" v="5576" actId="478"/>
          <ac:spMkLst>
            <pc:docMk/>
            <pc:sldMk cId="3615939919" sldId="2145707130"/>
            <ac:spMk id="39" creationId="{C0941212-8D36-5406-4EA2-AE3C15471BCA}"/>
          </ac:spMkLst>
        </pc:spChg>
        <pc:spChg chg="add del mod">
          <ac:chgData name="Sheng, Yanan" userId="a8f760e9-50c6-421d-9788-7991509e9b00" providerId="ADAL" clId="{CE83D114-1C90-4F39-8D42-4D8D4E384834}" dt="2023-07-02T09:01:45.728" v="5576" actId="478"/>
          <ac:spMkLst>
            <pc:docMk/>
            <pc:sldMk cId="3615939919" sldId="2145707130"/>
            <ac:spMk id="40" creationId="{CCF47F89-0B67-2850-A90A-BEF1B2B24C2E}"/>
          </ac:spMkLst>
        </pc:spChg>
        <pc:spChg chg="add del mod topLvl">
          <ac:chgData name="Sheng, Yanan" userId="a8f760e9-50c6-421d-9788-7991509e9b00" providerId="ADAL" clId="{CE83D114-1C90-4F39-8D42-4D8D4E384834}" dt="2023-07-02T08:53:33.724" v="5486" actId="478"/>
          <ac:spMkLst>
            <pc:docMk/>
            <pc:sldMk cId="3615939919" sldId="2145707130"/>
            <ac:spMk id="41" creationId="{7AAAAD1A-0F65-DC33-06A1-E642F4F95B86}"/>
          </ac:spMkLst>
        </pc:spChg>
        <pc:spChg chg="add del mod">
          <ac:chgData name="Sheng, Yanan" userId="a8f760e9-50c6-421d-9788-7991509e9b00" providerId="ADAL" clId="{CE83D114-1C90-4F39-8D42-4D8D4E384834}" dt="2023-07-02T09:01:45.728" v="5576" actId="478"/>
          <ac:spMkLst>
            <pc:docMk/>
            <pc:sldMk cId="3615939919" sldId="2145707130"/>
            <ac:spMk id="42" creationId="{7BBDD3C6-6B29-F63A-C8DF-64A7E73E6B92}"/>
          </ac:spMkLst>
        </pc:spChg>
        <pc:spChg chg="add del mod topLvl">
          <ac:chgData name="Sheng, Yanan" userId="a8f760e9-50c6-421d-9788-7991509e9b00" providerId="ADAL" clId="{CE83D114-1C90-4F39-8D42-4D8D4E384834}" dt="2023-07-02T08:52:40.178" v="5478" actId="478"/>
          <ac:spMkLst>
            <pc:docMk/>
            <pc:sldMk cId="3615939919" sldId="2145707130"/>
            <ac:spMk id="43" creationId="{A8A56341-4363-79F7-F03D-B88955B08DAC}"/>
          </ac:spMkLst>
        </pc:spChg>
        <pc:spChg chg="add del mod">
          <ac:chgData name="Sheng, Yanan" userId="a8f760e9-50c6-421d-9788-7991509e9b00" providerId="ADAL" clId="{CE83D114-1C90-4F39-8D42-4D8D4E384834}" dt="2023-07-02T09:01:45.728" v="5576" actId="478"/>
          <ac:spMkLst>
            <pc:docMk/>
            <pc:sldMk cId="3615939919" sldId="2145707130"/>
            <ac:spMk id="44" creationId="{4E25AEA5-66D1-71BC-8AB4-DB3778460BB2}"/>
          </ac:spMkLst>
        </pc:spChg>
        <pc:spChg chg="add del mod">
          <ac:chgData name="Sheng, Yanan" userId="a8f760e9-50c6-421d-9788-7991509e9b00" providerId="ADAL" clId="{CE83D114-1C90-4F39-8D42-4D8D4E384834}" dt="2023-07-02T09:01:45.728" v="5576" actId="478"/>
          <ac:spMkLst>
            <pc:docMk/>
            <pc:sldMk cId="3615939919" sldId="2145707130"/>
            <ac:spMk id="45" creationId="{6BC27655-77BA-F947-5AA6-2909CAE29F21}"/>
          </ac:spMkLst>
        </pc:spChg>
        <pc:spChg chg="add del mod">
          <ac:chgData name="Sheng, Yanan" userId="a8f760e9-50c6-421d-9788-7991509e9b00" providerId="ADAL" clId="{CE83D114-1C90-4F39-8D42-4D8D4E384834}" dt="2023-07-02T09:01:45.728" v="5576" actId="478"/>
          <ac:spMkLst>
            <pc:docMk/>
            <pc:sldMk cId="3615939919" sldId="2145707130"/>
            <ac:spMk id="46" creationId="{412407CF-F8B8-2365-FF3E-54732377CD64}"/>
          </ac:spMkLst>
        </pc:spChg>
        <pc:spChg chg="add del mod topLvl">
          <ac:chgData name="Sheng, Yanan" userId="a8f760e9-50c6-421d-9788-7991509e9b00" providerId="ADAL" clId="{CE83D114-1C90-4F39-8D42-4D8D4E384834}" dt="2023-07-02T08:53:33.724" v="5486" actId="478"/>
          <ac:spMkLst>
            <pc:docMk/>
            <pc:sldMk cId="3615939919" sldId="2145707130"/>
            <ac:spMk id="47" creationId="{ABA5624D-C669-B234-4B9E-557165DCB66E}"/>
          </ac:spMkLst>
        </pc:spChg>
        <pc:spChg chg="mod">
          <ac:chgData name="Sheng, Yanan" userId="a8f760e9-50c6-421d-9788-7991509e9b00" providerId="ADAL" clId="{CE83D114-1C90-4F39-8D42-4D8D4E384834}" dt="2023-07-02T08:52:35.124" v="5476" actId="165"/>
          <ac:spMkLst>
            <pc:docMk/>
            <pc:sldMk cId="3615939919" sldId="2145707130"/>
            <ac:spMk id="49" creationId="{4323F792-4F6E-3CEB-A7FD-9E7A6A7BE765}"/>
          </ac:spMkLst>
        </pc:spChg>
        <pc:spChg chg="mod">
          <ac:chgData name="Sheng, Yanan" userId="a8f760e9-50c6-421d-9788-7991509e9b00" providerId="ADAL" clId="{CE83D114-1C90-4F39-8D42-4D8D4E384834}" dt="2023-07-02T08:52:35.124" v="5476" actId="165"/>
          <ac:spMkLst>
            <pc:docMk/>
            <pc:sldMk cId="3615939919" sldId="2145707130"/>
            <ac:spMk id="51" creationId="{AC0B462D-C8BD-2991-AA28-EEF95236CD76}"/>
          </ac:spMkLst>
        </pc:spChg>
        <pc:spChg chg="add del mod topLvl">
          <ac:chgData name="Sheng, Yanan" userId="a8f760e9-50c6-421d-9788-7991509e9b00" providerId="ADAL" clId="{CE83D114-1C90-4F39-8D42-4D8D4E384834}" dt="2023-07-02T08:52:37.815" v="5477" actId="478"/>
          <ac:spMkLst>
            <pc:docMk/>
            <pc:sldMk cId="3615939919" sldId="2145707130"/>
            <ac:spMk id="53" creationId="{5102D903-C77C-0AF2-4A8B-F3BE024D4D22}"/>
          </ac:spMkLst>
        </pc:spChg>
        <pc:spChg chg="add del mod topLvl">
          <ac:chgData name="Sheng, Yanan" userId="a8f760e9-50c6-421d-9788-7991509e9b00" providerId="ADAL" clId="{CE83D114-1C90-4F39-8D42-4D8D4E384834}" dt="2023-07-02T08:52:37.815" v="5477" actId="478"/>
          <ac:spMkLst>
            <pc:docMk/>
            <pc:sldMk cId="3615939919" sldId="2145707130"/>
            <ac:spMk id="54" creationId="{B47624DF-3CED-65D2-032E-3AB969F0EDCD}"/>
          </ac:spMkLst>
        </pc:spChg>
        <pc:spChg chg="mod">
          <ac:chgData name="Sheng, Yanan" userId="a8f760e9-50c6-421d-9788-7991509e9b00" providerId="ADAL" clId="{CE83D114-1C90-4F39-8D42-4D8D4E384834}" dt="2023-07-02T08:52:28.228" v="5475" actId="1076"/>
          <ac:spMkLst>
            <pc:docMk/>
            <pc:sldMk cId="3615939919" sldId="2145707130"/>
            <ac:spMk id="56" creationId="{9019116C-600B-C9BF-A851-8F7C6C4F5E3B}"/>
          </ac:spMkLst>
        </pc:spChg>
        <pc:spChg chg="mod">
          <ac:chgData name="Sheng, Yanan" userId="a8f760e9-50c6-421d-9788-7991509e9b00" providerId="ADAL" clId="{CE83D114-1C90-4F39-8D42-4D8D4E384834}" dt="2023-07-02T08:52:28.228" v="5475" actId="1076"/>
          <ac:spMkLst>
            <pc:docMk/>
            <pc:sldMk cId="3615939919" sldId="2145707130"/>
            <ac:spMk id="57" creationId="{F0B63A7F-CF92-732F-D21A-05C41131D035}"/>
          </ac:spMkLst>
        </pc:spChg>
        <pc:spChg chg="mod">
          <ac:chgData name="Sheng, Yanan" userId="a8f760e9-50c6-421d-9788-7991509e9b00" providerId="ADAL" clId="{CE83D114-1C90-4F39-8D42-4D8D4E384834}" dt="2023-07-02T08:52:28.228" v="5475" actId="1076"/>
          <ac:spMkLst>
            <pc:docMk/>
            <pc:sldMk cId="3615939919" sldId="2145707130"/>
            <ac:spMk id="58" creationId="{59CB6E44-4B5D-CAEA-0535-1BACBF9A4DF2}"/>
          </ac:spMkLst>
        </pc:spChg>
        <pc:spChg chg="mod">
          <ac:chgData name="Sheng, Yanan" userId="a8f760e9-50c6-421d-9788-7991509e9b00" providerId="ADAL" clId="{CE83D114-1C90-4F39-8D42-4D8D4E384834}" dt="2023-07-02T08:52:28.228" v="5475" actId="1076"/>
          <ac:spMkLst>
            <pc:docMk/>
            <pc:sldMk cId="3615939919" sldId="2145707130"/>
            <ac:spMk id="60" creationId="{F7558541-DE50-DECF-9ACB-D02A344E6073}"/>
          </ac:spMkLst>
        </pc:spChg>
        <pc:spChg chg="mod">
          <ac:chgData name="Sheng, Yanan" userId="a8f760e9-50c6-421d-9788-7991509e9b00" providerId="ADAL" clId="{CE83D114-1C90-4F39-8D42-4D8D4E384834}" dt="2023-07-02T08:52:28.228" v="5475" actId="1076"/>
          <ac:spMkLst>
            <pc:docMk/>
            <pc:sldMk cId="3615939919" sldId="2145707130"/>
            <ac:spMk id="61" creationId="{DC4FDA16-967C-E168-E54E-3EA2695BD204}"/>
          </ac:spMkLst>
        </pc:spChg>
        <pc:spChg chg="mod">
          <ac:chgData name="Sheng, Yanan" userId="a8f760e9-50c6-421d-9788-7991509e9b00" providerId="ADAL" clId="{CE83D114-1C90-4F39-8D42-4D8D4E384834}" dt="2023-07-02T08:52:28.228" v="5475" actId="1076"/>
          <ac:spMkLst>
            <pc:docMk/>
            <pc:sldMk cId="3615939919" sldId="2145707130"/>
            <ac:spMk id="62" creationId="{858332A0-653A-92EB-BEC8-65AC1823359C}"/>
          </ac:spMkLst>
        </pc:spChg>
        <pc:spChg chg="mod">
          <ac:chgData name="Sheng, Yanan" userId="a8f760e9-50c6-421d-9788-7991509e9b00" providerId="ADAL" clId="{CE83D114-1C90-4F39-8D42-4D8D4E384834}" dt="2023-07-02T08:52:28.228" v="5475" actId="1076"/>
          <ac:spMkLst>
            <pc:docMk/>
            <pc:sldMk cId="3615939919" sldId="2145707130"/>
            <ac:spMk id="64" creationId="{5C435D8B-3A24-4819-78CC-F44B38FB7FAC}"/>
          </ac:spMkLst>
        </pc:spChg>
        <pc:spChg chg="mod">
          <ac:chgData name="Sheng, Yanan" userId="a8f760e9-50c6-421d-9788-7991509e9b00" providerId="ADAL" clId="{CE83D114-1C90-4F39-8D42-4D8D4E384834}" dt="2023-07-02T08:52:28.228" v="5475" actId="1076"/>
          <ac:spMkLst>
            <pc:docMk/>
            <pc:sldMk cId="3615939919" sldId="2145707130"/>
            <ac:spMk id="65" creationId="{FFED94AE-E902-AE75-2AE3-A11972533EF3}"/>
          </ac:spMkLst>
        </pc:spChg>
        <pc:spChg chg="mod">
          <ac:chgData name="Sheng, Yanan" userId="a8f760e9-50c6-421d-9788-7991509e9b00" providerId="ADAL" clId="{CE83D114-1C90-4F39-8D42-4D8D4E384834}" dt="2023-07-02T08:52:28.228" v="5475" actId="1076"/>
          <ac:spMkLst>
            <pc:docMk/>
            <pc:sldMk cId="3615939919" sldId="2145707130"/>
            <ac:spMk id="67" creationId="{5C40CC7A-9D93-FCDB-1343-040182C20B1E}"/>
          </ac:spMkLst>
        </pc:spChg>
        <pc:spChg chg="mod">
          <ac:chgData name="Sheng, Yanan" userId="a8f760e9-50c6-421d-9788-7991509e9b00" providerId="ADAL" clId="{CE83D114-1C90-4F39-8D42-4D8D4E384834}" dt="2023-07-02T08:52:28.228" v="5475" actId="1076"/>
          <ac:spMkLst>
            <pc:docMk/>
            <pc:sldMk cId="3615939919" sldId="2145707130"/>
            <ac:spMk id="68" creationId="{FA22FE2D-8491-223B-71B0-B24C7EF741B1}"/>
          </ac:spMkLst>
        </pc:spChg>
        <pc:spChg chg="mod">
          <ac:chgData name="Sheng, Yanan" userId="a8f760e9-50c6-421d-9788-7991509e9b00" providerId="ADAL" clId="{CE83D114-1C90-4F39-8D42-4D8D4E384834}" dt="2023-07-02T08:52:28.228" v="5475" actId="1076"/>
          <ac:spMkLst>
            <pc:docMk/>
            <pc:sldMk cId="3615939919" sldId="2145707130"/>
            <ac:spMk id="69" creationId="{8B8DDB5B-AF3B-E046-70D1-74ED24D7A95A}"/>
          </ac:spMkLst>
        </pc:spChg>
        <pc:spChg chg="mod">
          <ac:chgData name="Sheng, Yanan" userId="a8f760e9-50c6-421d-9788-7991509e9b00" providerId="ADAL" clId="{CE83D114-1C90-4F39-8D42-4D8D4E384834}" dt="2023-07-02T08:52:28.228" v="5475" actId="1076"/>
          <ac:spMkLst>
            <pc:docMk/>
            <pc:sldMk cId="3615939919" sldId="2145707130"/>
            <ac:spMk id="70" creationId="{3EF5B875-1593-A33C-89F7-A3980BE6F33A}"/>
          </ac:spMkLst>
        </pc:spChg>
        <pc:spChg chg="mod">
          <ac:chgData name="Sheng, Yanan" userId="a8f760e9-50c6-421d-9788-7991509e9b00" providerId="ADAL" clId="{CE83D114-1C90-4F39-8D42-4D8D4E384834}" dt="2023-07-02T08:52:28.228" v="5475" actId="1076"/>
          <ac:spMkLst>
            <pc:docMk/>
            <pc:sldMk cId="3615939919" sldId="2145707130"/>
            <ac:spMk id="71" creationId="{B1DADC15-FE2E-3357-6725-1C949782EF2B}"/>
          </ac:spMkLst>
        </pc:spChg>
        <pc:spChg chg="mod">
          <ac:chgData name="Sheng, Yanan" userId="a8f760e9-50c6-421d-9788-7991509e9b00" providerId="ADAL" clId="{CE83D114-1C90-4F39-8D42-4D8D4E384834}" dt="2023-07-02T08:52:28.228" v="5475" actId="1076"/>
          <ac:spMkLst>
            <pc:docMk/>
            <pc:sldMk cId="3615939919" sldId="2145707130"/>
            <ac:spMk id="72" creationId="{A840F23A-DEE1-CC1A-34D6-E74835EC1BF0}"/>
          </ac:spMkLst>
        </pc:spChg>
        <pc:spChg chg="mod">
          <ac:chgData name="Sheng, Yanan" userId="a8f760e9-50c6-421d-9788-7991509e9b00" providerId="ADAL" clId="{CE83D114-1C90-4F39-8D42-4D8D4E384834}" dt="2023-07-02T08:52:28.228" v="5475" actId="1076"/>
          <ac:spMkLst>
            <pc:docMk/>
            <pc:sldMk cId="3615939919" sldId="2145707130"/>
            <ac:spMk id="73" creationId="{B69BB0F2-6AFA-0AC3-F0A6-56271556F47B}"/>
          </ac:spMkLst>
        </pc:spChg>
        <pc:spChg chg="mod">
          <ac:chgData name="Sheng, Yanan" userId="a8f760e9-50c6-421d-9788-7991509e9b00" providerId="ADAL" clId="{CE83D114-1C90-4F39-8D42-4D8D4E384834}" dt="2023-07-02T08:52:28.228" v="5475" actId="1076"/>
          <ac:spMkLst>
            <pc:docMk/>
            <pc:sldMk cId="3615939919" sldId="2145707130"/>
            <ac:spMk id="74" creationId="{7664271B-EDF8-8E75-778E-FFC84C424F60}"/>
          </ac:spMkLst>
        </pc:spChg>
        <pc:spChg chg="mod">
          <ac:chgData name="Sheng, Yanan" userId="a8f760e9-50c6-421d-9788-7991509e9b00" providerId="ADAL" clId="{CE83D114-1C90-4F39-8D42-4D8D4E384834}" dt="2023-07-02T08:52:28.228" v="5475" actId="1076"/>
          <ac:spMkLst>
            <pc:docMk/>
            <pc:sldMk cId="3615939919" sldId="2145707130"/>
            <ac:spMk id="75" creationId="{D1F7C4FD-04EE-073D-4B7A-CD49DC3669E7}"/>
          </ac:spMkLst>
        </pc:spChg>
        <pc:spChg chg="mod">
          <ac:chgData name="Sheng, Yanan" userId="a8f760e9-50c6-421d-9788-7991509e9b00" providerId="ADAL" clId="{CE83D114-1C90-4F39-8D42-4D8D4E384834}" dt="2023-07-02T08:52:28.228" v="5475" actId="1076"/>
          <ac:spMkLst>
            <pc:docMk/>
            <pc:sldMk cId="3615939919" sldId="2145707130"/>
            <ac:spMk id="76" creationId="{7ABA69C5-18BC-E447-D154-CCF1CC2716ED}"/>
          </ac:spMkLst>
        </pc:spChg>
        <pc:spChg chg="mod">
          <ac:chgData name="Sheng, Yanan" userId="a8f760e9-50c6-421d-9788-7991509e9b00" providerId="ADAL" clId="{CE83D114-1C90-4F39-8D42-4D8D4E384834}" dt="2023-07-02T08:52:28.228" v="5475" actId="1076"/>
          <ac:spMkLst>
            <pc:docMk/>
            <pc:sldMk cId="3615939919" sldId="2145707130"/>
            <ac:spMk id="77" creationId="{C6516EBE-0D18-6A8A-B9D3-A92119D61A92}"/>
          </ac:spMkLst>
        </pc:spChg>
        <pc:spChg chg="mod">
          <ac:chgData name="Sheng, Yanan" userId="a8f760e9-50c6-421d-9788-7991509e9b00" providerId="ADAL" clId="{CE83D114-1C90-4F39-8D42-4D8D4E384834}" dt="2023-07-02T08:52:28.228" v="5475" actId="1076"/>
          <ac:spMkLst>
            <pc:docMk/>
            <pc:sldMk cId="3615939919" sldId="2145707130"/>
            <ac:spMk id="78" creationId="{A5D560DF-56B1-BDE2-F7A0-C9DCECA87B45}"/>
          </ac:spMkLst>
        </pc:spChg>
        <pc:spChg chg="mod">
          <ac:chgData name="Sheng, Yanan" userId="a8f760e9-50c6-421d-9788-7991509e9b00" providerId="ADAL" clId="{CE83D114-1C90-4F39-8D42-4D8D4E384834}" dt="2023-07-02T08:52:28.228" v="5475" actId="1076"/>
          <ac:spMkLst>
            <pc:docMk/>
            <pc:sldMk cId="3615939919" sldId="2145707130"/>
            <ac:spMk id="79" creationId="{9546221E-2C60-B67A-A795-BC20665C4B66}"/>
          </ac:spMkLst>
        </pc:spChg>
        <pc:spChg chg="mod">
          <ac:chgData name="Sheng, Yanan" userId="a8f760e9-50c6-421d-9788-7991509e9b00" providerId="ADAL" clId="{CE83D114-1C90-4F39-8D42-4D8D4E384834}" dt="2023-07-02T08:52:28.228" v="5475" actId="1076"/>
          <ac:spMkLst>
            <pc:docMk/>
            <pc:sldMk cId="3615939919" sldId="2145707130"/>
            <ac:spMk id="80" creationId="{22F240D6-B718-E447-9CB6-D141116EBBE6}"/>
          </ac:spMkLst>
        </pc:spChg>
        <pc:spChg chg="mod">
          <ac:chgData name="Sheng, Yanan" userId="a8f760e9-50c6-421d-9788-7991509e9b00" providerId="ADAL" clId="{CE83D114-1C90-4F39-8D42-4D8D4E384834}" dt="2023-07-02T08:52:28.228" v="5475" actId="1076"/>
          <ac:spMkLst>
            <pc:docMk/>
            <pc:sldMk cId="3615939919" sldId="2145707130"/>
            <ac:spMk id="82" creationId="{1881C0BB-1609-1E5E-A595-78FF98C3D3E8}"/>
          </ac:spMkLst>
        </pc:spChg>
        <pc:spChg chg="mod">
          <ac:chgData name="Sheng, Yanan" userId="a8f760e9-50c6-421d-9788-7991509e9b00" providerId="ADAL" clId="{CE83D114-1C90-4F39-8D42-4D8D4E384834}" dt="2023-07-02T08:52:28.228" v="5475" actId="1076"/>
          <ac:spMkLst>
            <pc:docMk/>
            <pc:sldMk cId="3615939919" sldId="2145707130"/>
            <ac:spMk id="84" creationId="{7C09343F-7FEC-D054-09D6-12DB09E3ABFB}"/>
          </ac:spMkLst>
        </pc:spChg>
        <pc:spChg chg="mod">
          <ac:chgData name="Sheng, Yanan" userId="a8f760e9-50c6-421d-9788-7991509e9b00" providerId="ADAL" clId="{CE83D114-1C90-4F39-8D42-4D8D4E384834}" dt="2023-07-02T08:52:28.228" v="5475" actId="1076"/>
          <ac:spMkLst>
            <pc:docMk/>
            <pc:sldMk cId="3615939919" sldId="2145707130"/>
            <ac:spMk id="85" creationId="{0529105F-1B88-1965-BC18-D9F74A825096}"/>
          </ac:spMkLst>
        </pc:spChg>
        <pc:spChg chg="mod">
          <ac:chgData name="Sheng, Yanan" userId="a8f760e9-50c6-421d-9788-7991509e9b00" providerId="ADAL" clId="{CE83D114-1C90-4F39-8D42-4D8D4E384834}" dt="2023-07-02T08:52:28.228" v="5475" actId="1076"/>
          <ac:spMkLst>
            <pc:docMk/>
            <pc:sldMk cId="3615939919" sldId="2145707130"/>
            <ac:spMk id="87" creationId="{A03139CF-10F0-416D-DC54-6DA68CEE856A}"/>
          </ac:spMkLst>
        </pc:spChg>
        <pc:spChg chg="mod">
          <ac:chgData name="Sheng, Yanan" userId="a8f760e9-50c6-421d-9788-7991509e9b00" providerId="ADAL" clId="{CE83D114-1C90-4F39-8D42-4D8D4E384834}" dt="2023-07-02T08:52:28.228" v="5475" actId="1076"/>
          <ac:spMkLst>
            <pc:docMk/>
            <pc:sldMk cId="3615939919" sldId="2145707130"/>
            <ac:spMk id="88" creationId="{036BCB37-681A-C217-B6EB-1FE66D142020}"/>
          </ac:spMkLst>
        </pc:spChg>
        <pc:spChg chg="mod">
          <ac:chgData name="Sheng, Yanan" userId="a8f760e9-50c6-421d-9788-7991509e9b00" providerId="ADAL" clId="{CE83D114-1C90-4F39-8D42-4D8D4E384834}" dt="2023-07-02T08:52:28.228" v="5475" actId="1076"/>
          <ac:spMkLst>
            <pc:docMk/>
            <pc:sldMk cId="3615939919" sldId="2145707130"/>
            <ac:spMk id="89" creationId="{A7833D1B-318B-0F52-4403-00D54B7EB4C2}"/>
          </ac:spMkLst>
        </pc:spChg>
        <pc:spChg chg="add mod">
          <ac:chgData name="Sheng, Yanan" userId="a8f760e9-50c6-421d-9788-7991509e9b00" providerId="ADAL" clId="{CE83D114-1C90-4F39-8D42-4D8D4E384834}" dt="2023-07-02T09:02:46.490" v="5593" actId="1076"/>
          <ac:spMkLst>
            <pc:docMk/>
            <pc:sldMk cId="3615939919" sldId="2145707130"/>
            <ac:spMk id="91" creationId="{B3A26084-6F1E-70FB-AF5D-01F034CF12BB}"/>
          </ac:spMkLst>
        </pc:spChg>
        <pc:spChg chg="add mod">
          <ac:chgData name="Sheng, Yanan" userId="a8f760e9-50c6-421d-9788-7991509e9b00" providerId="ADAL" clId="{CE83D114-1C90-4F39-8D42-4D8D4E384834}" dt="2023-07-02T09:02:50.319" v="5594" actId="1076"/>
          <ac:spMkLst>
            <pc:docMk/>
            <pc:sldMk cId="3615939919" sldId="2145707130"/>
            <ac:spMk id="92" creationId="{D585281B-3F62-A0D8-BE27-783B73108E48}"/>
          </ac:spMkLst>
        </pc:spChg>
        <pc:spChg chg="add mod">
          <ac:chgData name="Sheng, Yanan" userId="a8f760e9-50c6-421d-9788-7991509e9b00" providerId="ADAL" clId="{CE83D114-1C90-4F39-8D42-4D8D4E384834}" dt="2023-07-02T09:02:42.191" v="5592" actId="1076"/>
          <ac:spMkLst>
            <pc:docMk/>
            <pc:sldMk cId="3615939919" sldId="2145707130"/>
            <ac:spMk id="93" creationId="{D887BCD9-AD34-711E-CBAC-FE4647002D41}"/>
          </ac:spMkLst>
        </pc:spChg>
        <pc:spChg chg="add del mod">
          <ac:chgData name="Sheng, Yanan" userId="a8f760e9-50c6-421d-9788-7991509e9b00" providerId="ADAL" clId="{CE83D114-1C90-4F39-8D42-4D8D4E384834}" dt="2023-07-02T08:56:52.666" v="5493" actId="478"/>
          <ac:spMkLst>
            <pc:docMk/>
            <pc:sldMk cId="3615939919" sldId="2145707130"/>
            <ac:spMk id="94" creationId="{4F126306-2E9A-A518-3656-B538B1E5F6C4}"/>
          </ac:spMkLst>
        </pc:spChg>
        <pc:spChg chg="add del mod">
          <ac:chgData name="Sheng, Yanan" userId="a8f760e9-50c6-421d-9788-7991509e9b00" providerId="ADAL" clId="{CE83D114-1C90-4F39-8D42-4D8D4E384834}" dt="2023-07-02T08:56:52.666" v="5493" actId="478"/>
          <ac:spMkLst>
            <pc:docMk/>
            <pc:sldMk cId="3615939919" sldId="2145707130"/>
            <ac:spMk id="95" creationId="{0E90F198-0818-F327-4E79-F2F803857D14}"/>
          </ac:spMkLst>
        </pc:spChg>
        <pc:spChg chg="add del mod">
          <ac:chgData name="Sheng, Yanan" userId="a8f760e9-50c6-421d-9788-7991509e9b00" providerId="ADAL" clId="{CE83D114-1C90-4F39-8D42-4D8D4E384834}" dt="2023-07-02T09:02:29.630" v="5590" actId="478"/>
          <ac:spMkLst>
            <pc:docMk/>
            <pc:sldMk cId="3615939919" sldId="2145707130"/>
            <ac:spMk id="96" creationId="{C2A484E4-4C86-A4E2-520B-74B8FE03CD7E}"/>
          </ac:spMkLst>
        </pc:spChg>
        <pc:spChg chg="add del mod">
          <ac:chgData name="Sheng, Yanan" userId="a8f760e9-50c6-421d-9788-7991509e9b00" providerId="ADAL" clId="{CE83D114-1C90-4F39-8D42-4D8D4E384834}" dt="2023-07-02T09:02:28.533" v="5589" actId="478"/>
          <ac:spMkLst>
            <pc:docMk/>
            <pc:sldMk cId="3615939919" sldId="2145707130"/>
            <ac:spMk id="97" creationId="{9DB65E81-01E9-BA94-939A-34D1877CA2E0}"/>
          </ac:spMkLst>
        </pc:spChg>
        <pc:spChg chg="add del mod topLvl">
          <ac:chgData name="Sheng, Yanan" userId="a8f760e9-50c6-421d-9788-7991509e9b00" providerId="ADAL" clId="{CE83D114-1C90-4F39-8D42-4D8D4E384834}" dt="2023-07-02T09:12:44.555" v="5699" actId="478"/>
          <ac:spMkLst>
            <pc:docMk/>
            <pc:sldMk cId="3615939919" sldId="2145707130"/>
            <ac:spMk id="98" creationId="{2BC138AA-9A9E-93F6-1807-0085ED9D5B4C}"/>
          </ac:spMkLst>
        </pc:spChg>
        <pc:spChg chg="add del mod">
          <ac:chgData name="Sheng, Yanan" userId="a8f760e9-50c6-421d-9788-7991509e9b00" providerId="ADAL" clId="{CE83D114-1C90-4F39-8D42-4D8D4E384834}" dt="2023-07-02T09:02:17.981" v="5586" actId="478"/>
          <ac:spMkLst>
            <pc:docMk/>
            <pc:sldMk cId="3615939919" sldId="2145707130"/>
            <ac:spMk id="99" creationId="{599C828B-FDA4-3E5F-729D-4F4F99D980C4}"/>
          </ac:spMkLst>
        </pc:spChg>
        <pc:spChg chg="add del mod">
          <ac:chgData name="Sheng, Yanan" userId="a8f760e9-50c6-421d-9788-7991509e9b00" providerId="ADAL" clId="{CE83D114-1C90-4F39-8D42-4D8D4E384834}" dt="2023-07-02T08:56:13.781" v="5489" actId="478"/>
          <ac:spMkLst>
            <pc:docMk/>
            <pc:sldMk cId="3615939919" sldId="2145707130"/>
            <ac:spMk id="100" creationId="{3D1BF74B-AF08-A058-CF82-668A4244DF1A}"/>
          </ac:spMkLst>
        </pc:spChg>
        <pc:spChg chg="add mod">
          <ac:chgData name="Sheng, Yanan" userId="a8f760e9-50c6-421d-9788-7991509e9b00" providerId="ADAL" clId="{CE83D114-1C90-4F39-8D42-4D8D4E384834}" dt="2023-07-02T09:02:42.191" v="5592" actId="1076"/>
          <ac:spMkLst>
            <pc:docMk/>
            <pc:sldMk cId="3615939919" sldId="2145707130"/>
            <ac:spMk id="101" creationId="{128955B2-C6AB-D911-AC88-DDC3D52F14F6}"/>
          </ac:spMkLst>
        </pc:spChg>
        <pc:spChg chg="add mod">
          <ac:chgData name="Sheng, Yanan" userId="a8f760e9-50c6-421d-9788-7991509e9b00" providerId="ADAL" clId="{CE83D114-1C90-4F39-8D42-4D8D4E384834}" dt="2023-07-02T09:02:46.490" v="5593" actId="1076"/>
          <ac:spMkLst>
            <pc:docMk/>
            <pc:sldMk cId="3615939919" sldId="2145707130"/>
            <ac:spMk id="102" creationId="{9CF68933-09B7-BBF7-0B91-DC0FFF132783}"/>
          </ac:spMkLst>
        </pc:spChg>
        <pc:spChg chg="add mod">
          <ac:chgData name="Sheng, Yanan" userId="a8f760e9-50c6-421d-9788-7991509e9b00" providerId="ADAL" clId="{CE83D114-1C90-4F39-8D42-4D8D4E384834}" dt="2023-07-02T09:02:50.319" v="5594" actId="1076"/>
          <ac:spMkLst>
            <pc:docMk/>
            <pc:sldMk cId="3615939919" sldId="2145707130"/>
            <ac:spMk id="103" creationId="{86C2967A-12C4-D698-60FC-09F085797989}"/>
          </ac:spMkLst>
        </pc:spChg>
        <pc:spChg chg="add del mod topLvl">
          <ac:chgData name="Sheng, Yanan" userId="a8f760e9-50c6-421d-9788-7991509e9b00" providerId="ADAL" clId="{CE83D114-1C90-4F39-8D42-4D8D4E384834}" dt="2023-07-02T09:12:45.616" v="5700" actId="478"/>
          <ac:spMkLst>
            <pc:docMk/>
            <pc:sldMk cId="3615939919" sldId="2145707130"/>
            <ac:spMk id="104" creationId="{A9749514-7658-A306-398F-A815535CC17C}"/>
          </ac:spMkLst>
        </pc:spChg>
        <pc:spChg chg="mod">
          <ac:chgData name="Sheng, Yanan" userId="a8f760e9-50c6-421d-9788-7991509e9b00" providerId="ADAL" clId="{CE83D114-1C90-4F39-8D42-4D8D4E384834}" dt="2023-07-02T08:53:45.020" v="5488" actId="1076"/>
          <ac:spMkLst>
            <pc:docMk/>
            <pc:sldMk cId="3615939919" sldId="2145707130"/>
            <ac:spMk id="106" creationId="{A2921E8F-671D-F476-AD66-54C04B381B81}"/>
          </ac:spMkLst>
        </pc:spChg>
        <pc:spChg chg="mod">
          <ac:chgData name="Sheng, Yanan" userId="a8f760e9-50c6-421d-9788-7991509e9b00" providerId="ADAL" clId="{CE83D114-1C90-4F39-8D42-4D8D4E384834}" dt="2023-07-02T08:53:45.020" v="5488" actId="1076"/>
          <ac:spMkLst>
            <pc:docMk/>
            <pc:sldMk cId="3615939919" sldId="2145707130"/>
            <ac:spMk id="108" creationId="{89D0F3FB-1735-D5CC-BD98-A3A6F06609C5}"/>
          </ac:spMkLst>
        </pc:spChg>
        <pc:spChg chg="add del mod">
          <ac:chgData name="Sheng, Yanan" userId="a8f760e9-50c6-421d-9788-7991509e9b00" providerId="ADAL" clId="{CE83D114-1C90-4F39-8D42-4D8D4E384834}" dt="2023-07-02T08:56:13.781" v="5489" actId="478"/>
          <ac:spMkLst>
            <pc:docMk/>
            <pc:sldMk cId="3615939919" sldId="2145707130"/>
            <ac:spMk id="110" creationId="{C777C377-4AD9-8621-3BED-236084FC3928}"/>
          </ac:spMkLst>
        </pc:spChg>
        <pc:spChg chg="add del mod">
          <ac:chgData name="Sheng, Yanan" userId="a8f760e9-50c6-421d-9788-7991509e9b00" providerId="ADAL" clId="{CE83D114-1C90-4F39-8D42-4D8D4E384834}" dt="2023-07-02T08:56:13.781" v="5489" actId="478"/>
          <ac:spMkLst>
            <pc:docMk/>
            <pc:sldMk cId="3615939919" sldId="2145707130"/>
            <ac:spMk id="111" creationId="{3FAECD0D-B1D4-44F7-212F-3BEB2A82BEC0}"/>
          </ac:spMkLst>
        </pc:spChg>
        <pc:spChg chg="mod">
          <ac:chgData name="Sheng, Yanan" userId="a8f760e9-50c6-421d-9788-7991509e9b00" providerId="ADAL" clId="{CE83D114-1C90-4F39-8D42-4D8D4E384834}" dt="2023-07-02T09:02:42.191" v="5592" actId="1076"/>
          <ac:spMkLst>
            <pc:docMk/>
            <pc:sldMk cId="3615939919" sldId="2145707130"/>
            <ac:spMk id="113" creationId="{D7930FF4-2912-E4B9-86D7-A98E99568C1B}"/>
          </ac:spMkLst>
        </pc:spChg>
        <pc:spChg chg="mod">
          <ac:chgData name="Sheng, Yanan" userId="a8f760e9-50c6-421d-9788-7991509e9b00" providerId="ADAL" clId="{CE83D114-1C90-4F39-8D42-4D8D4E384834}" dt="2023-07-02T09:02:42.191" v="5592" actId="1076"/>
          <ac:spMkLst>
            <pc:docMk/>
            <pc:sldMk cId="3615939919" sldId="2145707130"/>
            <ac:spMk id="114" creationId="{B06DF155-8EA0-2A15-5EAD-C6EC3B2AA291}"/>
          </ac:spMkLst>
        </pc:spChg>
        <pc:spChg chg="mod">
          <ac:chgData name="Sheng, Yanan" userId="a8f760e9-50c6-421d-9788-7991509e9b00" providerId="ADAL" clId="{CE83D114-1C90-4F39-8D42-4D8D4E384834}" dt="2023-07-02T09:02:42.191" v="5592" actId="1076"/>
          <ac:spMkLst>
            <pc:docMk/>
            <pc:sldMk cId="3615939919" sldId="2145707130"/>
            <ac:spMk id="115" creationId="{D3F01B36-E513-B3BC-3BD2-931458FBBF9A}"/>
          </ac:spMkLst>
        </pc:spChg>
        <pc:spChg chg="mod">
          <ac:chgData name="Sheng, Yanan" userId="a8f760e9-50c6-421d-9788-7991509e9b00" providerId="ADAL" clId="{CE83D114-1C90-4F39-8D42-4D8D4E384834}" dt="2023-07-02T09:02:42.191" v="5592" actId="1076"/>
          <ac:spMkLst>
            <pc:docMk/>
            <pc:sldMk cId="3615939919" sldId="2145707130"/>
            <ac:spMk id="117" creationId="{C9007E01-E42E-5213-910F-F1EE4E883551}"/>
          </ac:spMkLst>
        </pc:spChg>
        <pc:spChg chg="mod">
          <ac:chgData name="Sheng, Yanan" userId="a8f760e9-50c6-421d-9788-7991509e9b00" providerId="ADAL" clId="{CE83D114-1C90-4F39-8D42-4D8D4E384834}" dt="2023-07-02T09:02:42.191" v="5592" actId="1076"/>
          <ac:spMkLst>
            <pc:docMk/>
            <pc:sldMk cId="3615939919" sldId="2145707130"/>
            <ac:spMk id="118" creationId="{A464E451-AEA9-8F0A-36F2-E4140BE33643}"/>
          </ac:spMkLst>
        </pc:spChg>
        <pc:spChg chg="mod">
          <ac:chgData name="Sheng, Yanan" userId="a8f760e9-50c6-421d-9788-7991509e9b00" providerId="ADAL" clId="{CE83D114-1C90-4F39-8D42-4D8D4E384834}" dt="2023-07-02T09:02:42.191" v="5592" actId="1076"/>
          <ac:spMkLst>
            <pc:docMk/>
            <pc:sldMk cId="3615939919" sldId="2145707130"/>
            <ac:spMk id="119" creationId="{47EA3319-FE7F-34F6-8C80-9A30BBB6C048}"/>
          </ac:spMkLst>
        </pc:spChg>
        <pc:spChg chg="mod">
          <ac:chgData name="Sheng, Yanan" userId="a8f760e9-50c6-421d-9788-7991509e9b00" providerId="ADAL" clId="{CE83D114-1C90-4F39-8D42-4D8D4E384834}" dt="2023-07-02T09:02:42.191" v="5592" actId="1076"/>
          <ac:spMkLst>
            <pc:docMk/>
            <pc:sldMk cId="3615939919" sldId="2145707130"/>
            <ac:spMk id="121" creationId="{C007A710-8CDC-8576-8F5F-8D7380FA5238}"/>
          </ac:spMkLst>
        </pc:spChg>
        <pc:spChg chg="mod">
          <ac:chgData name="Sheng, Yanan" userId="a8f760e9-50c6-421d-9788-7991509e9b00" providerId="ADAL" clId="{CE83D114-1C90-4F39-8D42-4D8D4E384834}" dt="2023-07-02T09:02:42.191" v="5592" actId="1076"/>
          <ac:spMkLst>
            <pc:docMk/>
            <pc:sldMk cId="3615939919" sldId="2145707130"/>
            <ac:spMk id="122" creationId="{2B86D9BB-A1B6-F429-E60F-1499193C74FD}"/>
          </ac:spMkLst>
        </pc:spChg>
        <pc:spChg chg="mod">
          <ac:chgData name="Sheng, Yanan" userId="a8f760e9-50c6-421d-9788-7991509e9b00" providerId="ADAL" clId="{CE83D114-1C90-4F39-8D42-4D8D4E384834}" dt="2023-07-02T09:02:42.191" v="5592" actId="1076"/>
          <ac:spMkLst>
            <pc:docMk/>
            <pc:sldMk cId="3615939919" sldId="2145707130"/>
            <ac:spMk id="124" creationId="{CE8DD55E-A3DC-F439-A8B4-FA20C92CC64A}"/>
          </ac:spMkLst>
        </pc:spChg>
        <pc:spChg chg="mod">
          <ac:chgData name="Sheng, Yanan" userId="a8f760e9-50c6-421d-9788-7991509e9b00" providerId="ADAL" clId="{CE83D114-1C90-4F39-8D42-4D8D4E384834}" dt="2023-07-02T09:02:42.191" v="5592" actId="1076"/>
          <ac:spMkLst>
            <pc:docMk/>
            <pc:sldMk cId="3615939919" sldId="2145707130"/>
            <ac:spMk id="125" creationId="{C6F94B66-7F23-C3E3-517B-7CE0ACBCC401}"/>
          </ac:spMkLst>
        </pc:spChg>
        <pc:spChg chg="mod">
          <ac:chgData name="Sheng, Yanan" userId="a8f760e9-50c6-421d-9788-7991509e9b00" providerId="ADAL" clId="{CE83D114-1C90-4F39-8D42-4D8D4E384834}" dt="2023-07-02T09:02:42.191" v="5592" actId="1076"/>
          <ac:spMkLst>
            <pc:docMk/>
            <pc:sldMk cId="3615939919" sldId="2145707130"/>
            <ac:spMk id="126" creationId="{F5529275-3309-8D2E-6CAA-491FBA7C299E}"/>
          </ac:spMkLst>
        </pc:spChg>
        <pc:spChg chg="mod">
          <ac:chgData name="Sheng, Yanan" userId="a8f760e9-50c6-421d-9788-7991509e9b00" providerId="ADAL" clId="{CE83D114-1C90-4F39-8D42-4D8D4E384834}" dt="2023-07-02T09:02:42.191" v="5592" actId="1076"/>
          <ac:spMkLst>
            <pc:docMk/>
            <pc:sldMk cId="3615939919" sldId="2145707130"/>
            <ac:spMk id="127" creationId="{8EA630F7-657B-434E-9086-7D5C2CD889EE}"/>
          </ac:spMkLst>
        </pc:spChg>
        <pc:spChg chg="mod">
          <ac:chgData name="Sheng, Yanan" userId="a8f760e9-50c6-421d-9788-7991509e9b00" providerId="ADAL" clId="{CE83D114-1C90-4F39-8D42-4D8D4E384834}" dt="2023-07-02T09:02:42.191" v="5592" actId="1076"/>
          <ac:spMkLst>
            <pc:docMk/>
            <pc:sldMk cId="3615939919" sldId="2145707130"/>
            <ac:spMk id="128" creationId="{2F26CA70-B71A-37C1-D5FF-D7DB5C80A7F1}"/>
          </ac:spMkLst>
        </pc:spChg>
        <pc:spChg chg="mod">
          <ac:chgData name="Sheng, Yanan" userId="a8f760e9-50c6-421d-9788-7991509e9b00" providerId="ADAL" clId="{CE83D114-1C90-4F39-8D42-4D8D4E384834}" dt="2023-07-02T09:02:42.191" v="5592" actId="1076"/>
          <ac:spMkLst>
            <pc:docMk/>
            <pc:sldMk cId="3615939919" sldId="2145707130"/>
            <ac:spMk id="129" creationId="{B0190E28-7FF3-1964-181C-49E90F116F4E}"/>
          </ac:spMkLst>
        </pc:spChg>
        <pc:spChg chg="mod">
          <ac:chgData name="Sheng, Yanan" userId="a8f760e9-50c6-421d-9788-7991509e9b00" providerId="ADAL" clId="{CE83D114-1C90-4F39-8D42-4D8D4E384834}" dt="2023-07-02T09:02:42.191" v="5592" actId="1076"/>
          <ac:spMkLst>
            <pc:docMk/>
            <pc:sldMk cId="3615939919" sldId="2145707130"/>
            <ac:spMk id="130" creationId="{26778153-2BF5-2560-4F46-3EF4DAD6DC47}"/>
          </ac:spMkLst>
        </pc:spChg>
        <pc:spChg chg="mod">
          <ac:chgData name="Sheng, Yanan" userId="a8f760e9-50c6-421d-9788-7991509e9b00" providerId="ADAL" clId="{CE83D114-1C90-4F39-8D42-4D8D4E384834}" dt="2023-07-02T09:02:42.191" v="5592" actId="1076"/>
          <ac:spMkLst>
            <pc:docMk/>
            <pc:sldMk cId="3615939919" sldId="2145707130"/>
            <ac:spMk id="131" creationId="{28298EF4-4CDF-A225-8115-B534D672C6C9}"/>
          </ac:spMkLst>
        </pc:spChg>
        <pc:spChg chg="mod">
          <ac:chgData name="Sheng, Yanan" userId="a8f760e9-50c6-421d-9788-7991509e9b00" providerId="ADAL" clId="{CE83D114-1C90-4F39-8D42-4D8D4E384834}" dt="2023-07-02T09:02:42.191" v="5592" actId="1076"/>
          <ac:spMkLst>
            <pc:docMk/>
            <pc:sldMk cId="3615939919" sldId="2145707130"/>
            <ac:spMk id="132" creationId="{6970B266-36FA-FF4A-4DB8-91485613AAA3}"/>
          </ac:spMkLst>
        </pc:spChg>
        <pc:spChg chg="mod">
          <ac:chgData name="Sheng, Yanan" userId="a8f760e9-50c6-421d-9788-7991509e9b00" providerId="ADAL" clId="{CE83D114-1C90-4F39-8D42-4D8D4E384834}" dt="2023-07-02T09:02:42.191" v="5592" actId="1076"/>
          <ac:spMkLst>
            <pc:docMk/>
            <pc:sldMk cId="3615939919" sldId="2145707130"/>
            <ac:spMk id="133" creationId="{BF73D8B3-1132-8463-267E-5B8F7D928074}"/>
          </ac:spMkLst>
        </pc:spChg>
        <pc:spChg chg="mod">
          <ac:chgData name="Sheng, Yanan" userId="a8f760e9-50c6-421d-9788-7991509e9b00" providerId="ADAL" clId="{CE83D114-1C90-4F39-8D42-4D8D4E384834}" dt="2023-07-02T09:02:42.191" v="5592" actId="1076"/>
          <ac:spMkLst>
            <pc:docMk/>
            <pc:sldMk cId="3615939919" sldId="2145707130"/>
            <ac:spMk id="134" creationId="{38543DA8-1A7E-5614-1AE5-E50405987B8C}"/>
          </ac:spMkLst>
        </pc:spChg>
        <pc:spChg chg="mod">
          <ac:chgData name="Sheng, Yanan" userId="a8f760e9-50c6-421d-9788-7991509e9b00" providerId="ADAL" clId="{CE83D114-1C90-4F39-8D42-4D8D4E384834}" dt="2023-07-02T09:02:42.191" v="5592" actId="1076"/>
          <ac:spMkLst>
            <pc:docMk/>
            <pc:sldMk cId="3615939919" sldId="2145707130"/>
            <ac:spMk id="135" creationId="{6C681CB6-6B84-3043-9865-840C853DB647}"/>
          </ac:spMkLst>
        </pc:spChg>
        <pc:spChg chg="mod">
          <ac:chgData name="Sheng, Yanan" userId="a8f760e9-50c6-421d-9788-7991509e9b00" providerId="ADAL" clId="{CE83D114-1C90-4F39-8D42-4D8D4E384834}" dt="2023-07-02T09:02:42.191" v="5592" actId="1076"/>
          <ac:spMkLst>
            <pc:docMk/>
            <pc:sldMk cId="3615939919" sldId="2145707130"/>
            <ac:spMk id="136" creationId="{B584E4DD-FD77-D804-9715-710F1EF437C4}"/>
          </ac:spMkLst>
        </pc:spChg>
        <pc:spChg chg="mod">
          <ac:chgData name="Sheng, Yanan" userId="a8f760e9-50c6-421d-9788-7991509e9b00" providerId="ADAL" clId="{CE83D114-1C90-4F39-8D42-4D8D4E384834}" dt="2023-07-02T09:02:42.191" v="5592" actId="1076"/>
          <ac:spMkLst>
            <pc:docMk/>
            <pc:sldMk cId="3615939919" sldId="2145707130"/>
            <ac:spMk id="137" creationId="{AEB9D255-184C-BEF5-500F-FDC8E476D6D2}"/>
          </ac:spMkLst>
        </pc:spChg>
        <pc:spChg chg="mod">
          <ac:chgData name="Sheng, Yanan" userId="a8f760e9-50c6-421d-9788-7991509e9b00" providerId="ADAL" clId="{CE83D114-1C90-4F39-8D42-4D8D4E384834}" dt="2023-07-02T09:02:50.319" v="5594" actId="1076"/>
          <ac:spMkLst>
            <pc:docMk/>
            <pc:sldMk cId="3615939919" sldId="2145707130"/>
            <ac:spMk id="139" creationId="{20E14C78-2883-87B4-B6CD-442C8C6111D7}"/>
          </ac:spMkLst>
        </pc:spChg>
        <pc:spChg chg="mod">
          <ac:chgData name="Sheng, Yanan" userId="a8f760e9-50c6-421d-9788-7991509e9b00" providerId="ADAL" clId="{CE83D114-1C90-4F39-8D42-4D8D4E384834}" dt="2023-07-02T09:02:50.319" v="5594" actId="1076"/>
          <ac:spMkLst>
            <pc:docMk/>
            <pc:sldMk cId="3615939919" sldId="2145707130"/>
            <ac:spMk id="141" creationId="{56FA3055-A813-FF52-D8A1-1F6C4CBA73BD}"/>
          </ac:spMkLst>
        </pc:spChg>
        <pc:spChg chg="mod">
          <ac:chgData name="Sheng, Yanan" userId="a8f760e9-50c6-421d-9788-7991509e9b00" providerId="ADAL" clId="{CE83D114-1C90-4F39-8D42-4D8D4E384834}" dt="2023-07-02T09:02:50.319" v="5594" actId="1076"/>
          <ac:spMkLst>
            <pc:docMk/>
            <pc:sldMk cId="3615939919" sldId="2145707130"/>
            <ac:spMk id="142" creationId="{2E2BF5A1-A1DC-3EBD-F139-8918A203294C}"/>
          </ac:spMkLst>
        </pc:spChg>
        <pc:spChg chg="mod">
          <ac:chgData name="Sheng, Yanan" userId="a8f760e9-50c6-421d-9788-7991509e9b00" providerId="ADAL" clId="{CE83D114-1C90-4F39-8D42-4D8D4E384834}" dt="2023-07-02T09:02:50.319" v="5594" actId="1076"/>
          <ac:spMkLst>
            <pc:docMk/>
            <pc:sldMk cId="3615939919" sldId="2145707130"/>
            <ac:spMk id="144" creationId="{2D63B08E-D1BF-7ABB-F62F-B65B7674B09C}"/>
          </ac:spMkLst>
        </pc:spChg>
        <pc:spChg chg="mod">
          <ac:chgData name="Sheng, Yanan" userId="a8f760e9-50c6-421d-9788-7991509e9b00" providerId="ADAL" clId="{CE83D114-1C90-4F39-8D42-4D8D4E384834}" dt="2023-07-02T09:02:50.319" v="5594" actId="1076"/>
          <ac:spMkLst>
            <pc:docMk/>
            <pc:sldMk cId="3615939919" sldId="2145707130"/>
            <ac:spMk id="145" creationId="{53F57C99-F544-C385-615C-8D0E4EE74F7A}"/>
          </ac:spMkLst>
        </pc:spChg>
        <pc:spChg chg="mod">
          <ac:chgData name="Sheng, Yanan" userId="a8f760e9-50c6-421d-9788-7991509e9b00" providerId="ADAL" clId="{CE83D114-1C90-4F39-8D42-4D8D4E384834}" dt="2023-07-02T09:02:50.319" v="5594" actId="1076"/>
          <ac:spMkLst>
            <pc:docMk/>
            <pc:sldMk cId="3615939919" sldId="2145707130"/>
            <ac:spMk id="146" creationId="{B4B58206-6D0D-87CE-85B2-9A2B11D97A5A}"/>
          </ac:spMkLst>
        </pc:spChg>
        <pc:spChg chg="add mod topLvl">
          <ac:chgData name="Sheng, Yanan" userId="a8f760e9-50c6-421d-9788-7991509e9b00" providerId="ADAL" clId="{CE83D114-1C90-4F39-8D42-4D8D4E384834}" dt="2023-07-02T09:12:03.370" v="5665" actId="165"/>
          <ac:spMkLst>
            <pc:docMk/>
            <pc:sldMk cId="3615939919" sldId="2145707130"/>
            <ac:spMk id="147" creationId="{334CF23B-2B92-6BC5-8256-4B183D7B2174}"/>
          </ac:spMkLst>
        </pc:spChg>
        <pc:spChg chg="add mod">
          <ac:chgData name="Sheng, Yanan" userId="a8f760e9-50c6-421d-9788-7991509e9b00" providerId="ADAL" clId="{CE83D114-1C90-4F39-8D42-4D8D4E384834}" dt="2023-07-02T09:06:44.638" v="5616" actId="1076"/>
          <ac:spMkLst>
            <pc:docMk/>
            <pc:sldMk cId="3615939919" sldId="2145707130"/>
            <ac:spMk id="148" creationId="{4DD92E69-3236-3B0F-BF34-8E022BA9BCC0}"/>
          </ac:spMkLst>
        </pc:spChg>
        <pc:spChg chg="add del mod">
          <ac:chgData name="Sheng, Yanan" userId="a8f760e9-50c6-421d-9788-7991509e9b00" providerId="ADAL" clId="{CE83D114-1C90-4F39-8D42-4D8D4E384834}" dt="2023-07-02T09:12:42.307" v="5698" actId="478"/>
          <ac:spMkLst>
            <pc:docMk/>
            <pc:sldMk cId="3615939919" sldId="2145707130"/>
            <ac:spMk id="152" creationId="{7F8153A0-6273-A5A1-B4FA-8D3CC4A50166}"/>
          </ac:spMkLst>
        </pc:spChg>
        <pc:spChg chg="add del mod">
          <ac:chgData name="Sheng, Yanan" userId="a8f760e9-50c6-421d-9788-7991509e9b00" providerId="ADAL" clId="{CE83D114-1C90-4F39-8D42-4D8D4E384834}" dt="2023-07-02T09:12:42.307" v="5698" actId="478"/>
          <ac:spMkLst>
            <pc:docMk/>
            <pc:sldMk cId="3615939919" sldId="2145707130"/>
            <ac:spMk id="154" creationId="{A07F8F8A-D3B0-8F68-0A2B-9EC08366025F}"/>
          </ac:spMkLst>
        </pc:spChg>
        <pc:spChg chg="add del mod">
          <ac:chgData name="Sheng, Yanan" userId="a8f760e9-50c6-421d-9788-7991509e9b00" providerId="ADAL" clId="{CE83D114-1C90-4F39-8D42-4D8D4E384834}" dt="2023-07-02T09:06:40.629" v="5615" actId="478"/>
          <ac:spMkLst>
            <pc:docMk/>
            <pc:sldMk cId="3615939919" sldId="2145707130"/>
            <ac:spMk id="155" creationId="{1FA1FD0C-0C53-A88F-1E7C-8273200EA8FD}"/>
          </ac:spMkLst>
        </pc:spChg>
        <pc:spChg chg="add del mod">
          <ac:chgData name="Sheng, Yanan" userId="a8f760e9-50c6-421d-9788-7991509e9b00" providerId="ADAL" clId="{CE83D114-1C90-4F39-8D42-4D8D4E384834}" dt="2023-07-02T09:06:40.629" v="5615" actId="478"/>
          <ac:spMkLst>
            <pc:docMk/>
            <pc:sldMk cId="3615939919" sldId="2145707130"/>
            <ac:spMk id="157" creationId="{31EEEBC1-6313-8E47-A5B0-C21CD296096D}"/>
          </ac:spMkLst>
        </pc:spChg>
        <pc:spChg chg="add del mod">
          <ac:chgData name="Sheng, Yanan" userId="a8f760e9-50c6-421d-9788-7991509e9b00" providerId="ADAL" clId="{CE83D114-1C90-4F39-8D42-4D8D4E384834}" dt="2023-07-02T09:14:19.281" v="5701" actId="478"/>
          <ac:spMkLst>
            <pc:docMk/>
            <pc:sldMk cId="3615939919" sldId="2145707130"/>
            <ac:spMk id="158" creationId="{E1E4760A-8AE0-80B3-5EBA-BDF980E2C2D7}"/>
          </ac:spMkLst>
        </pc:spChg>
        <pc:spChg chg="add del mod topLvl">
          <ac:chgData name="Sheng, Yanan" userId="a8f760e9-50c6-421d-9788-7991509e9b00" providerId="ADAL" clId="{CE83D114-1C90-4F39-8D42-4D8D4E384834}" dt="2023-07-02T09:12:42.307" v="5698" actId="478"/>
          <ac:spMkLst>
            <pc:docMk/>
            <pc:sldMk cId="3615939919" sldId="2145707130"/>
            <ac:spMk id="160" creationId="{34A9DF35-EEBD-E319-CF6B-FEC5DF56B1DF}"/>
          </ac:spMkLst>
        </pc:spChg>
        <pc:spChg chg="add del mod topLvl">
          <ac:chgData name="Sheng, Yanan" userId="a8f760e9-50c6-421d-9788-7991509e9b00" providerId="ADAL" clId="{CE83D114-1C90-4F39-8D42-4D8D4E384834}" dt="2023-07-02T09:12:42.307" v="5698" actId="478"/>
          <ac:spMkLst>
            <pc:docMk/>
            <pc:sldMk cId="3615939919" sldId="2145707130"/>
            <ac:spMk id="161" creationId="{361133C6-75FB-F94A-9B39-F9BA638B29D0}"/>
          </ac:spMkLst>
        </pc:spChg>
        <pc:spChg chg="add del mod topLvl">
          <ac:chgData name="Sheng, Yanan" userId="a8f760e9-50c6-421d-9788-7991509e9b00" providerId="ADAL" clId="{CE83D114-1C90-4F39-8D42-4D8D4E384834}" dt="2023-07-02T09:12:42.307" v="5698" actId="478"/>
          <ac:spMkLst>
            <pc:docMk/>
            <pc:sldMk cId="3615939919" sldId="2145707130"/>
            <ac:spMk id="162" creationId="{E7603E44-A43C-E046-813F-CCB7D6608FAB}"/>
          </ac:spMkLst>
        </pc:spChg>
        <pc:spChg chg="add del mod topLvl">
          <ac:chgData name="Sheng, Yanan" userId="a8f760e9-50c6-421d-9788-7991509e9b00" providerId="ADAL" clId="{CE83D114-1C90-4F39-8D42-4D8D4E384834}" dt="2023-07-02T09:12:42.307" v="5698" actId="478"/>
          <ac:spMkLst>
            <pc:docMk/>
            <pc:sldMk cId="3615939919" sldId="2145707130"/>
            <ac:spMk id="163" creationId="{3763812E-AD72-255B-7038-535D0FC8CB7B}"/>
          </ac:spMkLst>
        </pc:spChg>
        <pc:spChg chg="add del mod topLvl">
          <ac:chgData name="Sheng, Yanan" userId="a8f760e9-50c6-421d-9788-7991509e9b00" providerId="ADAL" clId="{CE83D114-1C90-4F39-8D42-4D8D4E384834}" dt="2023-07-02T09:12:42.307" v="5698" actId="478"/>
          <ac:spMkLst>
            <pc:docMk/>
            <pc:sldMk cId="3615939919" sldId="2145707130"/>
            <ac:spMk id="164" creationId="{BA8A7B84-6B01-DAB2-0823-5A7F7FC3EA9B}"/>
          </ac:spMkLst>
        </pc:spChg>
        <pc:spChg chg="add del mod topLvl">
          <ac:chgData name="Sheng, Yanan" userId="a8f760e9-50c6-421d-9788-7991509e9b00" providerId="ADAL" clId="{CE83D114-1C90-4F39-8D42-4D8D4E384834}" dt="2023-07-02T09:12:42.307" v="5698" actId="478"/>
          <ac:spMkLst>
            <pc:docMk/>
            <pc:sldMk cId="3615939919" sldId="2145707130"/>
            <ac:spMk id="165" creationId="{56EDD356-5BB8-341D-680F-9F6DE0B88FA4}"/>
          </ac:spMkLst>
        </pc:spChg>
        <pc:spChg chg="add del mod topLvl">
          <ac:chgData name="Sheng, Yanan" userId="a8f760e9-50c6-421d-9788-7991509e9b00" providerId="ADAL" clId="{CE83D114-1C90-4F39-8D42-4D8D4E384834}" dt="2023-07-02T09:12:42.307" v="5698" actId="478"/>
          <ac:spMkLst>
            <pc:docMk/>
            <pc:sldMk cId="3615939919" sldId="2145707130"/>
            <ac:spMk id="166" creationId="{78D30BA2-1B56-E34E-0E79-ED8C1106C989}"/>
          </ac:spMkLst>
        </pc:spChg>
        <pc:spChg chg="add del mod topLvl">
          <ac:chgData name="Sheng, Yanan" userId="a8f760e9-50c6-421d-9788-7991509e9b00" providerId="ADAL" clId="{CE83D114-1C90-4F39-8D42-4D8D4E384834}" dt="2023-07-02T09:12:42.307" v="5698" actId="478"/>
          <ac:spMkLst>
            <pc:docMk/>
            <pc:sldMk cId="3615939919" sldId="2145707130"/>
            <ac:spMk id="167" creationId="{3251C342-A7FF-31D4-71F1-2DE925B4FE55}"/>
          </ac:spMkLst>
        </pc:spChg>
        <pc:grpChg chg="add del mod">
          <ac:chgData name="Sheng, Yanan" userId="a8f760e9-50c6-421d-9788-7991509e9b00" providerId="ADAL" clId="{CE83D114-1C90-4F39-8D42-4D8D4E384834}" dt="2023-07-02T08:47:37.275" v="5445" actId="478"/>
          <ac:grpSpMkLst>
            <pc:docMk/>
            <pc:sldMk cId="3615939919" sldId="2145707130"/>
            <ac:grpSpMk id="22" creationId="{271A49B3-AECF-38F6-FFDA-E65220F1F919}"/>
          </ac:grpSpMkLst>
        </pc:grpChg>
        <pc:grpChg chg="add del mod topLvl">
          <ac:chgData name="Sheng, Yanan" userId="a8f760e9-50c6-421d-9788-7991509e9b00" providerId="ADAL" clId="{CE83D114-1C90-4F39-8D42-4D8D4E384834}" dt="2023-07-02T08:52:37.815" v="5477" actId="478"/>
          <ac:grpSpMkLst>
            <pc:docMk/>
            <pc:sldMk cId="3615939919" sldId="2145707130"/>
            <ac:grpSpMk id="48" creationId="{5095AC1C-E6E2-9E0F-FF84-9CC2B4D11A8D}"/>
          </ac:grpSpMkLst>
        </pc:grpChg>
        <pc:grpChg chg="add del mod">
          <ac:chgData name="Sheng, Yanan" userId="a8f760e9-50c6-421d-9788-7991509e9b00" providerId="ADAL" clId="{CE83D114-1C90-4F39-8D42-4D8D4E384834}" dt="2023-07-02T09:01:45.728" v="5576" actId="478"/>
          <ac:grpSpMkLst>
            <pc:docMk/>
            <pc:sldMk cId="3615939919" sldId="2145707130"/>
            <ac:grpSpMk id="55" creationId="{3014E431-7FB6-EE25-A4B6-150DD4941AFA}"/>
          </ac:grpSpMkLst>
        </pc:grpChg>
        <pc:grpChg chg="add del mod">
          <ac:chgData name="Sheng, Yanan" userId="a8f760e9-50c6-421d-9788-7991509e9b00" providerId="ADAL" clId="{CE83D114-1C90-4F39-8D42-4D8D4E384834}" dt="2023-07-02T09:01:45.728" v="5576" actId="478"/>
          <ac:grpSpMkLst>
            <pc:docMk/>
            <pc:sldMk cId="3615939919" sldId="2145707130"/>
            <ac:grpSpMk id="59" creationId="{24CF4DEB-733E-2952-54BA-1943D919EC4E}"/>
          </ac:grpSpMkLst>
        </pc:grpChg>
        <pc:grpChg chg="add del mod">
          <ac:chgData name="Sheng, Yanan" userId="a8f760e9-50c6-421d-9788-7991509e9b00" providerId="ADAL" clId="{CE83D114-1C90-4F39-8D42-4D8D4E384834}" dt="2023-07-02T09:01:45.728" v="5576" actId="478"/>
          <ac:grpSpMkLst>
            <pc:docMk/>
            <pc:sldMk cId="3615939919" sldId="2145707130"/>
            <ac:grpSpMk id="63" creationId="{74963C97-F7D4-CAF1-7B23-4E96A12B0F4A}"/>
          </ac:grpSpMkLst>
        </pc:grpChg>
        <pc:grpChg chg="add del mod">
          <ac:chgData name="Sheng, Yanan" userId="a8f760e9-50c6-421d-9788-7991509e9b00" providerId="ADAL" clId="{CE83D114-1C90-4F39-8D42-4D8D4E384834}" dt="2023-07-02T09:01:45.728" v="5576" actId="478"/>
          <ac:grpSpMkLst>
            <pc:docMk/>
            <pc:sldMk cId="3615939919" sldId="2145707130"/>
            <ac:grpSpMk id="66" creationId="{23EB6935-82AF-7BA3-EA6D-018ECB3142BD}"/>
          </ac:grpSpMkLst>
        </pc:grpChg>
        <pc:grpChg chg="add del mod">
          <ac:chgData name="Sheng, Yanan" userId="a8f760e9-50c6-421d-9788-7991509e9b00" providerId="ADAL" clId="{CE83D114-1C90-4F39-8D42-4D8D4E384834}" dt="2023-07-02T09:01:45.728" v="5576" actId="478"/>
          <ac:grpSpMkLst>
            <pc:docMk/>
            <pc:sldMk cId="3615939919" sldId="2145707130"/>
            <ac:grpSpMk id="81" creationId="{C704B284-E947-5802-B23F-8568CCE5181E}"/>
          </ac:grpSpMkLst>
        </pc:grpChg>
        <pc:grpChg chg="mod">
          <ac:chgData name="Sheng, Yanan" userId="a8f760e9-50c6-421d-9788-7991509e9b00" providerId="ADAL" clId="{CE83D114-1C90-4F39-8D42-4D8D4E384834}" dt="2023-07-02T08:52:28.228" v="5475" actId="1076"/>
          <ac:grpSpMkLst>
            <pc:docMk/>
            <pc:sldMk cId="3615939919" sldId="2145707130"/>
            <ac:grpSpMk id="83" creationId="{65A4C891-7495-578B-0C85-3C315AB29173}"/>
          </ac:grpSpMkLst>
        </pc:grpChg>
        <pc:grpChg chg="add del mod">
          <ac:chgData name="Sheng, Yanan" userId="a8f760e9-50c6-421d-9788-7991509e9b00" providerId="ADAL" clId="{CE83D114-1C90-4F39-8D42-4D8D4E384834}" dt="2023-07-02T09:01:45.728" v="5576" actId="478"/>
          <ac:grpSpMkLst>
            <pc:docMk/>
            <pc:sldMk cId="3615939919" sldId="2145707130"/>
            <ac:grpSpMk id="86" creationId="{3484F81D-2D9B-27B9-0C4B-6B69E5F2484B}"/>
          </ac:grpSpMkLst>
        </pc:grpChg>
        <pc:grpChg chg="add del mod">
          <ac:chgData name="Sheng, Yanan" userId="a8f760e9-50c6-421d-9788-7991509e9b00" providerId="ADAL" clId="{CE83D114-1C90-4F39-8D42-4D8D4E384834}" dt="2023-07-02T08:52:35.124" v="5476" actId="165"/>
          <ac:grpSpMkLst>
            <pc:docMk/>
            <pc:sldMk cId="3615939919" sldId="2145707130"/>
            <ac:grpSpMk id="90" creationId="{21AF31A5-557B-1D74-5A7F-DA1D9FED0E46}"/>
          </ac:grpSpMkLst>
        </pc:grpChg>
        <pc:grpChg chg="add del mod">
          <ac:chgData name="Sheng, Yanan" userId="a8f760e9-50c6-421d-9788-7991509e9b00" providerId="ADAL" clId="{CE83D114-1C90-4F39-8D42-4D8D4E384834}" dt="2023-07-02T08:56:13.781" v="5489" actId="478"/>
          <ac:grpSpMkLst>
            <pc:docMk/>
            <pc:sldMk cId="3615939919" sldId="2145707130"/>
            <ac:grpSpMk id="105" creationId="{0CCF5131-AFC8-8CC7-2CF2-8C9B4E4E8556}"/>
          </ac:grpSpMkLst>
        </pc:grpChg>
        <pc:grpChg chg="add mod">
          <ac:chgData name="Sheng, Yanan" userId="a8f760e9-50c6-421d-9788-7991509e9b00" providerId="ADAL" clId="{CE83D114-1C90-4F39-8D42-4D8D4E384834}" dt="2023-07-02T09:02:42.191" v="5592" actId="1076"/>
          <ac:grpSpMkLst>
            <pc:docMk/>
            <pc:sldMk cId="3615939919" sldId="2145707130"/>
            <ac:grpSpMk id="112" creationId="{A7496FCE-D441-D4C6-F65B-CACC9A121F73}"/>
          </ac:grpSpMkLst>
        </pc:grpChg>
        <pc:grpChg chg="add mod">
          <ac:chgData name="Sheng, Yanan" userId="a8f760e9-50c6-421d-9788-7991509e9b00" providerId="ADAL" clId="{CE83D114-1C90-4F39-8D42-4D8D4E384834}" dt="2023-07-02T09:02:46.490" v="5593" actId="1076"/>
          <ac:grpSpMkLst>
            <pc:docMk/>
            <pc:sldMk cId="3615939919" sldId="2145707130"/>
            <ac:grpSpMk id="116" creationId="{0ED038C0-9687-0636-0639-3B340CD494B2}"/>
          </ac:grpSpMkLst>
        </pc:grpChg>
        <pc:grpChg chg="add mod">
          <ac:chgData name="Sheng, Yanan" userId="a8f760e9-50c6-421d-9788-7991509e9b00" providerId="ADAL" clId="{CE83D114-1C90-4F39-8D42-4D8D4E384834}" dt="2023-07-02T09:02:46.490" v="5593" actId="1076"/>
          <ac:grpSpMkLst>
            <pc:docMk/>
            <pc:sldMk cId="3615939919" sldId="2145707130"/>
            <ac:grpSpMk id="120" creationId="{2BD5D264-A519-9D65-806D-7EE275B9077D}"/>
          </ac:grpSpMkLst>
        </pc:grpChg>
        <pc:grpChg chg="add mod">
          <ac:chgData name="Sheng, Yanan" userId="a8f760e9-50c6-421d-9788-7991509e9b00" providerId="ADAL" clId="{CE83D114-1C90-4F39-8D42-4D8D4E384834}" dt="2023-07-02T09:02:42.191" v="5592" actId="1076"/>
          <ac:grpSpMkLst>
            <pc:docMk/>
            <pc:sldMk cId="3615939919" sldId="2145707130"/>
            <ac:grpSpMk id="123" creationId="{B682A07C-A436-7A40-3F7C-240D76573A2A}"/>
          </ac:grpSpMkLst>
        </pc:grpChg>
        <pc:grpChg chg="add mod">
          <ac:chgData name="Sheng, Yanan" userId="a8f760e9-50c6-421d-9788-7991509e9b00" providerId="ADAL" clId="{CE83D114-1C90-4F39-8D42-4D8D4E384834}" dt="2023-07-02T09:02:50.319" v="5594" actId="1076"/>
          <ac:grpSpMkLst>
            <pc:docMk/>
            <pc:sldMk cId="3615939919" sldId="2145707130"/>
            <ac:grpSpMk id="138" creationId="{42E320E1-AE10-6FA2-4B6A-84298167ABD0}"/>
          </ac:grpSpMkLst>
        </pc:grpChg>
        <pc:grpChg chg="mod">
          <ac:chgData name="Sheng, Yanan" userId="a8f760e9-50c6-421d-9788-7991509e9b00" providerId="ADAL" clId="{CE83D114-1C90-4F39-8D42-4D8D4E384834}" dt="2023-07-02T09:02:50.319" v="5594" actId="1076"/>
          <ac:grpSpMkLst>
            <pc:docMk/>
            <pc:sldMk cId="3615939919" sldId="2145707130"/>
            <ac:grpSpMk id="140" creationId="{DECD089F-1F37-CBA4-6075-6CA3952420FC}"/>
          </ac:grpSpMkLst>
        </pc:grpChg>
        <pc:grpChg chg="add mod">
          <ac:chgData name="Sheng, Yanan" userId="a8f760e9-50c6-421d-9788-7991509e9b00" providerId="ADAL" clId="{CE83D114-1C90-4F39-8D42-4D8D4E384834}" dt="2023-07-02T09:02:50.319" v="5594" actId="1076"/>
          <ac:grpSpMkLst>
            <pc:docMk/>
            <pc:sldMk cId="3615939919" sldId="2145707130"/>
            <ac:grpSpMk id="143" creationId="{757972AE-2E61-0643-0672-A3C9FB9E48D6}"/>
          </ac:grpSpMkLst>
        </pc:grpChg>
        <pc:grpChg chg="add del mod topLvl">
          <ac:chgData name="Sheng, Yanan" userId="a8f760e9-50c6-421d-9788-7991509e9b00" providerId="ADAL" clId="{CE83D114-1C90-4F39-8D42-4D8D4E384834}" dt="2023-07-02T09:12:03.370" v="5665" actId="165"/>
          <ac:grpSpMkLst>
            <pc:docMk/>
            <pc:sldMk cId="3615939919" sldId="2145707130"/>
            <ac:grpSpMk id="168" creationId="{D2C81D37-598C-984F-16E4-96430A565856}"/>
          </ac:grpSpMkLst>
        </pc:grpChg>
        <pc:grpChg chg="add del mod">
          <ac:chgData name="Sheng, Yanan" userId="a8f760e9-50c6-421d-9788-7991509e9b00" providerId="ADAL" clId="{CE83D114-1C90-4F39-8D42-4D8D4E384834}" dt="2023-07-02T09:11:43.662" v="5662" actId="165"/>
          <ac:grpSpMkLst>
            <pc:docMk/>
            <pc:sldMk cId="3615939919" sldId="2145707130"/>
            <ac:grpSpMk id="169" creationId="{F4A94271-DC93-8058-C37E-6D39B15F668E}"/>
          </ac:grpSpMkLst>
        </pc:grpChg>
        <pc:picChg chg="mod">
          <ac:chgData name="Sheng, Yanan" userId="a8f760e9-50c6-421d-9788-7991509e9b00" providerId="ADAL" clId="{CE83D114-1C90-4F39-8D42-4D8D4E384834}" dt="2023-07-02T08:30:10.994" v="5353" actId="1076"/>
          <ac:picMkLst>
            <pc:docMk/>
            <pc:sldMk cId="3615939919" sldId="2145707130"/>
            <ac:picMk id="24" creationId="{14972A44-A247-E781-E310-AA544599A2F7}"/>
          </ac:picMkLst>
        </pc:picChg>
        <pc:picChg chg="mod">
          <ac:chgData name="Sheng, Yanan" userId="a8f760e9-50c6-421d-9788-7991509e9b00" providerId="ADAL" clId="{CE83D114-1C90-4F39-8D42-4D8D4E384834}" dt="2023-07-02T08:30:10.994" v="5353" actId="1076"/>
          <ac:picMkLst>
            <pc:docMk/>
            <pc:sldMk cId="3615939919" sldId="2145707130"/>
            <ac:picMk id="26" creationId="{9764B4D9-5264-1281-79EC-EDD457D076C0}"/>
          </ac:picMkLst>
        </pc:picChg>
        <pc:picChg chg="add del mod">
          <ac:chgData name="Sheng, Yanan" userId="a8f760e9-50c6-421d-9788-7991509e9b00" providerId="ADAL" clId="{CE83D114-1C90-4F39-8D42-4D8D4E384834}" dt="2023-07-02T08:43:12.118" v="5441" actId="478"/>
          <ac:picMkLst>
            <pc:docMk/>
            <pc:sldMk cId="3615939919" sldId="2145707130"/>
            <ac:picMk id="31" creationId="{E4482652-68D9-CAA6-0CD8-C072D71F514F}"/>
          </ac:picMkLst>
        </pc:picChg>
        <pc:picChg chg="mod">
          <ac:chgData name="Sheng, Yanan" userId="a8f760e9-50c6-421d-9788-7991509e9b00" providerId="ADAL" clId="{CE83D114-1C90-4F39-8D42-4D8D4E384834}" dt="2023-07-02T08:52:35.124" v="5476" actId="165"/>
          <ac:picMkLst>
            <pc:docMk/>
            <pc:sldMk cId="3615939919" sldId="2145707130"/>
            <ac:picMk id="50" creationId="{481C944E-8842-DACB-61FA-27DE5123E936}"/>
          </ac:picMkLst>
        </pc:picChg>
        <pc:picChg chg="mod">
          <ac:chgData name="Sheng, Yanan" userId="a8f760e9-50c6-421d-9788-7991509e9b00" providerId="ADAL" clId="{CE83D114-1C90-4F39-8D42-4D8D4E384834}" dt="2023-07-02T08:52:35.124" v="5476" actId="165"/>
          <ac:picMkLst>
            <pc:docMk/>
            <pc:sldMk cId="3615939919" sldId="2145707130"/>
            <ac:picMk id="52" creationId="{DEB9995F-8DD0-BEEF-2C72-8C64C0339BBC}"/>
          </ac:picMkLst>
        </pc:picChg>
        <pc:picChg chg="mod">
          <ac:chgData name="Sheng, Yanan" userId="a8f760e9-50c6-421d-9788-7991509e9b00" providerId="ADAL" clId="{CE83D114-1C90-4F39-8D42-4D8D4E384834}" dt="2023-07-02T08:53:45.020" v="5488" actId="1076"/>
          <ac:picMkLst>
            <pc:docMk/>
            <pc:sldMk cId="3615939919" sldId="2145707130"/>
            <ac:picMk id="107" creationId="{D2AFB072-882E-3272-E0D0-4C86E057AA8F}"/>
          </ac:picMkLst>
        </pc:picChg>
        <pc:picChg chg="mod">
          <ac:chgData name="Sheng, Yanan" userId="a8f760e9-50c6-421d-9788-7991509e9b00" providerId="ADAL" clId="{CE83D114-1C90-4F39-8D42-4D8D4E384834}" dt="2023-07-02T08:53:45.020" v="5488" actId="1076"/>
          <ac:picMkLst>
            <pc:docMk/>
            <pc:sldMk cId="3615939919" sldId="2145707130"/>
            <ac:picMk id="109" creationId="{E0D52B51-E867-3358-68E8-84F99CC7ADC1}"/>
          </ac:picMkLst>
        </pc:picChg>
        <pc:picChg chg="add del">
          <ac:chgData name="Sheng, Yanan" userId="a8f760e9-50c6-421d-9788-7991509e9b00" providerId="ADAL" clId="{CE83D114-1C90-4F39-8D42-4D8D4E384834}" dt="2023-07-02T08:59:06.299" v="5537" actId="22"/>
          <ac:picMkLst>
            <pc:docMk/>
            <pc:sldMk cId="3615939919" sldId="2145707130"/>
            <ac:picMk id="150" creationId="{442AD9F3-C4A4-B71E-06E1-7211D2D72F96}"/>
          </ac:picMkLst>
        </pc:picChg>
        <pc:picChg chg="add del mod topLvl">
          <ac:chgData name="Sheng, Yanan" userId="a8f760e9-50c6-421d-9788-7991509e9b00" providerId="ADAL" clId="{CE83D114-1C90-4F39-8D42-4D8D4E384834}" dt="2023-07-02T09:12:38.793" v="5697" actId="478"/>
          <ac:picMkLst>
            <pc:docMk/>
            <pc:sldMk cId="3615939919" sldId="2145707130"/>
            <ac:picMk id="159" creationId="{28FF528C-C001-507A-0A5B-C9DB0BDBF140}"/>
          </ac:picMkLst>
        </pc:picChg>
      </pc:sldChg>
      <pc:sldChg chg="addSp delSp modSp add del mod">
        <pc:chgData name="Sheng, Yanan" userId="a8f760e9-50c6-421d-9788-7991509e9b00" providerId="ADAL" clId="{CE83D114-1C90-4F39-8D42-4D8D4E384834}" dt="2023-06-14T05:54:29.601" v="2095" actId="47"/>
        <pc:sldMkLst>
          <pc:docMk/>
          <pc:sldMk cId="290205425" sldId="2145707131"/>
        </pc:sldMkLst>
        <pc:spChg chg="add mod">
          <ac:chgData name="Sheng, Yanan" userId="a8f760e9-50c6-421d-9788-7991509e9b00" providerId="ADAL" clId="{CE83D114-1C90-4F39-8D42-4D8D4E384834}" dt="2023-06-14T05:53:03.509" v="2091" actId="1076"/>
          <ac:spMkLst>
            <pc:docMk/>
            <pc:sldMk cId="290205425" sldId="2145707131"/>
            <ac:spMk id="2" creationId="{BFA95F73-A338-6633-3E36-59B4D7E43BDD}"/>
          </ac:spMkLst>
        </pc:spChg>
        <pc:spChg chg="add del mod">
          <ac:chgData name="Sheng, Yanan" userId="a8f760e9-50c6-421d-9788-7991509e9b00" providerId="ADAL" clId="{CE83D114-1C90-4F39-8D42-4D8D4E384834}" dt="2023-06-14T05:52:32.193" v="2079" actId="478"/>
          <ac:spMkLst>
            <pc:docMk/>
            <pc:sldMk cId="290205425" sldId="2145707131"/>
            <ac:spMk id="4" creationId="{56442BBF-296F-AF18-4C3F-B82EA8B07FAC}"/>
          </ac:spMkLst>
        </pc:spChg>
        <pc:spChg chg="del">
          <ac:chgData name="Sheng, Yanan" userId="a8f760e9-50c6-421d-9788-7991509e9b00" providerId="ADAL" clId="{CE83D114-1C90-4F39-8D42-4D8D4E384834}" dt="2023-06-14T05:48:55.343" v="1971" actId="478"/>
          <ac:spMkLst>
            <pc:docMk/>
            <pc:sldMk cId="290205425" sldId="2145707131"/>
            <ac:spMk id="5" creationId="{ECDC47DE-77D6-426C-B817-B00C44E8D1B1}"/>
          </ac:spMkLst>
        </pc:spChg>
        <pc:spChg chg="del">
          <ac:chgData name="Sheng, Yanan" userId="a8f760e9-50c6-421d-9788-7991509e9b00" providerId="ADAL" clId="{CE83D114-1C90-4F39-8D42-4D8D4E384834}" dt="2023-06-14T05:48:55.343" v="1971" actId="478"/>
          <ac:spMkLst>
            <pc:docMk/>
            <pc:sldMk cId="290205425" sldId="2145707131"/>
            <ac:spMk id="6" creationId="{BF736C93-E167-4913-8470-B44928EB101F}"/>
          </ac:spMkLst>
        </pc:spChg>
        <pc:spChg chg="del">
          <ac:chgData name="Sheng, Yanan" userId="a8f760e9-50c6-421d-9788-7991509e9b00" providerId="ADAL" clId="{CE83D114-1C90-4F39-8D42-4D8D4E384834}" dt="2023-06-14T05:48:55.343" v="1971" actId="478"/>
          <ac:spMkLst>
            <pc:docMk/>
            <pc:sldMk cId="290205425" sldId="2145707131"/>
            <ac:spMk id="7" creationId="{E5B49FAA-B59E-43F7-87A7-F2E7CD5F1AAD}"/>
          </ac:spMkLst>
        </pc:spChg>
        <pc:spChg chg="del">
          <ac:chgData name="Sheng, Yanan" userId="a8f760e9-50c6-421d-9788-7991509e9b00" providerId="ADAL" clId="{CE83D114-1C90-4F39-8D42-4D8D4E384834}" dt="2023-06-14T05:48:55.343" v="1971" actId="478"/>
          <ac:spMkLst>
            <pc:docMk/>
            <pc:sldMk cId="290205425" sldId="2145707131"/>
            <ac:spMk id="8" creationId="{A58E1C35-493D-4ECE-BAB1-073144B7A246}"/>
          </ac:spMkLst>
        </pc:spChg>
        <pc:spChg chg="del">
          <ac:chgData name="Sheng, Yanan" userId="a8f760e9-50c6-421d-9788-7991509e9b00" providerId="ADAL" clId="{CE83D114-1C90-4F39-8D42-4D8D4E384834}" dt="2023-06-14T05:48:55.343" v="1971" actId="478"/>
          <ac:spMkLst>
            <pc:docMk/>
            <pc:sldMk cId="290205425" sldId="2145707131"/>
            <ac:spMk id="9" creationId="{ACAA8949-3B4B-4C1F-9EFF-DF66223B8E3F}"/>
          </ac:spMkLst>
        </pc:spChg>
        <pc:spChg chg="del">
          <ac:chgData name="Sheng, Yanan" userId="a8f760e9-50c6-421d-9788-7991509e9b00" providerId="ADAL" clId="{CE83D114-1C90-4F39-8D42-4D8D4E384834}" dt="2023-06-14T05:48:55.343" v="1971" actId="478"/>
          <ac:spMkLst>
            <pc:docMk/>
            <pc:sldMk cId="290205425" sldId="2145707131"/>
            <ac:spMk id="10" creationId="{70CAD0C0-AFE6-425F-95FD-7026CD76ECBE}"/>
          </ac:spMkLst>
        </pc:spChg>
        <pc:spChg chg="add mod">
          <ac:chgData name="Sheng, Yanan" userId="a8f760e9-50c6-421d-9788-7991509e9b00" providerId="ADAL" clId="{CE83D114-1C90-4F39-8D42-4D8D4E384834}" dt="2023-06-14T05:53:05.462" v="2092" actId="1076"/>
          <ac:spMkLst>
            <pc:docMk/>
            <pc:sldMk cId="290205425" sldId="2145707131"/>
            <ac:spMk id="11" creationId="{6117143A-8B74-38C6-ADA9-A4FBF8E5DB5D}"/>
          </ac:spMkLst>
        </pc:spChg>
        <pc:spChg chg="del">
          <ac:chgData name="Sheng, Yanan" userId="a8f760e9-50c6-421d-9788-7991509e9b00" providerId="ADAL" clId="{CE83D114-1C90-4F39-8D42-4D8D4E384834}" dt="2023-06-14T05:48:55.343" v="1971" actId="478"/>
          <ac:spMkLst>
            <pc:docMk/>
            <pc:sldMk cId="290205425" sldId="2145707131"/>
            <ac:spMk id="13" creationId="{AF0F697D-3C75-455D-9742-E7D44D79D22D}"/>
          </ac:spMkLst>
        </pc:spChg>
        <pc:spChg chg="del">
          <ac:chgData name="Sheng, Yanan" userId="a8f760e9-50c6-421d-9788-7991509e9b00" providerId="ADAL" clId="{CE83D114-1C90-4F39-8D42-4D8D4E384834}" dt="2023-06-14T05:48:55.343" v="1971" actId="478"/>
          <ac:spMkLst>
            <pc:docMk/>
            <pc:sldMk cId="290205425" sldId="2145707131"/>
            <ac:spMk id="14" creationId="{2336BA2F-C8BC-42BA-96B0-8C624F243519}"/>
          </ac:spMkLst>
        </pc:spChg>
        <pc:spChg chg="del">
          <ac:chgData name="Sheng, Yanan" userId="a8f760e9-50c6-421d-9788-7991509e9b00" providerId="ADAL" clId="{CE83D114-1C90-4F39-8D42-4D8D4E384834}" dt="2023-06-14T05:48:55.343" v="1971" actId="478"/>
          <ac:spMkLst>
            <pc:docMk/>
            <pc:sldMk cId="290205425" sldId="2145707131"/>
            <ac:spMk id="15" creationId="{A766C1DC-DA77-4D0C-8C63-D18266644097}"/>
          </ac:spMkLst>
        </pc:spChg>
        <pc:spChg chg="del">
          <ac:chgData name="Sheng, Yanan" userId="a8f760e9-50c6-421d-9788-7991509e9b00" providerId="ADAL" clId="{CE83D114-1C90-4F39-8D42-4D8D4E384834}" dt="2023-06-14T05:48:55.343" v="1971" actId="478"/>
          <ac:spMkLst>
            <pc:docMk/>
            <pc:sldMk cId="290205425" sldId="2145707131"/>
            <ac:spMk id="16" creationId="{FB93AF8E-7686-4365-9E21-A8F9A86945E6}"/>
          </ac:spMkLst>
        </pc:spChg>
        <pc:spChg chg="mod">
          <ac:chgData name="Sheng, Yanan" userId="a8f760e9-50c6-421d-9788-7991509e9b00" providerId="ADAL" clId="{CE83D114-1C90-4F39-8D42-4D8D4E384834}" dt="2023-06-14T05:48:50.038" v="1970" actId="20577"/>
          <ac:spMkLst>
            <pc:docMk/>
            <pc:sldMk cId="290205425" sldId="2145707131"/>
            <ac:spMk id="37" creationId="{8109A740-BC76-6447-9BA6-362E759DED0E}"/>
          </ac:spMkLst>
        </pc:spChg>
      </pc:sldChg>
      <pc:sldChg chg="delSp modSp mod">
        <pc:chgData name="Sheng, Yanan" userId="a8f760e9-50c6-421d-9788-7991509e9b00" providerId="ADAL" clId="{CE83D114-1C90-4F39-8D42-4D8D4E384834}" dt="2023-07-07T07:32:50.925" v="6651" actId="1076"/>
        <pc:sldMkLst>
          <pc:docMk/>
          <pc:sldMk cId="960220326" sldId="2145707131"/>
        </pc:sldMkLst>
        <pc:spChg chg="del">
          <ac:chgData name="Sheng, Yanan" userId="a8f760e9-50c6-421d-9788-7991509e9b00" providerId="ADAL" clId="{CE83D114-1C90-4F39-8D42-4D8D4E384834}" dt="2023-07-07T07:02:22.945" v="6368" actId="478"/>
          <ac:spMkLst>
            <pc:docMk/>
            <pc:sldMk cId="960220326" sldId="2145707131"/>
            <ac:spMk id="17" creationId="{BB04E225-B8EF-A3CC-90D3-8FD31899FC7F}"/>
          </ac:spMkLst>
        </pc:spChg>
        <pc:spChg chg="mod">
          <ac:chgData name="Sheng, Yanan" userId="a8f760e9-50c6-421d-9788-7991509e9b00" providerId="ADAL" clId="{CE83D114-1C90-4F39-8D42-4D8D4E384834}" dt="2023-07-07T07:27:36.538" v="6599" actId="207"/>
          <ac:spMkLst>
            <pc:docMk/>
            <pc:sldMk cId="960220326" sldId="2145707131"/>
            <ac:spMk id="18" creationId="{6A90D23A-24BE-CB5F-93E1-4BEE29809F17}"/>
          </ac:spMkLst>
        </pc:spChg>
        <pc:spChg chg="mod">
          <ac:chgData name="Sheng, Yanan" userId="a8f760e9-50c6-421d-9788-7991509e9b00" providerId="ADAL" clId="{CE83D114-1C90-4F39-8D42-4D8D4E384834}" dt="2023-07-07T07:18:41.275" v="6435" actId="1076"/>
          <ac:spMkLst>
            <pc:docMk/>
            <pc:sldMk cId="960220326" sldId="2145707131"/>
            <ac:spMk id="30" creationId="{86E933AC-0640-F76D-425B-8CEB66EC9D42}"/>
          </ac:spMkLst>
        </pc:spChg>
        <pc:spChg chg="mod">
          <ac:chgData name="Sheng, Yanan" userId="a8f760e9-50c6-421d-9788-7991509e9b00" providerId="ADAL" clId="{CE83D114-1C90-4F39-8D42-4D8D4E384834}" dt="2023-07-07T07:26:57.367" v="6597" actId="20577"/>
          <ac:spMkLst>
            <pc:docMk/>
            <pc:sldMk cId="960220326" sldId="2145707131"/>
            <ac:spMk id="37" creationId="{1C2903C7-BF43-C225-EFFA-50DA4C4D728C}"/>
          </ac:spMkLst>
        </pc:spChg>
        <pc:spChg chg="mod">
          <ac:chgData name="Sheng, Yanan" userId="a8f760e9-50c6-421d-9788-7991509e9b00" providerId="ADAL" clId="{CE83D114-1C90-4F39-8D42-4D8D4E384834}" dt="2023-07-07T07:31:00.896" v="6647" actId="1076"/>
          <ac:spMkLst>
            <pc:docMk/>
            <pc:sldMk cId="960220326" sldId="2145707131"/>
            <ac:spMk id="43" creationId="{99E7728C-D907-B152-38F8-72A802E32E8C}"/>
          </ac:spMkLst>
        </pc:spChg>
        <pc:grpChg chg="mod">
          <ac:chgData name="Sheng, Yanan" userId="a8f760e9-50c6-421d-9788-7991509e9b00" providerId="ADAL" clId="{CE83D114-1C90-4F39-8D42-4D8D4E384834}" dt="2023-07-07T07:02:30.162" v="6369" actId="1076"/>
          <ac:grpSpMkLst>
            <pc:docMk/>
            <pc:sldMk cId="960220326" sldId="2145707131"/>
            <ac:grpSpMk id="19" creationId="{39F42E18-8897-5036-18DC-827417377073}"/>
          </ac:grpSpMkLst>
        </pc:grpChg>
        <pc:grpChg chg="mod">
          <ac:chgData name="Sheng, Yanan" userId="a8f760e9-50c6-421d-9788-7991509e9b00" providerId="ADAL" clId="{CE83D114-1C90-4F39-8D42-4D8D4E384834}" dt="2023-07-07T07:27:15.661" v="6598" actId="14100"/>
          <ac:grpSpMkLst>
            <pc:docMk/>
            <pc:sldMk cId="960220326" sldId="2145707131"/>
            <ac:grpSpMk id="32" creationId="{260EC210-EF4F-6C38-5DF4-764C63A1D8EE}"/>
          </ac:grpSpMkLst>
        </pc:grpChg>
        <pc:grpChg chg="mod">
          <ac:chgData name="Sheng, Yanan" userId="a8f760e9-50c6-421d-9788-7991509e9b00" providerId="ADAL" clId="{CE83D114-1C90-4F39-8D42-4D8D4E384834}" dt="2023-07-07T07:31:05.631" v="6648" actId="1076"/>
          <ac:grpSpMkLst>
            <pc:docMk/>
            <pc:sldMk cId="960220326" sldId="2145707131"/>
            <ac:grpSpMk id="38" creationId="{4284815A-7E82-1311-B5AF-87172A6DB889}"/>
          </ac:grpSpMkLst>
        </pc:grpChg>
        <pc:grpChg chg="mod">
          <ac:chgData name="Sheng, Yanan" userId="a8f760e9-50c6-421d-9788-7991509e9b00" providerId="ADAL" clId="{CE83D114-1C90-4F39-8D42-4D8D4E384834}" dt="2023-07-07T07:32:50.925" v="6651" actId="1076"/>
          <ac:grpSpMkLst>
            <pc:docMk/>
            <pc:sldMk cId="960220326" sldId="2145707131"/>
            <ac:grpSpMk id="48" creationId="{D38C25C8-1B09-D134-56F3-3D1B49734F52}"/>
          </ac:grpSpMkLst>
        </pc:grpChg>
        <pc:graphicFrameChg chg="mod modGraphic">
          <ac:chgData name="Sheng, Yanan" userId="a8f760e9-50c6-421d-9788-7991509e9b00" providerId="ADAL" clId="{CE83D114-1C90-4F39-8D42-4D8D4E384834}" dt="2023-07-07T07:32:47.547" v="6650" actId="403"/>
          <ac:graphicFrameMkLst>
            <pc:docMk/>
            <pc:sldMk cId="960220326" sldId="2145707131"/>
            <ac:graphicFrameMk id="42" creationId="{035A1D65-33DB-8050-30DF-751329F27C5C}"/>
          </ac:graphicFrameMkLst>
        </pc:graphicFrameChg>
        <pc:cxnChg chg="mod">
          <ac:chgData name="Sheng, Yanan" userId="a8f760e9-50c6-421d-9788-7991509e9b00" providerId="ADAL" clId="{CE83D114-1C90-4F39-8D42-4D8D4E384834}" dt="2023-07-07T07:31:05.631" v="6648" actId="1076"/>
          <ac:cxnSpMkLst>
            <pc:docMk/>
            <pc:sldMk cId="960220326" sldId="2145707131"/>
            <ac:cxnSpMk id="31" creationId="{AD504FB8-8934-E16A-903B-D5EB853CAF42}"/>
          </ac:cxnSpMkLst>
        </pc:cxnChg>
      </pc:sldChg>
      <pc:sldChg chg="delSp modSp del mod">
        <pc:chgData name="Sheng, Yanan" userId="a8f760e9-50c6-421d-9788-7991509e9b00" providerId="ADAL" clId="{CE83D114-1C90-4F39-8D42-4D8D4E384834}" dt="2023-06-09T07:09:23.683" v="842" actId="47"/>
        <pc:sldMkLst>
          <pc:docMk/>
          <pc:sldMk cId="1104922624" sldId="2145707406"/>
        </pc:sldMkLst>
        <pc:spChg chg="del">
          <ac:chgData name="Sheng, Yanan" userId="a8f760e9-50c6-421d-9788-7991509e9b00" providerId="ADAL" clId="{CE83D114-1C90-4F39-8D42-4D8D4E384834}" dt="2023-06-06T04:55:20.750" v="4" actId="478"/>
          <ac:spMkLst>
            <pc:docMk/>
            <pc:sldMk cId="1104922624" sldId="2145707406"/>
            <ac:spMk id="44" creationId="{77612ABC-D9E2-4FAB-BD36-8ABAC9C4B536}"/>
          </ac:spMkLst>
        </pc:spChg>
        <pc:spChg chg="del">
          <ac:chgData name="Sheng, Yanan" userId="a8f760e9-50c6-421d-9788-7991509e9b00" providerId="ADAL" clId="{CE83D114-1C90-4F39-8D42-4D8D4E384834}" dt="2023-06-06T04:55:39.105" v="8" actId="478"/>
          <ac:spMkLst>
            <pc:docMk/>
            <pc:sldMk cId="1104922624" sldId="2145707406"/>
            <ac:spMk id="47" creationId="{F1D1708B-04DE-4DCB-8188-1BEAC4B4E5E7}"/>
          </ac:spMkLst>
        </pc:spChg>
        <pc:spChg chg="del">
          <ac:chgData name="Sheng, Yanan" userId="a8f760e9-50c6-421d-9788-7991509e9b00" providerId="ADAL" clId="{CE83D114-1C90-4F39-8D42-4D8D4E384834}" dt="2023-06-06T04:57:03.325" v="22" actId="478"/>
          <ac:spMkLst>
            <pc:docMk/>
            <pc:sldMk cId="1104922624" sldId="2145707406"/>
            <ac:spMk id="51" creationId="{0543FA02-ACA8-4E1B-8298-AEA794BD3848}"/>
          </ac:spMkLst>
        </pc:spChg>
        <pc:spChg chg="mod">
          <ac:chgData name="Sheng, Yanan" userId="a8f760e9-50c6-421d-9788-7991509e9b00" providerId="ADAL" clId="{CE83D114-1C90-4F39-8D42-4D8D4E384834}" dt="2023-06-06T04:57:47.349" v="34" actId="113"/>
          <ac:spMkLst>
            <pc:docMk/>
            <pc:sldMk cId="1104922624" sldId="2145707406"/>
            <ac:spMk id="53" creationId="{535CC7B9-3A9A-4B8D-BB5E-BDF3BF39D12C}"/>
          </ac:spMkLst>
        </pc:spChg>
        <pc:spChg chg="mod">
          <ac:chgData name="Sheng, Yanan" userId="a8f760e9-50c6-421d-9788-7991509e9b00" providerId="ADAL" clId="{CE83D114-1C90-4F39-8D42-4D8D4E384834}" dt="2023-06-06T04:56:28.137" v="11" actId="14100"/>
          <ac:spMkLst>
            <pc:docMk/>
            <pc:sldMk cId="1104922624" sldId="2145707406"/>
            <ac:spMk id="54" creationId="{E7AC353C-F1AF-41CC-93A4-6A8779D10B67}"/>
          </ac:spMkLst>
        </pc:spChg>
        <pc:spChg chg="del">
          <ac:chgData name="Sheng, Yanan" userId="a8f760e9-50c6-421d-9788-7991509e9b00" providerId="ADAL" clId="{CE83D114-1C90-4F39-8D42-4D8D4E384834}" dt="2023-06-06T04:55:24.209" v="6" actId="478"/>
          <ac:spMkLst>
            <pc:docMk/>
            <pc:sldMk cId="1104922624" sldId="2145707406"/>
            <ac:spMk id="60" creationId="{1338BC3E-315A-4161-9996-AD9E2A481EBA}"/>
          </ac:spMkLst>
        </pc:spChg>
        <pc:spChg chg="del">
          <ac:chgData name="Sheng, Yanan" userId="a8f760e9-50c6-421d-9788-7991509e9b00" providerId="ADAL" clId="{CE83D114-1C90-4F39-8D42-4D8D4E384834}" dt="2023-06-06T04:55:25.906" v="7" actId="478"/>
          <ac:spMkLst>
            <pc:docMk/>
            <pc:sldMk cId="1104922624" sldId="2145707406"/>
            <ac:spMk id="62" creationId="{A857C69F-148A-423C-A78A-8BF91002ED54}"/>
          </ac:spMkLst>
        </pc:spChg>
        <pc:grpChg chg="mod">
          <ac:chgData name="Sheng, Yanan" userId="a8f760e9-50c6-421d-9788-7991509e9b00" providerId="ADAL" clId="{CE83D114-1C90-4F39-8D42-4D8D4E384834}" dt="2023-06-06T04:57:16.847" v="25" actId="14100"/>
          <ac:grpSpMkLst>
            <pc:docMk/>
            <pc:sldMk cId="1104922624" sldId="2145707406"/>
            <ac:grpSpMk id="48" creationId="{ABBC3786-AC3C-4294-B5C1-B9D3517EEAA7}"/>
          </ac:grpSpMkLst>
        </pc:grpChg>
        <pc:grpChg chg="del">
          <ac:chgData name="Sheng, Yanan" userId="a8f760e9-50c6-421d-9788-7991509e9b00" providerId="ADAL" clId="{CE83D114-1C90-4F39-8D42-4D8D4E384834}" dt="2023-06-06T04:57:03.325" v="22" actId="478"/>
          <ac:grpSpMkLst>
            <pc:docMk/>
            <pc:sldMk cId="1104922624" sldId="2145707406"/>
            <ac:grpSpMk id="49" creationId="{039D30F7-99A0-42B4-8278-630297A81D69}"/>
          </ac:grpSpMkLst>
        </pc:grpChg>
        <pc:grpChg chg="del">
          <ac:chgData name="Sheng, Yanan" userId="a8f760e9-50c6-421d-9788-7991509e9b00" providerId="ADAL" clId="{CE83D114-1C90-4F39-8D42-4D8D4E384834}" dt="2023-06-06T04:55:40.762" v="9" actId="478"/>
          <ac:grpSpMkLst>
            <pc:docMk/>
            <pc:sldMk cId="1104922624" sldId="2145707406"/>
            <ac:grpSpMk id="61" creationId="{2A896FD7-029A-4A45-BDD1-A849123DEA5F}"/>
          </ac:grpSpMkLst>
        </pc:grpChg>
        <pc:grpChg chg="del">
          <ac:chgData name="Sheng, Yanan" userId="a8f760e9-50c6-421d-9788-7991509e9b00" providerId="ADAL" clId="{CE83D114-1C90-4F39-8D42-4D8D4E384834}" dt="2023-06-06T04:55:39.105" v="8" actId="478"/>
          <ac:grpSpMkLst>
            <pc:docMk/>
            <pc:sldMk cId="1104922624" sldId="2145707406"/>
            <ac:grpSpMk id="66" creationId="{6618D4E5-3A5C-4FD9-B729-42DEE4F54972}"/>
          </ac:grpSpMkLst>
        </pc:grpChg>
        <pc:grpChg chg="mod">
          <ac:chgData name="Sheng, Yanan" userId="a8f760e9-50c6-421d-9788-7991509e9b00" providerId="ADAL" clId="{CE83D114-1C90-4F39-8D42-4D8D4E384834}" dt="2023-06-06T04:57:00.669" v="21" actId="1076"/>
          <ac:grpSpMkLst>
            <pc:docMk/>
            <pc:sldMk cId="1104922624" sldId="2145707406"/>
            <ac:grpSpMk id="69" creationId="{DF43DF02-AA45-435E-86DA-956728972665}"/>
          </ac:grpSpMkLst>
        </pc:grpChg>
        <pc:grpChg chg="del">
          <ac:chgData name="Sheng, Yanan" userId="a8f760e9-50c6-421d-9788-7991509e9b00" providerId="ADAL" clId="{CE83D114-1C90-4F39-8D42-4D8D4E384834}" dt="2023-06-06T04:55:39.105" v="8" actId="478"/>
          <ac:grpSpMkLst>
            <pc:docMk/>
            <pc:sldMk cId="1104922624" sldId="2145707406"/>
            <ac:grpSpMk id="77" creationId="{A0145F90-9219-448B-BB18-D51E8E7A195F}"/>
          </ac:grpSpMkLst>
        </pc:grpChg>
        <pc:graphicFrameChg chg="modGraphic">
          <ac:chgData name="Sheng, Yanan" userId="a8f760e9-50c6-421d-9788-7991509e9b00" providerId="ADAL" clId="{CE83D114-1C90-4F39-8D42-4D8D4E384834}" dt="2023-06-06T04:56:25.641" v="10" actId="14100"/>
          <ac:graphicFrameMkLst>
            <pc:docMk/>
            <pc:sldMk cId="1104922624" sldId="2145707406"/>
            <ac:graphicFrameMk id="46" creationId="{B3581C7C-EF8C-485A-A34C-A77CE016BD27}"/>
          </ac:graphicFrameMkLst>
        </pc:graphicFrameChg>
        <pc:graphicFrameChg chg="del">
          <ac:chgData name="Sheng, Yanan" userId="a8f760e9-50c6-421d-9788-7991509e9b00" providerId="ADAL" clId="{CE83D114-1C90-4F39-8D42-4D8D4E384834}" dt="2023-06-06T04:55:22.672" v="5" actId="478"/>
          <ac:graphicFrameMkLst>
            <pc:docMk/>
            <pc:sldMk cId="1104922624" sldId="2145707406"/>
            <ac:graphicFrameMk id="57" creationId="{10B2192D-2F28-482D-A89F-93169AE6EA98}"/>
          </ac:graphicFrameMkLst>
        </pc:graphicFrameChg>
        <pc:picChg chg="mod">
          <ac:chgData name="Sheng, Yanan" userId="a8f760e9-50c6-421d-9788-7991509e9b00" providerId="ADAL" clId="{CE83D114-1C90-4F39-8D42-4D8D4E384834}" dt="2023-06-06T04:57:09.040" v="23" actId="14100"/>
          <ac:picMkLst>
            <pc:docMk/>
            <pc:sldMk cId="1104922624" sldId="2145707406"/>
            <ac:picMk id="50" creationId="{515A9FE0-2F3B-41B9-9D9C-73F3AB0AFEA6}"/>
          </ac:picMkLst>
        </pc:picChg>
        <pc:cxnChg chg="mod">
          <ac:chgData name="Sheng, Yanan" userId="a8f760e9-50c6-421d-9788-7991509e9b00" providerId="ADAL" clId="{CE83D114-1C90-4F39-8D42-4D8D4E384834}" dt="2023-06-06T04:56:56.106" v="20" actId="14100"/>
          <ac:cxnSpMkLst>
            <pc:docMk/>
            <pc:sldMk cId="1104922624" sldId="2145707406"/>
            <ac:cxnSpMk id="43" creationId="{11CF53E9-15DF-4A56-B7EA-38EC9A8E5944}"/>
          </ac:cxnSpMkLst>
        </pc:cxnChg>
      </pc:sldChg>
      <pc:sldMasterChg chg="modSldLayout">
        <pc:chgData name="Sheng, Yanan" userId="a8f760e9-50c6-421d-9788-7991509e9b00" providerId="ADAL" clId="{CE83D114-1C90-4F39-8D42-4D8D4E384834}" dt="2023-06-30T08:45:46.587" v="2779" actId="478"/>
        <pc:sldMasterMkLst>
          <pc:docMk/>
          <pc:sldMasterMk cId="2383548471" sldId="2147483915"/>
        </pc:sldMasterMkLst>
        <pc:sldLayoutChg chg="delSp mod">
          <pc:chgData name="Sheng, Yanan" userId="a8f760e9-50c6-421d-9788-7991509e9b00" providerId="ADAL" clId="{CE83D114-1C90-4F39-8D42-4D8D4E384834}" dt="2023-06-30T06:11:59.218" v="2457" actId="478"/>
          <pc:sldLayoutMkLst>
            <pc:docMk/>
            <pc:sldMasterMk cId="2383548471" sldId="2147483915"/>
            <pc:sldLayoutMk cId="4074573485" sldId="2147483910"/>
          </pc:sldLayoutMkLst>
          <pc:spChg chg="del">
            <ac:chgData name="Sheng, Yanan" userId="a8f760e9-50c6-421d-9788-7991509e9b00" providerId="ADAL" clId="{CE83D114-1C90-4F39-8D42-4D8D4E384834}" dt="2023-06-30T06:11:59.218" v="2457" actId="478"/>
            <ac:spMkLst>
              <pc:docMk/>
              <pc:sldMasterMk cId="2383548471" sldId="2147483915"/>
              <pc:sldLayoutMk cId="4074573485" sldId="2147483910"/>
              <ac:spMk id="28" creationId="{92F9C2FE-7E43-3948-92F0-0CEA804BDBFE}"/>
            </ac:spMkLst>
          </pc:spChg>
        </pc:sldLayoutChg>
        <pc:sldLayoutChg chg="delSp mod">
          <pc:chgData name="Sheng, Yanan" userId="a8f760e9-50c6-421d-9788-7991509e9b00" providerId="ADAL" clId="{CE83D114-1C90-4F39-8D42-4D8D4E384834}" dt="2023-06-30T08:45:46.587" v="2779" actId="478"/>
          <pc:sldLayoutMkLst>
            <pc:docMk/>
            <pc:sldMasterMk cId="2383548471" sldId="2147483915"/>
            <pc:sldLayoutMk cId="661019747" sldId="2147483989"/>
          </pc:sldLayoutMkLst>
          <pc:spChg chg="del">
            <ac:chgData name="Sheng, Yanan" userId="a8f760e9-50c6-421d-9788-7991509e9b00" providerId="ADAL" clId="{CE83D114-1C90-4F39-8D42-4D8D4E384834}" dt="2023-06-30T06:12:06.631" v="2458" actId="478"/>
            <ac:spMkLst>
              <pc:docMk/>
              <pc:sldMasterMk cId="2383548471" sldId="2147483915"/>
              <pc:sldLayoutMk cId="661019747" sldId="2147483989"/>
              <ac:spMk id="28" creationId="{92F9C2FE-7E43-3948-92F0-0CEA804BDBFE}"/>
            </ac:spMkLst>
          </pc:spChg>
          <pc:picChg chg="del">
            <ac:chgData name="Sheng, Yanan" userId="a8f760e9-50c6-421d-9788-7991509e9b00" providerId="ADAL" clId="{CE83D114-1C90-4F39-8D42-4D8D4E384834}" dt="2023-06-30T08:45:46.587" v="2779" actId="478"/>
            <ac:picMkLst>
              <pc:docMk/>
              <pc:sldMasterMk cId="2383548471" sldId="2147483915"/>
              <pc:sldLayoutMk cId="661019747" sldId="2147483989"/>
              <ac:picMk id="12" creationId="{16819C41-2A79-B54D-9C44-C619DA694E6B}"/>
            </ac:picMkLst>
          </pc:picChg>
          <pc:picChg chg="del">
            <ac:chgData name="Sheng, Yanan" userId="a8f760e9-50c6-421d-9788-7991509e9b00" providerId="ADAL" clId="{CE83D114-1C90-4F39-8D42-4D8D4E384834}" dt="2023-06-30T08:03:53.503" v="2532" actId="478"/>
            <ac:picMkLst>
              <pc:docMk/>
              <pc:sldMasterMk cId="2383548471" sldId="2147483915"/>
              <pc:sldLayoutMk cId="661019747" sldId="2147483989"/>
              <ac:picMk id="13" creationId="{3D2794BD-1A0D-7D48-855D-469111926BF1}"/>
            </ac:picMkLst>
          </pc:picChg>
        </pc:sldLayoutChg>
      </pc:sldMasterChg>
    </pc:docChg>
  </pc:docChgLst>
  <pc:docChgLst>
    <pc:chgData name="Sheng, Yanan" userId="a8f760e9-50c6-421d-9788-7991509e9b00" providerId="ADAL" clId="{C631DD25-C541-475B-9DDE-ACCC3056B274}"/>
    <pc:docChg chg="undo redo custSel modSld sldOrd">
      <pc:chgData name="Sheng, Yanan" userId="a8f760e9-50c6-421d-9788-7991509e9b00" providerId="ADAL" clId="{C631DD25-C541-475B-9DDE-ACCC3056B274}" dt="2023-07-14T03:44:38.473" v="1785" actId="1076"/>
      <pc:docMkLst>
        <pc:docMk/>
      </pc:docMkLst>
      <pc:sldChg chg="modSp mod">
        <pc:chgData name="Sheng, Yanan" userId="a8f760e9-50c6-421d-9788-7991509e9b00" providerId="ADAL" clId="{C631DD25-C541-475B-9DDE-ACCC3056B274}" dt="2023-07-13T10:14:07.413" v="1050" actId="20577"/>
        <pc:sldMkLst>
          <pc:docMk/>
          <pc:sldMk cId="154888229" sldId="2145707093"/>
        </pc:sldMkLst>
        <pc:spChg chg="mod">
          <ac:chgData name="Sheng, Yanan" userId="a8f760e9-50c6-421d-9788-7991509e9b00" providerId="ADAL" clId="{C631DD25-C541-475B-9DDE-ACCC3056B274}" dt="2023-07-13T10:14:07.413" v="1050" actId="20577"/>
          <ac:spMkLst>
            <pc:docMk/>
            <pc:sldMk cId="154888229" sldId="2145707093"/>
            <ac:spMk id="8" creationId="{A58E1C35-493D-4ECE-BAB1-073144B7A246}"/>
          </ac:spMkLst>
        </pc:spChg>
        <pc:spChg chg="mod">
          <ac:chgData name="Sheng, Yanan" userId="a8f760e9-50c6-421d-9788-7991509e9b00" providerId="ADAL" clId="{C631DD25-C541-475B-9DDE-ACCC3056B274}" dt="2023-07-13T10:13:58.219" v="1029" actId="20577"/>
          <ac:spMkLst>
            <pc:docMk/>
            <pc:sldMk cId="154888229" sldId="2145707093"/>
            <ac:spMk id="10" creationId="{70CAD0C0-AFE6-425F-95FD-7026CD76ECBE}"/>
          </ac:spMkLst>
        </pc:spChg>
        <pc:spChg chg="mod">
          <ac:chgData name="Sheng, Yanan" userId="a8f760e9-50c6-421d-9788-7991509e9b00" providerId="ADAL" clId="{C631DD25-C541-475B-9DDE-ACCC3056B274}" dt="2023-07-13T10:13:45.449" v="992"/>
          <ac:spMkLst>
            <pc:docMk/>
            <pc:sldMk cId="154888229" sldId="2145707093"/>
            <ac:spMk id="14" creationId="{2336BA2F-C8BC-42BA-96B0-8C624F243519}"/>
          </ac:spMkLst>
        </pc:spChg>
        <pc:spChg chg="mod">
          <ac:chgData name="Sheng, Yanan" userId="a8f760e9-50c6-421d-9788-7991509e9b00" providerId="ADAL" clId="{C631DD25-C541-475B-9DDE-ACCC3056B274}" dt="2023-07-13T10:14:03.033" v="1031"/>
          <ac:spMkLst>
            <pc:docMk/>
            <pc:sldMk cId="154888229" sldId="2145707093"/>
            <ac:spMk id="16" creationId="{FB93AF8E-7686-4365-9E21-A8F9A86945E6}"/>
          </ac:spMkLst>
        </pc:spChg>
      </pc:sldChg>
      <pc:sldChg chg="modSp mod">
        <pc:chgData name="Sheng, Yanan" userId="a8f760e9-50c6-421d-9788-7991509e9b00" providerId="ADAL" clId="{C631DD25-C541-475B-9DDE-ACCC3056B274}" dt="2023-07-13T08:47:45.197" v="982" actId="20577"/>
        <pc:sldMkLst>
          <pc:docMk/>
          <pc:sldMk cId="1004141916" sldId="2145707096"/>
        </pc:sldMkLst>
        <pc:spChg chg="mod">
          <ac:chgData name="Sheng, Yanan" userId="a8f760e9-50c6-421d-9788-7991509e9b00" providerId="ADAL" clId="{C631DD25-C541-475B-9DDE-ACCC3056B274}" dt="2023-07-13T08:47:45.197" v="982" actId="20577"/>
          <ac:spMkLst>
            <pc:docMk/>
            <pc:sldMk cId="1004141916" sldId="2145707096"/>
            <ac:spMk id="22" creationId="{5F530736-32AD-42C7-B3FC-79FE10B74A3A}"/>
          </ac:spMkLst>
        </pc:spChg>
      </pc:sldChg>
      <pc:sldChg chg="modSp mod">
        <pc:chgData name="Sheng, Yanan" userId="a8f760e9-50c6-421d-9788-7991509e9b00" providerId="ADAL" clId="{C631DD25-C541-475B-9DDE-ACCC3056B274}" dt="2023-07-13T06:50:57.809" v="930" actId="20577"/>
        <pc:sldMkLst>
          <pc:docMk/>
          <pc:sldMk cId="3028108814" sldId="2145707097"/>
        </pc:sldMkLst>
        <pc:spChg chg="mod">
          <ac:chgData name="Sheng, Yanan" userId="a8f760e9-50c6-421d-9788-7991509e9b00" providerId="ADAL" clId="{C631DD25-C541-475B-9DDE-ACCC3056B274}" dt="2023-07-13T06:42:15.842" v="727" actId="20577"/>
          <ac:spMkLst>
            <pc:docMk/>
            <pc:sldMk cId="3028108814" sldId="2145707097"/>
            <ac:spMk id="24" creationId="{89BF22C8-B669-43A3-88C1-1F21935D06A5}"/>
          </ac:spMkLst>
        </pc:spChg>
        <pc:spChg chg="mod">
          <ac:chgData name="Sheng, Yanan" userId="a8f760e9-50c6-421d-9788-7991509e9b00" providerId="ADAL" clId="{C631DD25-C541-475B-9DDE-ACCC3056B274}" dt="2023-07-13T06:50:57.809" v="930" actId="20577"/>
          <ac:spMkLst>
            <pc:docMk/>
            <pc:sldMk cId="3028108814" sldId="2145707097"/>
            <ac:spMk id="39" creationId="{B98ABDA0-B090-49FB-9C77-38148B03D12F}"/>
          </ac:spMkLst>
        </pc:spChg>
        <pc:spChg chg="mod">
          <ac:chgData name="Sheng, Yanan" userId="a8f760e9-50c6-421d-9788-7991509e9b00" providerId="ADAL" clId="{C631DD25-C541-475B-9DDE-ACCC3056B274}" dt="2023-07-13T06:38:16.179" v="585" actId="404"/>
          <ac:spMkLst>
            <pc:docMk/>
            <pc:sldMk cId="3028108814" sldId="2145707097"/>
            <ac:spMk id="42" creationId="{83F29C74-6079-40B4-8D04-103FA2BD831E}"/>
          </ac:spMkLst>
        </pc:spChg>
        <pc:spChg chg="mod">
          <ac:chgData name="Sheng, Yanan" userId="a8f760e9-50c6-421d-9788-7991509e9b00" providerId="ADAL" clId="{C631DD25-C541-475B-9DDE-ACCC3056B274}" dt="2023-07-13T06:38:16.179" v="585" actId="404"/>
          <ac:spMkLst>
            <pc:docMk/>
            <pc:sldMk cId="3028108814" sldId="2145707097"/>
            <ac:spMk id="48" creationId="{2EF42527-C9B4-4832-81A9-A5014C3753D9}"/>
          </ac:spMkLst>
        </pc:spChg>
        <pc:spChg chg="mod">
          <ac:chgData name="Sheng, Yanan" userId="a8f760e9-50c6-421d-9788-7991509e9b00" providerId="ADAL" clId="{C631DD25-C541-475B-9DDE-ACCC3056B274}" dt="2023-07-13T06:38:16.179" v="585" actId="404"/>
          <ac:spMkLst>
            <pc:docMk/>
            <pc:sldMk cId="3028108814" sldId="2145707097"/>
            <ac:spMk id="49" creationId="{8BBFB0DE-9878-4C13-AD42-FFDC8417AD8D}"/>
          </ac:spMkLst>
        </pc:spChg>
        <pc:spChg chg="mod">
          <ac:chgData name="Sheng, Yanan" userId="a8f760e9-50c6-421d-9788-7991509e9b00" providerId="ADAL" clId="{C631DD25-C541-475B-9DDE-ACCC3056B274}" dt="2023-07-13T06:38:16.179" v="585" actId="404"/>
          <ac:spMkLst>
            <pc:docMk/>
            <pc:sldMk cId="3028108814" sldId="2145707097"/>
            <ac:spMk id="50" creationId="{6197BC65-9278-4F8C-B321-A4D1AE11C587}"/>
          </ac:spMkLst>
        </pc:spChg>
        <pc:spChg chg="mod">
          <ac:chgData name="Sheng, Yanan" userId="a8f760e9-50c6-421d-9788-7991509e9b00" providerId="ADAL" clId="{C631DD25-C541-475B-9DDE-ACCC3056B274}" dt="2023-07-13T06:38:16.179" v="585" actId="404"/>
          <ac:spMkLst>
            <pc:docMk/>
            <pc:sldMk cId="3028108814" sldId="2145707097"/>
            <ac:spMk id="51" creationId="{8B30961A-F219-4F02-9EAE-5D985EEB38B2}"/>
          </ac:spMkLst>
        </pc:spChg>
        <pc:spChg chg="mod">
          <ac:chgData name="Sheng, Yanan" userId="a8f760e9-50c6-421d-9788-7991509e9b00" providerId="ADAL" clId="{C631DD25-C541-475B-9DDE-ACCC3056B274}" dt="2023-07-13T06:38:16.179" v="585" actId="404"/>
          <ac:spMkLst>
            <pc:docMk/>
            <pc:sldMk cId="3028108814" sldId="2145707097"/>
            <ac:spMk id="52" creationId="{60D1236C-F3A5-48D0-85FA-97CEB3CDA975}"/>
          </ac:spMkLst>
        </pc:spChg>
        <pc:spChg chg="mod">
          <ac:chgData name="Sheng, Yanan" userId="a8f760e9-50c6-421d-9788-7991509e9b00" providerId="ADAL" clId="{C631DD25-C541-475B-9DDE-ACCC3056B274}" dt="2023-07-13T06:38:16.179" v="585" actId="404"/>
          <ac:spMkLst>
            <pc:docMk/>
            <pc:sldMk cId="3028108814" sldId="2145707097"/>
            <ac:spMk id="55" creationId="{952F07EB-2288-492B-A083-0E46C7DF67BE}"/>
          </ac:spMkLst>
        </pc:spChg>
        <pc:spChg chg="mod">
          <ac:chgData name="Sheng, Yanan" userId="a8f760e9-50c6-421d-9788-7991509e9b00" providerId="ADAL" clId="{C631DD25-C541-475B-9DDE-ACCC3056B274}" dt="2023-07-13T06:38:16.179" v="585" actId="404"/>
          <ac:spMkLst>
            <pc:docMk/>
            <pc:sldMk cId="3028108814" sldId="2145707097"/>
            <ac:spMk id="57" creationId="{2CA3EBBB-1EF3-4A49-9F9C-9A8E24B3CBAB}"/>
          </ac:spMkLst>
        </pc:spChg>
        <pc:spChg chg="mod">
          <ac:chgData name="Sheng, Yanan" userId="a8f760e9-50c6-421d-9788-7991509e9b00" providerId="ADAL" clId="{C631DD25-C541-475B-9DDE-ACCC3056B274}" dt="2023-07-13T06:38:16.179" v="585" actId="404"/>
          <ac:spMkLst>
            <pc:docMk/>
            <pc:sldMk cId="3028108814" sldId="2145707097"/>
            <ac:spMk id="59" creationId="{A786922A-9434-4F7B-9B7B-A508340E0C27}"/>
          </ac:spMkLst>
        </pc:spChg>
        <pc:spChg chg="mod">
          <ac:chgData name="Sheng, Yanan" userId="a8f760e9-50c6-421d-9788-7991509e9b00" providerId="ADAL" clId="{C631DD25-C541-475B-9DDE-ACCC3056B274}" dt="2023-07-13T06:38:16.179" v="585" actId="404"/>
          <ac:spMkLst>
            <pc:docMk/>
            <pc:sldMk cId="3028108814" sldId="2145707097"/>
            <ac:spMk id="60" creationId="{B084B2A1-32DA-41C6-8562-935B6CD384AB}"/>
          </ac:spMkLst>
        </pc:spChg>
        <pc:spChg chg="mod">
          <ac:chgData name="Sheng, Yanan" userId="a8f760e9-50c6-421d-9788-7991509e9b00" providerId="ADAL" clId="{C631DD25-C541-475B-9DDE-ACCC3056B274}" dt="2023-07-13T06:38:16.179" v="585" actId="404"/>
          <ac:spMkLst>
            <pc:docMk/>
            <pc:sldMk cId="3028108814" sldId="2145707097"/>
            <ac:spMk id="61" creationId="{2ED65799-7E54-40BB-9C8B-CE1DB64BECF3}"/>
          </ac:spMkLst>
        </pc:spChg>
        <pc:spChg chg="mod">
          <ac:chgData name="Sheng, Yanan" userId="a8f760e9-50c6-421d-9788-7991509e9b00" providerId="ADAL" clId="{C631DD25-C541-475B-9DDE-ACCC3056B274}" dt="2023-07-13T06:38:16.179" v="585" actId="404"/>
          <ac:spMkLst>
            <pc:docMk/>
            <pc:sldMk cId="3028108814" sldId="2145707097"/>
            <ac:spMk id="62" creationId="{AD817F14-C1CD-4CAB-9C0C-3C031B5D90B8}"/>
          </ac:spMkLst>
        </pc:spChg>
        <pc:spChg chg="mod">
          <ac:chgData name="Sheng, Yanan" userId="a8f760e9-50c6-421d-9788-7991509e9b00" providerId="ADAL" clId="{C631DD25-C541-475B-9DDE-ACCC3056B274}" dt="2023-07-13T06:38:16.179" v="585" actId="404"/>
          <ac:spMkLst>
            <pc:docMk/>
            <pc:sldMk cId="3028108814" sldId="2145707097"/>
            <ac:spMk id="63" creationId="{2CA0B4A0-9D1D-447E-81B8-CBF62B699EB9}"/>
          </ac:spMkLst>
        </pc:spChg>
        <pc:grpChg chg="mod">
          <ac:chgData name="Sheng, Yanan" userId="a8f760e9-50c6-421d-9788-7991509e9b00" providerId="ADAL" clId="{C631DD25-C541-475B-9DDE-ACCC3056B274}" dt="2023-07-13T06:38:22.504" v="587" actId="14100"/>
          <ac:grpSpMkLst>
            <pc:docMk/>
            <pc:sldMk cId="3028108814" sldId="2145707097"/>
            <ac:grpSpMk id="38" creationId="{BDEEFE73-82DB-4D21-8F17-161D3E840956}"/>
          </ac:grpSpMkLst>
        </pc:grpChg>
      </pc:sldChg>
      <pc:sldChg chg="modSp mod">
        <pc:chgData name="Sheng, Yanan" userId="a8f760e9-50c6-421d-9788-7991509e9b00" providerId="ADAL" clId="{C631DD25-C541-475B-9DDE-ACCC3056B274}" dt="2023-07-13T08:47:49.266" v="983" actId="20577"/>
        <pc:sldMkLst>
          <pc:docMk/>
          <pc:sldMk cId="1464758072" sldId="2145707100"/>
        </pc:sldMkLst>
        <pc:spChg chg="mod">
          <ac:chgData name="Sheng, Yanan" userId="a8f760e9-50c6-421d-9788-7991509e9b00" providerId="ADAL" clId="{C631DD25-C541-475B-9DDE-ACCC3056B274}" dt="2023-07-13T08:47:49.266" v="983" actId="20577"/>
          <ac:spMkLst>
            <pc:docMk/>
            <pc:sldMk cId="1464758072" sldId="2145707100"/>
            <ac:spMk id="880" creationId="{15CE27DA-0659-4FA2-9F7D-49F0D99E6415}"/>
          </ac:spMkLst>
        </pc:spChg>
      </pc:sldChg>
      <pc:sldChg chg="delSp modSp mod">
        <pc:chgData name="Sheng, Yanan" userId="a8f760e9-50c6-421d-9788-7991509e9b00" providerId="ADAL" clId="{C631DD25-C541-475B-9DDE-ACCC3056B274}" dt="2023-07-13T08:47:56.668" v="986" actId="20577"/>
        <pc:sldMkLst>
          <pc:docMk/>
          <pc:sldMk cId="3324333100" sldId="2145707101"/>
        </pc:sldMkLst>
        <pc:spChg chg="mod">
          <ac:chgData name="Sheng, Yanan" userId="a8f760e9-50c6-421d-9788-7991509e9b00" providerId="ADAL" clId="{C631DD25-C541-475B-9DDE-ACCC3056B274}" dt="2023-07-13T08:47:56.668" v="986" actId="20577"/>
          <ac:spMkLst>
            <pc:docMk/>
            <pc:sldMk cId="3324333100" sldId="2145707101"/>
            <ac:spMk id="22" creationId="{5F530736-32AD-42C7-B3FC-79FE10B74A3A}"/>
          </ac:spMkLst>
        </pc:spChg>
        <pc:spChg chg="del">
          <ac:chgData name="Sheng, Yanan" userId="a8f760e9-50c6-421d-9788-7991509e9b00" providerId="ADAL" clId="{C631DD25-C541-475B-9DDE-ACCC3056B274}" dt="2023-07-13T06:46:08.716" v="793" actId="478"/>
          <ac:spMkLst>
            <pc:docMk/>
            <pc:sldMk cId="3324333100" sldId="2145707101"/>
            <ac:spMk id="31" creationId="{BD9A7E62-5C68-4CBF-B760-78387410BECB}"/>
          </ac:spMkLst>
        </pc:spChg>
        <pc:spChg chg="mod">
          <ac:chgData name="Sheng, Yanan" userId="a8f760e9-50c6-421d-9788-7991509e9b00" providerId="ADAL" clId="{C631DD25-C541-475B-9DDE-ACCC3056B274}" dt="2023-07-13T06:47:47.204" v="826" actId="20577"/>
          <ac:spMkLst>
            <pc:docMk/>
            <pc:sldMk cId="3324333100" sldId="2145707101"/>
            <ac:spMk id="39" creationId="{BF1A0219-97E9-445A-9137-5C216F3BA3AC}"/>
          </ac:spMkLst>
        </pc:spChg>
        <pc:spChg chg="del">
          <ac:chgData name="Sheng, Yanan" userId="a8f760e9-50c6-421d-9788-7991509e9b00" providerId="ADAL" clId="{C631DD25-C541-475B-9DDE-ACCC3056B274}" dt="2023-07-13T06:46:06.473" v="792" actId="478"/>
          <ac:spMkLst>
            <pc:docMk/>
            <pc:sldMk cId="3324333100" sldId="2145707101"/>
            <ac:spMk id="60" creationId="{6EFC41F3-34AA-4983-B794-8B001BB573FF}"/>
          </ac:spMkLst>
        </pc:spChg>
        <pc:spChg chg="mod">
          <ac:chgData name="Sheng, Yanan" userId="a8f760e9-50c6-421d-9788-7991509e9b00" providerId="ADAL" clId="{C631DD25-C541-475B-9DDE-ACCC3056B274}" dt="2023-07-13T06:46:13.867" v="794" actId="14100"/>
          <ac:spMkLst>
            <pc:docMk/>
            <pc:sldMk cId="3324333100" sldId="2145707101"/>
            <ac:spMk id="61" creationId="{C7E682CA-0FDC-4BFD-8957-9AAAB70E121A}"/>
          </ac:spMkLst>
        </pc:spChg>
        <pc:spChg chg="del">
          <ac:chgData name="Sheng, Yanan" userId="a8f760e9-50c6-421d-9788-7991509e9b00" providerId="ADAL" clId="{C631DD25-C541-475B-9DDE-ACCC3056B274}" dt="2023-07-13T06:46:08.716" v="793" actId="478"/>
          <ac:spMkLst>
            <pc:docMk/>
            <pc:sldMk cId="3324333100" sldId="2145707101"/>
            <ac:spMk id="62" creationId="{C48C0B5D-9156-460E-A4A2-B439526168F0}"/>
          </ac:spMkLst>
        </pc:spChg>
        <pc:spChg chg="mod">
          <ac:chgData name="Sheng, Yanan" userId="a8f760e9-50c6-421d-9788-7991509e9b00" providerId="ADAL" clId="{C631DD25-C541-475B-9DDE-ACCC3056B274}" dt="2023-07-13T06:47:17.007" v="817" actId="1076"/>
          <ac:spMkLst>
            <pc:docMk/>
            <pc:sldMk cId="3324333100" sldId="2145707101"/>
            <ac:spMk id="63" creationId="{979803C8-C694-4B9C-96BC-0278658A00A6}"/>
          </ac:spMkLst>
        </pc:spChg>
        <pc:spChg chg="mod">
          <ac:chgData name="Sheng, Yanan" userId="a8f760e9-50c6-421d-9788-7991509e9b00" providerId="ADAL" clId="{C631DD25-C541-475B-9DDE-ACCC3056B274}" dt="2023-07-13T06:47:25.760" v="821" actId="1076"/>
          <ac:spMkLst>
            <pc:docMk/>
            <pc:sldMk cId="3324333100" sldId="2145707101"/>
            <ac:spMk id="64" creationId="{ECBEBC8B-8E4A-462F-8DDE-73A686F4B534}"/>
          </ac:spMkLst>
        </pc:spChg>
        <pc:spChg chg="mod">
          <ac:chgData name="Sheng, Yanan" userId="a8f760e9-50c6-421d-9788-7991509e9b00" providerId="ADAL" clId="{C631DD25-C541-475B-9DDE-ACCC3056B274}" dt="2023-07-13T06:47:28.955" v="822" actId="14100"/>
          <ac:spMkLst>
            <pc:docMk/>
            <pc:sldMk cId="3324333100" sldId="2145707101"/>
            <ac:spMk id="65" creationId="{140843E9-4935-4F47-A589-336103EE8536}"/>
          </ac:spMkLst>
        </pc:spChg>
        <pc:spChg chg="mod">
          <ac:chgData name="Sheng, Yanan" userId="a8f760e9-50c6-421d-9788-7991509e9b00" providerId="ADAL" clId="{C631DD25-C541-475B-9DDE-ACCC3056B274}" dt="2023-07-13T06:46:15.375" v="795" actId="1076"/>
          <ac:spMkLst>
            <pc:docMk/>
            <pc:sldMk cId="3324333100" sldId="2145707101"/>
            <ac:spMk id="98" creationId="{A3995DF4-6F88-457B-B36D-577F95F7EB6D}"/>
          </ac:spMkLst>
        </pc:spChg>
        <pc:spChg chg="mod">
          <ac:chgData name="Sheng, Yanan" userId="a8f760e9-50c6-421d-9788-7991509e9b00" providerId="ADAL" clId="{C631DD25-C541-475B-9DDE-ACCC3056B274}" dt="2023-07-13T06:47:18.744" v="818" actId="1076"/>
          <ac:spMkLst>
            <pc:docMk/>
            <pc:sldMk cId="3324333100" sldId="2145707101"/>
            <ac:spMk id="99" creationId="{B4D2B245-11B0-4F5B-B476-AC9C52814F58}"/>
          </ac:spMkLst>
        </pc:spChg>
        <pc:spChg chg="mod">
          <ac:chgData name="Sheng, Yanan" userId="a8f760e9-50c6-421d-9788-7991509e9b00" providerId="ADAL" clId="{C631DD25-C541-475B-9DDE-ACCC3056B274}" dt="2023-07-13T06:46:20.019" v="797" actId="14100"/>
          <ac:spMkLst>
            <pc:docMk/>
            <pc:sldMk cId="3324333100" sldId="2145707101"/>
            <ac:spMk id="100" creationId="{45FE98CA-4380-4C2C-9C9F-9987D6C93E2C}"/>
          </ac:spMkLst>
        </pc:spChg>
        <pc:spChg chg="mod">
          <ac:chgData name="Sheng, Yanan" userId="a8f760e9-50c6-421d-9788-7991509e9b00" providerId="ADAL" clId="{C631DD25-C541-475B-9DDE-ACCC3056B274}" dt="2023-07-13T06:47:20.227" v="819" actId="1076"/>
          <ac:spMkLst>
            <pc:docMk/>
            <pc:sldMk cId="3324333100" sldId="2145707101"/>
            <ac:spMk id="101" creationId="{6F9594B7-996B-4CB7-8887-105691908F4C}"/>
          </ac:spMkLst>
        </pc:spChg>
        <pc:spChg chg="mod">
          <ac:chgData name="Sheng, Yanan" userId="a8f760e9-50c6-421d-9788-7991509e9b00" providerId="ADAL" clId="{C631DD25-C541-475B-9DDE-ACCC3056B274}" dt="2023-07-13T06:47:34.971" v="824" actId="14100"/>
          <ac:spMkLst>
            <pc:docMk/>
            <pc:sldMk cId="3324333100" sldId="2145707101"/>
            <ac:spMk id="102" creationId="{EA237412-32F6-4275-9465-1183D5124C67}"/>
          </ac:spMkLst>
        </pc:spChg>
      </pc:sldChg>
      <pc:sldChg chg="modSp mod ord">
        <pc:chgData name="Sheng, Yanan" userId="a8f760e9-50c6-421d-9788-7991509e9b00" providerId="ADAL" clId="{C631DD25-C541-475B-9DDE-ACCC3056B274}" dt="2023-07-14T02:04:42.557" v="1193" actId="1076"/>
        <pc:sldMkLst>
          <pc:docMk/>
          <pc:sldMk cId="1754269421" sldId="2145707105"/>
        </pc:sldMkLst>
        <pc:spChg chg="mod">
          <ac:chgData name="Sheng, Yanan" userId="a8f760e9-50c6-421d-9788-7991509e9b00" providerId="ADAL" clId="{C631DD25-C541-475B-9DDE-ACCC3056B274}" dt="2023-07-13T08:48:20.495" v="990" actId="207"/>
          <ac:spMkLst>
            <pc:docMk/>
            <pc:sldMk cId="1754269421" sldId="2145707105"/>
            <ac:spMk id="22" creationId="{5F530736-32AD-42C7-B3FC-79FE10B74A3A}"/>
          </ac:spMkLst>
        </pc:spChg>
        <pc:spChg chg="mod">
          <ac:chgData name="Sheng, Yanan" userId="a8f760e9-50c6-421d-9788-7991509e9b00" providerId="ADAL" clId="{C631DD25-C541-475B-9DDE-ACCC3056B274}" dt="2023-07-14T02:02:49.904" v="1191" actId="20577"/>
          <ac:spMkLst>
            <pc:docMk/>
            <pc:sldMk cId="1754269421" sldId="2145707105"/>
            <ac:spMk id="204" creationId="{FB28F259-EF60-47DF-9F59-B1E55D9FEA79}"/>
          </ac:spMkLst>
        </pc:spChg>
        <pc:spChg chg="mod">
          <ac:chgData name="Sheng, Yanan" userId="a8f760e9-50c6-421d-9788-7991509e9b00" providerId="ADAL" clId="{C631DD25-C541-475B-9DDE-ACCC3056B274}" dt="2023-07-14T02:03:11.974" v="1192" actId="20577"/>
          <ac:spMkLst>
            <pc:docMk/>
            <pc:sldMk cId="1754269421" sldId="2145707105"/>
            <ac:spMk id="205" creationId="{796FC306-9CEA-41A9-9737-DED3A7CAF520}"/>
          </ac:spMkLst>
        </pc:spChg>
        <pc:spChg chg="mod">
          <ac:chgData name="Sheng, Yanan" userId="a8f760e9-50c6-421d-9788-7991509e9b00" providerId="ADAL" clId="{C631DD25-C541-475B-9DDE-ACCC3056B274}" dt="2023-07-14T01:44:21.234" v="1109" actId="108"/>
          <ac:spMkLst>
            <pc:docMk/>
            <pc:sldMk cId="1754269421" sldId="2145707105"/>
            <ac:spMk id="206" creationId="{DD9B7D46-76B0-4668-91A9-921B5E0291CA}"/>
          </ac:spMkLst>
        </pc:spChg>
        <pc:spChg chg="mod">
          <ac:chgData name="Sheng, Yanan" userId="a8f760e9-50c6-421d-9788-7991509e9b00" providerId="ADAL" clId="{C631DD25-C541-475B-9DDE-ACCC3056B274}" dt="2023-07-14T02:04:42.557" v="1193" actId="1076"/>
          <ac:spMkLst>
            <pc:docMk/>
            <pc:sldMk cId="1754269421" sldId="2145707105"/>
            <ac:spMk id="207" creationId="{85758777-F055-45E3-AEF5-B5CE279ECFB1}"/>
          </ac:spMkLst>
        </pc:spChg>
        <pc:grpChg chg="mod">
          <ac:chgData name="Sheng, Yanan" userId="a8f760e9-50c6-421d-9788-7991509e9b00" providerId="ADAL" clId="{C631DD25-C541-475B-9DDE-ACCC3056B274}" dt="2023-07-14T02:02:23.358" v="1189" actId="1076"/>
          <ac:grpSpMkLst>
            <pc:docMk/>
            <pc:sldMk cId="1754269421" sldId="2145707105"/>
            <ac:grpSpMk id="208" creationId="{A5439419-2089-4356-BF6E-74EC92C0BCBC}"/>
          </ac:grpSpMkLst>
        </pc:grpChg>
        <pc:grpChg chg="mod">
          <ac:chgData name="Sheng, Yanan" userId="a8f760e9-50c6-421d-9788-7991509e9b00" providerId="ADAL" clId="{C631DD25-C541-475B-9DDE-ACCC3056B274}" dt="2023-07-14T02:02:27.510" v="1190" actId="1076"/>
          <ac:grpSpMkLst>
            <pc:docMk/>
            <pc:sldMk cId="1754269421" sldId="2145707105"/>
            <ac:grpSpMk id="217" creationId="{608824C2-1CC4-4842-B3D6-1B428C23479C}"/>
          </ac:grpSpMkLst>
        </pc:grpChg>
      </pc:sldChg>
      <pc:sldChg chg="modSp mod">
        <pc:chgData name="Sheng, Yanan" userId="a8f760e9-50c6-421d-9788-7991509e9b00" providerId="ADAL" clId="{C631DD25-C541-475B-9DDE-ACCC3056B274}" dt="2023-07-14T03:44:38.473" v="1785" actId="1076"/>
        <pc:sldMkLst>
          <pc:docMk/>
          <pc:sldMk cId="712140339" sldId="2145707129"/>
        </pc:sldMkLst>
        <pc:spChg chg="mod">
          <ac:chgData name="Sheng, Yanan" userId="a8f760e9-50c6-421d-9788-7991509e9b00" providerId="ADAL" clId="{C631DD25-C541-475B-9DDE-ACCC3056B274}" dt="2023-07-14T03:44:38.473" v="1785" actId="1076"/>
          <ac:spMkLst>
            <pc:docMk/>
            <pc:sldMk cId="712140339" sldId="2145707129"/>
            <ac:spMk id="23" creationId="{C42D7144-9BCF-4A34-80A9-B62CD682B103}"/>
          </ac:spMkLst>
        </pc:spChg>
      </pc:sldChg>
      <pc:sldChg chg="modSp mod">
        <pc:chgData name="Sheng, Yanan" userId="a8f760e9-50c6-421d-9788-7991509e9b00" providerId="ADAL" clId="{C631DD25-C541-475B-9DDE-ACCC3056B274}" dt="2023-07-13T08:48:06.531" v="988" actId="207"/>
        <pc:sldMkLst>
          <pc:docMk/>
          <pc:sldMk cId="513165850" sldId="2145707130"/>
        </pc:sldMkLst>
        <pc:spChg chg="mod">
          <ac:chgData name="Sheng, Yanan" userId="a8f760e9-50c6-421d-9788-7991509e9b00" providerId="ADAL" clId="{C631DD25-C541-475B-9DDE-ACCC3056B274}" dt="2023-07-13T08:48:06.531" v="988" actId="207"/>
          <ac:spMkLst>
            <pc:docMk/>
            <pc:sldMk cId="513165850" sldId="2145707130"/>
            <ac:spMk id="13" creationId="{5C09C18A-DD2A-F546-FC7D-3C5457D3D547}"/>
          </ac:spMkLst>
        </pc:spChg>
      </pc:sldChg>
      <pc:sldChg chg="addSp delSp modSp mod ord">
        <pc:chgData name="Sheng, Yanan" userId="a8f760e9-50c6-421d-9788-7991509e9b00" providerId="ADAL" clId="{C631DD25-C541-475B-9DDE-ACCC3056B274}" dt="2023-07-14T03:21:25.264" v="1424" actId="1076"/>
        <pc:sldMkLst>
          <pc:docMk/>
          <pc:sldMk cId="960220326" sldId="2145707131"/>
        </pc:sldMkLst>
        <pc:spChg chg="del mod">
          <ac:chgData name="Sheng, Yanan" userId="a8f760e9-50c6-421d-9788-7991509e9b00" providerId="ADAL" clId="{C631DD25-C541-475B-9DDE-ACCC3056B274}" dt="2023-07-14T03:20:27.422" v="1419" actId="478"/>
          <ac:spMkLst>
            <pc:docMk/>
            <pc:sldMk cId="960220326" sldId="2145707131"/>
            <ac:spMk id="2" creationId="{DD4C5DEF-22FE-6589-7C44-64D086310026}"/>
          </ac:spMkLst>
        </pc:spChg>
        <pc:spChg chg="add mod">
          <ac:chgData name="Sheng, Yanan" userId="a8f760e9-50c6-421d-9788-7991509e9b00" providerId="ADAL" clId="{C631DD25-C541-475B-9DDE-ACCC3056B274}" dt="2023-07-14T03:20:43.150" v="1421" actId="1076"/>
          <ac:spMkLst>
            <pc:docMk/>
            <pc:sldMk cId="960220326" sldId="2145707131"/>
            <ac:spMk id="3" creationId="{FA012E65-D866-0E24-D084-33F1C8E0835E}"/>
          </ac:spMkLst>
        </pc:spChg>
        <pc:spChg chg="add mod">
          <ac:chgData name="Sheng, Yanan" userId="a8f760e9-50c6-421d-9788-7991509e9b00" providerId="ADAL" clId="{C631DD25-C541-475B-9DDE-ACCC3056B274}" dt="2023-07-14T03:21:25.264" v="1424" actId="1076"/>
          <ac:spMkLst>
            <pc:docMk/>
            <pc:sldMk cId="960220326" sldId="2145707131"/>
            <ac:spMk id="5" creationId="{BACCF06D-0085-8FEB-9660-FB1ABAA23992}"/>
          </ac:spMkLst>
        </pc:spChg>
        <pc:spChg chg="add del mod">
          <ac:chgData name="Sheng, Yanan" userId="a8f760e9-50c6-421d-9788-7991509e9b00" providerId="ADAL" clId="{C631DD25-C541-475B-9DDE-ACCC3056B274}" dt="2023-07-14T02:28:19.698" v="1281" actId="478"/>
          <ac:spMkLst>
            <pc:docMk/>
            <pc:sldMk cId="960220326" sldId="2145707131"/>
            <ac:spMk id="6" creationId="{CA47D3A9-31ED-EDC8-954F-52AF79F98239}"/>
          </ac:spMkLst>
        </pc:spChg>
        <pc:spChg chg="mod">
          <ac:chgData name="Sheng, Yanan" userId="a8f760e9-50c6-421d-9788-7991509e9b00" providerId="ADAL" clId="{C631DD25-C541-475B-9DDE-ACCC3056B274}" dt="2023-07-14T03:20:43.150" v="1421" actId="1076"/>
          <ac:spMkLst>
            <pc:docMk/>
            <pc:sldMk cId="960220326" sldId="2145707131"/>
            <ac:spMk id="11" creationId="{E3B70B63-6A95-4547-66F9-633BD95756BF}"/>
          </ac:spMkLst>
        </pc:spChg>
        <pc:spChg chg="mod">
          <ac:chgData name="Sheng, Yanan" userId="a8f760e9-50c6-421d-9788-7991509e9b00" providerId="ADAL" clId="{C631DD25-C541-475B-9DDE-ACCC3056B274}" dt="2023-07-14T03:20:43.150" v="1421" actId="1076"/>
          <ac:spMkLst>
            <pc:docMk/>
            <pc:sldMk cId="960220326" sldId="2145707131"/>
            <ac:spMk id="18" creationId="{6A90D23A-24BE-CB5F-93E1-4BEE29809F17}"/>
          </ac:spMkLst>
        </pc:spChg>
        <pc:spChg chg="del mod">
          <ac:chgData name="Sheng, Yanan" userId="a8f760e9-50c6-421d-9788-7991509e9b00" providerId="ADAL" clId="{C631DD25-C541-475B-9DDE-ACCC3056B274}" dt="2023-07-14T03:19:58.022" v="1413" actId="478"/>
          <ac:spMkLst>
            <pc:docMk/>
            <pc:sldMk cId="960220326" sldId="2145707131"/>
            <ac:spMk id="30" creationId="{86E933AC-0640-F76D-425B-8CEB66EC9D42}"/>
          </ac:spMkLst>
        </pc:spChg>
        <pc:spChg chg="mod">
          <ac:chgData name="Sheng, Yanan" userId="a8f760e9-50c6-421d-9788-7991509e9b00" providerId="ADAL" clId="{C631DD25-C541-475B-9DDE-ACCC3056B274}" dt="2023-07-14T03:20:43.150" v="1421" actId="1076"/>
          <ac:spMkLst>
            <pc:docMk/>
            <pc:sldMk cId="960220326" sldId="2145707131"/>
            <ac:spMk id="37" creationId="{1C2903C7-BF43-C225-EFFA-50DA4C4D728C}"/>
          </ac:spMkLst>
        </pc:spChg>
        <pc:spChg chg="mod">
          <ac:chgData name="Sheng, Yanan" userId="a8f760e9-50c6-421d-9788-7991509e9b00" providerId="ADAL" clId="{C631DD25-C541-475B-9DDE-ACCC3056B274}" dt="2023-07-14T03:20:43.150" v="1421" actId="1076"/>
          <ac:spMkLst>
            <pc:docMk/>
            <pc:sldMk cId="960220326" sldId="2145707131"/>
            <ac:spMk id="43" creationId="{99E7728C-D907-B152-38F8-72A802E32E8C}"/>
          </ac:spMkLst>
        </pc:spChg>
        <pc:spChg chg="mod">
          <ac:chgData name="Sheng, Yanan" userId="a8f760e9-50c6-421d-9788-7991509e9b00" providerId="ADAL" clId="{C631DD25-C541-475B-9DDE-ACCC3056B274}" dt="2023-07-14T03:20:43.150" v="1421" actId="1076"/>
          <ac:spMkLst>
            <pc:docMk/>
            <pc:sldMk cId="960220326" sldId="2145707131"/>
            <ac:spMk id="46" creationId="{D53FA423-BE3A-FABD-AEA1-CF398251CD5C}"/>
          </ac:spMkLst>
        </pc:spChg>
        <pc:spChg chg="mod">
          <ac:chgData name="Sheng, Yanan" userId="a8f760e9-50c6-421d-9788-7991509e9b00" providerId="ADAL" clId="{C631DD25-C541-475B-9DDE-ACCC3056B274}" dt="2023-07-13T08:48:15.319" v="989" actId="207"/>
          <ac:spMkLst>
            <pc:docMk/>
            <pc:sldMk cId="960220326" sldId="2145707131"/>
            <ac:spMk id="79" creationId="{25435006-DDC6-D9BC-2A4E-AA6725C48E65}"/>
          </ac:spMkLst>
        </pc:spChg>
        <pc:spChg chg="mod">
          <ac:chgData name="Sheng, Yanan" userId="a8f760e9-50c6-421d-9788-7991509e9b00" providerId="ADAL" clId="{C631DD25-C541-475B-9DDE-ACCC3056B274}" dt="2023-07-12T08:19:23.312" v="539" actId="20577"/>
          <ac:spMkLst>
            <pc:docMk/>
            <pc:sldMk cId="960220326" sldId="2145707131"/>
            <ac:spMk id="80" creationId="{6F7E645C-95D8-4356-F763-18A39A067D6E}"/>
          </ac:spMkLst>
        </pc:spChg>
        <pc:spChg chg="mod">
          <ac:chgData name="Sheng, Yanan" userId="a8f760e9-50c6-421d-9788-7991509e9b00" providerId="ADAL" clId="{C631DD25-C541-475B-9DDE-ACCC3056B274}" dt="2023-07-14T02:39:09.998" v="1412" actId="14100"/>
          <ac:spMkLst>
            <pc:docMk/>
            <pc:sldMk cId="960220326" sldId="2145707131"/>
            <ac:spMk id="81" creationId="{C7A2C7B6-54B6-51DB-FA9D-1656E742DFF0}"/>
          </ac:spMkLst>
        </pc:spChg>
        <pc:grpChg chg="del">
          <ac:chgData name="Sheng, Yanan" userId="a8f760e9-50c6-421d-9788-7991509e9b00" providerId="ADAL" clId="{C631DD25-C541-475B-9DDE-ACCC3056B274}" dt="2023-07-12T08:06:03.004" v="107" actId="478"/>
          <ac:grpSpMkLst>
            <pc:docMk/>
            <pc:sldMk cId="960220326" sldId="2145707131"/>
            <ac:grpSpMk id="19" creationId="{39F42E18-8897-5036-18DC-827417377073}"/>
          </ac:grpSpMkLst>
        </pc:grpChg>
        <pc:grpChg chg="mod">
          <ac:chgData name="Sheng, Yanan" userId="a8f760e9-50c6-421d-9788-7991509e9b00" providerId="ADAL" clId="{C631DD25-C541-475B-9DDE-ACCC3056B274}" dt="2023-07-14T03:20:43.150" v="1421" actId="1076"/>
          <ac:grpSpMkLst>
            <pc:docMk/>
            <pc:sldMk cId="960220326" sldId="2145707131"/>
            <ac:grpSpMk id="32" creationId="{260EC210-EF4F-6C38-5DF4-764C63A1D8EE}"/>
          </ac:grpSpMkLst>
        </pc:grpChg>
        <pc:grpChg chg="mod">
          <ac:chgData name="Sheng, Yanan" userId="a8f760e9-50c6-421d-9788-7991509e9b00" providerId="ADAL" clId="{C631DD25-C541-475B-9DDE-ACCC3056B274}" dt="2023-07-14T03:20:43.150" v="1421" actId="1076"/>
          <ac:grpSpMkLst>
            <pc:docMk/>
            <pc:sldMk cId="960220326" sldId="2145707131"/>
            <ac:grpSpMk id="38" creationId="{4284815A-7E82-1311-B5AF-87172A6DB889}"/>
          </ac:grpSpMkLst>
        </pc:grpChg>
        <pc:grpChg chg="del mod">
          <ac:chgData name="Sheng, Yanan" userId="a8f760e9-50c6-421d-9788-7991509e9b00" providerId="ADAL" clId="{C631DD25-C541-475B-9DDE-ACCC3056B274}" dt="2023-07-12T08:18:09.653" v="477" actId="478"/>
          <ac:grpSpMkLst>
            <pc:docMk/>
            <pc:sldMk cId="960220326" sldId="2145707131"/>
            <ac:grpSpMk id="48" creationId="{D38C25C8-1B09-D134-56F3-3D1B49734F52}"/>
          </ac:grpSpMkLst>
        </pc:grpChg>
        <pc:graphicFrameChg chg="mod modGraphic">
          <ac:chgData name="Sheng, Yanan" userId="a8f760e9-50c6-421d-9788-7991509e9b00" providerId="ADAL" clId="{C631DD25-C541-475B-9DDE-ACCC3056B274}" dt="2023-07-14T03:20:43.150" v="1421" actId="1076"/>
          <ac:graphicFrameMkLst>
            <pc:docMk/>
            <pc:sldMk cId="960220326" sldId="2145707131"/>
            <ac:graphicFrameMk id="42" creationId="{035A1D65-33DB-8050-30DF-751329F27C5C}"/>
          </ac:graphicFrameMkLst>
        </pc:graphicFrameChg>
        <pc:cxnChg chg="mod">
          <ac:chgData name="Sheng, Yanan" userId="a8f760e9-50c6-421d-9788-7991509e9b00" providerId="ADAL" clId="{C631DD25-C541-475B-9DDE-ACCC3056B274}" dt="2023-07-14T03:20:43.150" v="1421" actId="1076"/>
          <ac:cxnSpMkLst>
            <pc:docMk/>
            <pc:sldMk cId="960220326" sldId="2145707131"/>
            <ac:cxnSpMk id="31" creationId="{AD504FB8-8934-E16A-903B-D5EB853CAF42}"/>
          </ac:cxnSpMkLst>
        </pc:cxnChg>
      </pc:sldChg>
    </pc:docChg>
  </pc:docChgLst>
  <pc:docChgLst>
    <pc:chgData name="Jiang, Abi" userId="4c4697c9-796b-4a70-bf01-c40b4d7a63d9" providerId="ADAL" clId="{E3A65C5E-2A6E-40EF-B05B-4384D5B03445}"/>
    <pc:docChg chg="undo custSel modSld sldOrd modNotesMaster">
      <pc:chgData name="Jiang, Abi" userId="4c4697c9-796b-4a70-bf01-c40b4d7a63d9" providerId="ADAL" clId="{E3A65C5E-2A6E-40EF-B05B-4384D5B03445}" dt="2022-07-13T09:37:27.849" v="41" actId="6549"/>
      <pc:docMkLst>
        <pc:docMk/>
      </pc:docMkLst>
      <pc:sldChg chg="modNotesTx">
        <pc:chgData name="Jiang, Abi" userId="4c4697c9-796b-4a70-bf01-c40b4d7a63d9" providerId="ADAL" clId="{E3A65C5E-2A6E-40EF-B05B-4384D5B03445}" dt="2022-07-13T09:20:54.513" v="27" actId="6549"/>
        <pc:sldMkLst>
          <pc:docMk/>
          <pc:sldMk cId="2625315683" sldId="2145707094"/>
        </pc:sldMkLst>
      </pc:sldChg>
      <pc:sldChg chg="modNotesTx">
        <pc:chgData name="Jiang, Abi" userId="4c4697c9-796b-4a70-bf01-c40b4d7a63d9" providerId="ADAL" clId="{E3A65C5E-2A6E-40EF-B05B-4384D5B03445}" dt="2022-07-13T09:21:01.080" v="29" actId="6549"/>
        <pc:sldMkLst>
          <pc:docMk/>
          <pc:sldMk cId="1004141916" sldId="2145707096"/>
        </pc:sldMkLst>
      </pc:sldChg>
      <pc:sldChg chg="modSp mod modNotesTx">
        <pc:chgData name="Jiang, Abi" userId="4c4697c9-796b-4a70-bf01-c40b4d7a63d9" providerId="ADAL" clId="{E3A65C5E-2A6E-40EF-B05B-4384D5B03445}" dt="2022-07-13T09:23:12.285" v="32" actId="20577"/>
        <pc:sldMkLst>
          <pc:docMk/>
          <pc:sldMk cId="3028108814" sldId="2145707097"/>
        </pc:sldMkLst>
        <pc:spChg chg="mod">
          <ac:chgData name="Jiang, Abi" userId="4c4697c9-796b-4a70-bf01-c40b4d7a63d9" providerId="ADAL" clId="{E3A65C5E-2A6E-40EF-B05B-4384D5B03445}" dt="2022-07-13T09:23:12.285" v="32" actId="20577"/>
          <ac:spMkLst>
            <pc:docMk/>
            <pc:sldMk cId="3028108814" sldId="2145707097"/>
            <ac:spMk id="64" creationId="{4BC56F7D-3BCB-4571-A4AB-C1CCD5CBF7A9}"/>
          </ac:spMkLst>
        </pc:spChg>
      </pc:sldChg>
      <pc:sldChg chg="modNotesTx">
        <pc:chgData name="Jiang, Abi" userId="4c4697c9-796b-4a70-bf01-c40b4d7a63d9" providerId="ADAL" clId="{E3A65C5E-2A6E-40EF-B05B-4384D5B03445}" dt="2022-07-13T09:21:02.750" v="30" actId="6549"/>
        <pc:sldMkLst>
          <pc:docMk/>
          <pc:sldMk cId="1464758072" sldId="2145707100"/>
        </pc:sldMkLst>
      </pc:sldChg>
      <pc:sldChg chg="modSp mod">
        <pc:chgData name="Jiang, Abi" userId="4c4697c9-796b-4a70-bf01-c40b4d7a63d9" providerId="ADAL" clId="{E3A65C5E-2A6E-40EF-B05B-4384D5B03445}" dt="2022-07-13T09:23:33.171" v="36" actId="20577"/>
        <pc:sldMkLst>
          <pc:docMk/>
          <pc:sldMk cId="3324333100" sldId="2145707101"/>
        </pc:sldMkLst>
        <pc:spChg chg="mod">
          <ac:chgData name="Jiang, Abi" userId="4c4697c9-796b-4a70-bf01-c40b4d7a63d9" providerId="ADAL" clId="{E3A65C5E-2A6E-40EF-B05B-4384D5B03445}" dt="2022-07-13T09:23:33.171" v="36" actId="20577"/>
          <ac:spMkLst>
            <pc:docMk/>
            <pc:sldMk cId="3324333100" sldId="2145707101"/>
            <ac:spMk id="39" creationId="{BF1A0219-97E9-445A-9137-5C216F3BA3AC}"/>
          </ac:spMkLst>
        </pc:spChg>
      </pc:sldChg>
      <pc:sldChg chg="modSp mod ord">
        <pc:chgData name="Jiang, Abi" userId="4c4697c9-796b-4a70-bf01-c40b4d7a63d9" providerId="ADAL" clId="{E3A65C5E-2A6E-40EF-B05B-4384D5B03445}" dt="2022-07-13T09:37:23.704" v="40"/>
        <pc:sldMkLst>
          <pc:docMk/>
          <pc:sldMk cId="1334609418" sldId="2145707128"/>
        </pc:sldMkLst>
        <pc:spChg chg="mod">
          <ac:chgData name="Jiang, Abi" userId="4c4697c9-796b-4a70-bf01-c40b4d7a63d9" providerId="ADAL" clId="{E3A65C5E-2A6E-40EF-B05B-4384D5B03445}" dt="2022-07-13T09:23:43.448" v="38" actId="20577"/>
          <ac:spMkLst>
            <pc:docMk/>
            <pc:sldMk cId="1334609418" sldId="2145707128"/>
            <ac:spMk id="55" creationId="{C38ACF46-577A-4DDA-BD16-40764B317AE5}"/>
          </ac:spMkLst>
        </pc:spChg>
      </pc:sldChg>
      <pc:sldChg chg="modSp mod">
        <pc:chgData name="Jiang, Abi" userId="4c4697c9-796b-4a70-bf01-c40b4d7a63d9" providerId="ADAL" clId="{E3A65C5E-2A6E-40EF-B05B-4384D5B03445}" dt="2022-07-13T09:37:27.849" v="41" actId="6549"/>
        <pc:sldMkLst>
          <pc:docMk/>
          <pc:sldMk cId="1104922624" sldId="2145707406"/>
        </pc:sldMkLst>
        <pc:spChg chg="mod">
          <ac:chgData name="Jiang, Abi" userId="4c4697c9-796b-4a70-bf01-c40b4d7a63d9" providerId="ADAL" clId="{E3A65C5E-2A6E-40EF-B05B-4384D5B03445}" dt="2022-07-13T09:37:27.849" v="41" actId="6549"/>
          <ac:spMkLst>
            <pc:docMk/>
            <pc:sldMk cId="1104922624" sldId="2145707406"/>
            <ac:spMk id="53" creationId="{535CC7B9-3A9A-4B8D-BB5E-BDF3BF39D12C}"/>
          </ac:spMkLst>
        </pc:spChg>
        <pc:graphicFrameChg chg="modGraphic">
          <ac:chgData name="Jiang, Abi" userId="4c4697c9-796b-4a70-bf01-c40b4d7a63d9" providerId="ADAL" clId="{E3A65C5E-2A6E-40EF-B05B-4384D5B03445}" dt="2022-07-13T05:37:47.125" v="26" actId="20577"/>
          <ac:graphicFrameMkLst>
            <pc:docMk/>
            <pc:sldMk cId="1104922624" sldId="2145707406"/>
            <ac:graphicFrameMk id="57" creationId="{10B2192D-2F28-482D-A89F-93169AE6EA98}"/>
          </ac:graphicFrameMkLst>
        </pc:graphicFrameChg>
      </pc:sldChg>
    </pc:docChg>
  </pc:docChgLst>
  <pc:docChgLst>
    <pc:chgData name="Wu, Jingjing" userId="068b8037-f602-4183-8693-4432c687a00f" providerId="ADAL" clId="{C22A9A56-3234-47BA-85DC-DC1FCD23CE8F}"/>
    <pc:docChg chg="modSld">
      <pc:chgData name="Wu, Jingjing" userId="068b8037-f602-4183-8693-4432c687a00f" providerId="ADAL" clId="{C22A9A56-3234-47BA-85DC-DC1FCD23CE8F}" dt="2022-07-12T11:17:33.200" v="131" actId="20577"/>
      <pc:docMkLst>
        <pc:docMk/>
      </pc:docMkLst>
      <pc:sldChg chg="modSp mod">
        <pc:chgData name="Wu, Jingjing" userId="068b8037-f602-4183-8693-4432c687a00f" providerId="ADAL" clId="{C22A9A56-3234-47BA-85DC-DC1FCD23CE8F}" dt="2022-07-12T11:17:33.200" v="131" actId="20577"/>
        <pc:sldMkLst>
          <pc:docMk/>
          <pc:sldMk cId="1104922624" sldId="2145707406"/>
        </pc:sldMkLst>
        <pc:graphicFrameChg chg="modGraphic">
          <ac:chgData name="Wu, Jingjing" userId="068b8037-f602-4183-8693-4432c687a00f" providerId="ADAL" clId="{C22A9A56-3234-47BA-85DC-DC1FCD23CE8F}" dt="2022-07-12T11:17:33.200" v="131" actId="20577"/>
          <ac:graphicFrameMkLst>
            <pc:docMk/>
            <pc:sldMk cId="1104922624" sldId="2145707406"/>
            <ac:graphicFrameMk id="57" creationId="{10B2192D-2F28-482D-A89F-93169AE6EA98}"/>
          </ac:graphicFrameMkLst>
        </pc:graphicFrameChg>
      </pc:sldChg>
    </pc:docChg>
  </pc:docChgLst>
  <pc:docChgLst>
    <pc:chgData name="Wu, Jingjing" userId="068b8037-f602-4183-8693-4432c687a00f" providerId="ADAL" clId="{944D1B66-2FA1-4DF3-84A4-B17FF153A739}"/>
    <pc:docChg chg="undo delSld modSld modSection">
      <pc:chgData name="Wu, Jingjing" userId="068b8037-f602-4183-8693-4432c687a00f" providerId="ADAL" clId="{944D1B66-2FA1-4DF3-84A4-B17FF153A739}" dt="2022-07-11T12:59:57.530" v="331" actId="113"/>
      <pc:docMkLst>
        <pc:docMk/>
      </pc:docMkLst>
      <pc:sldChg chg="modSp mod">
        <pc:chgData name="Wu, Jingjing" userId="068b8037-f602-4183-8693-4432c687a00f" providerId="ADAL" clId="{944D1B66-2FA1-4DF3-84A4-B17FF153A739}" dt="2022-07-11T12:50:17.870" v="266" actId="947"/>
        <pc:sldMkLst>
          <pc:docMk/>
          <pc:sldMk cId="1004141916" sldId="2145707096"/>
        </pc:sldMkLst>
        <pc:spChg chg="mod">
          <ac:chgData name="Wu, Jingjing" userId="068b8037-f602-4183-8693-4432c687a00f" providerId="ADAL" clId="{944D1B66-2FA1-4DF3-84A4-B17FF153A739}" dt="2022-07-11T12:50:17.870" v="266" actId="947"/>
          <ac:spMkLst>
            <pc:docMk/>
            <pc:sldMk cId="1004141916" sldId="2145707096"/>
            <ac:spMk id="2" creationId="{7EDF5567-125D-46C1-B70E-FDBACDE4BE9E}"/>
          </ac:spMkLst>
        </pc:spChg>
      </pc:sldChg>
      <pc:sldChg chg="modSp mod">
        <pc:chgData name="Wu, Jingjing" userId="068b8037-f602-4183-8693-4432c687a00f" providerId="ADAL" clId="{944D1B66-2FA1-4DF3-84A4-B17FF153A739}" dt="2022-07-11T11:46:29.711" v="209" actId="20577"/>
        <pc:sldMkLst>
          <pc:docMk/>
          <pc:sldMk cId="1334609418" sldId="2145707128"/>
        </pc:sldMkLst>
        <pc:spChg chg="mod">
          <ac:chgData name="Wu, Jingjing" userId="068b8037-f602-4183-8693-4432c687a00f" providerId="ADAL" clId="{944D1B66-2FA1-4DF3-84A4-B17FF153A739}" dt="2022-07-11T11:46:29.711" v="209" actId="20577"/>
          <ac:spMkLst>
            <pc:docMk/>
            <pc:sldMk cId="1334609418" sldId="2145707128"/>
            <ac:spMk id="81" creationId="{8F3E38E8-0B94-4DFD-A42B-F2EBF6C5FEBD}"/>
          </ac:spMkLst>
        </pc:spChg>
        <pc:graphicFrameChg chg="modGraphic">
          <ac:chgData name="Wu, Jingjing" userId="068b8037-f602-4183-8693-4432c687a00f" providerId="ADAL" clId="{944D1B66-2FA1-4DF3-84A4-B17FF153A739}" dt="2022-07-11T11:33:15.696" v="69" actId="20577"/>
          <ac:graphicFrameMkLst>
            <pc:docMk/>
            <pc:sldMk cId="1334609418" sldId="2145707128"/>
            <ac:graphicFrameMk id="2" creationId="{341126C4-A4B4-42B7-8982-70928078B2C9}"/>
          </ac:graphicFrameMkLst>
        </pc:graphicFrameChg>
      </pc:sldChg>
      <pc:sldChg chg="modSp mod">
        <pc:chgData name="Wu, Jingjing" userId="068b8037-f602-4183-8693-4432c687a00f" providerId="ADAL" clId="{944D1B66-2FA1-4DF3-84A4-B17FF153A739}" dt="2022-07-11T11:38:30.955" v="119" actId="20577"/>
        <pc:sldMkLst>
          <pc:docMk/>
          <pc:sldMk cId="712140339" sldId="2145707129"/>
        </pc:sldMkLst>
        <pc:spChg chg="mod">
          <ac:chgData name="Wu, Jingjing" userId="068b8037-f602-4183-8693-4432c687a00f" providerId="ADAL" clId="{944D1B66-2FA1-4DF3-84A4-B17FF153A739}" dt="2022-07-11T11:38:30.955" v="119" actId="20577"/>
          <ac:spMkLst>
            <pc:docMk/>
            <pc:sldMk cId="712140339" sldId="2145707129"/>
            <ac:spMk id="23" creationId="{C42D7144-9BCF-4A34-80A9-B62CD682B103}"/>
          </ac:spMkLst>
        </pc:spChg>
        <pc:spChg chg="mod">
          <ac:chgData name="Wu, Jingjing" userId="068b8037-f602-4183-8693-4432c687a00f" providerId="ADAL" clId="{944D1B66-2FA1-4DF3-84A4-B17FF153A739}" dt="2022-07-11T11:37:57.530" v="109" actId="403"/>
          <ac:spMkLst>
            <pc:docMk/>
            <pc:sldMk cId="712140339" sldId="2145707129"/>
            <ac:spMk id="54" creationId="{A7130905-FFC5-42DD-88DE-E75F9483819E}"/>
          </ac:spMkLst>
        </pc:spChg>
        <pc:spChg chg="mod">
          <ac:chgData name="Wu, Jingjing" userId="068b8037-f602-4183-8693-4432c687a00f" providerId="ADAL" clId="{944D1B66-2FA1-4DF3-84A4-B17FF153A739}" dt="2022-07-11T11:37:57.530" v="109" actId="403"/>
          <ac:spMkLst>
            <pc:docMk/>
            <pc:sldMk cId="712140339" sldId="2145707129"/>
            <ac:spMk id="55" creationId="{163F0679-1F83-406E-8880-27AE686319E0}"/>
          </ac:spMkLst>
        </pc:spChg>
      </pc:sldChg>
      <pc:sldChg chg="modSp del mod modTransition modShow">
        <pc:chgData name="Wu, Jingjing" userId="068b8037-f602-4183-8693-4432c687a00f" providerId="ADAL" clId="{944D1B66-2FA1-4DF3-84A4-B17FF153A739}" dt="2022-07-11T12:44:22.235" v="210" actId="2696"/>
        <pc:sldMkLst>
          <pc:docMk/>
          <pc:sldMk cId="891825941" sldId="2145707405"/>
        </pc:sldMkLst>
        <pc:spChg chg="mod">
          <ac:chgData name="Wu, Jingjing" userId="068b8037-f602-4183-8693-4432c687a00f" providerId="ADAL" clId="{944D1B66-2FA1-4DF3-84A4-B17FF153A739}" dt="2022-07-11T11:29:32.718" v="30" actId="1076"/>
          <ac:spMkLst>
            <pc:docMk/>
            <pc:sldMk cId="891825941" sldId="2145707405"/>
            <ac:spMk id="23" creationId="{BA2B5F77-70E1-448A-823B-EFACC0735F78}"/>
          </ac:spMkLst>
        </pc:spChg>
        <pc:spChg chg="mod">
          <ac:chgData name="Wu, Jingjing" userId="068b8037-f602-4183-8693-4432c687a00f" providerId="ADAL" clId="{944D1B66-2FA1-4DF3-84A4-B17FF153A739}" dt="2022-07-11T11:29:39.961" v="31" actId="14100"/>
          <ac:spMkLst>
            <pc:docMk/>
            <pc:sldMk cId="891825941" sldId="2145707405"/>
            <ac:spMk id="50" creationId="{7DD13E9E-5422-4EF9-AAF9-96F5566DCA34}"/>
          </ac:spMkLst>
        </pc:spChg>
        <pc:grpChg chg="mod">
          <ac:chgData name="Wu, Jingjing" userId="068b8037-f602-4183-8693-4432c687a00f" providerId="ADAL" clId="{944D1B66-2FA1-4DF3-84A4-B17FF153A739}" dt="2022-07-11T11:29:54.981" v="32" actId="14100"/>
          <ac:grpSpMkLst>
            <pc:docMk/>
            <pc:sldMk cId="891825941" sldId="2145707405"/>
            <ac:grpSpMk id="45" creationId="{B0B64ACA-4483-47C3-9BF6-346AFD74D6D4}"/>
          </ac:grpSpMkLst>
        </pc:grpChg>
        <pc:grpChg chg="mod">
          <ac:chgData name="Wu, Jingjing" userId="068b8037-f602-4183-8693-4432c687a00f" providerId="ADAL" clId="{944D1B66-2FA1-4DF3-84A4-B17FF153A739}" dt="2022-07-11T11:28:56.796" v="26" actId="14100"/>
          <ac:grpSpMkLst>
            <pc:docMk/>
            <pc:sldMk cId="891825941" sldId="2145707405"/>
            <ac:grpSpMk id="51" creationId="{0789E540-0A15-4ADB-B8DF-00B95B92D5C5}"/>
          </ac:grpSpMkLst>
        </pc:grpChg>
        <pc:graphicFrameChg chg="mod">
          <ac:chgData name="Wu, Jingjing" userId="068b8037-f602-4183-8693-4432c687a00f" providerId="ADAL" clId="{944D1B66-2FA1-4DF3-84A4-B17FF153A739}" dt="2022-07-11T11:29:23.597" v="27"/>
          <ac:graphicFrameMkLst>
            <pc:docMk/>
            <pc:sldMk cId="891825941" sldId="2145707405"/>
            <ac:graphicFrameMk id="44" creationId="{1E3D62C0-CCCB-43E3-963A-72F11F0372B2}"/>
          </ac:graphicFrameMkLst>
        </pc:graphicFrameChg>
      </pc:sldChg>
      <pc:sldChg chg="addSp modSp mod">
        <pc:chgData name="Wu, Jingjing" userId="068b8037-f602-4183-8693-4432c687a00f" providerId="ADAL" clId="{944D1B66-2FA1-4DF3-84A4-B17FF153A739}" dt="2022-07-11T12:59:57.530" v="331" actId="113"/>
        <pc:sldMkLst>
          <pc:docMk/>
          <pc:sldMk cId="1104922624" sldId="2145707406"/>
        </pc:sldMkLst>
        <pc:spChg chg="mod">
          <ac:chgData name="Wu, Jingjing" userId="068b8037-f602-4183-8693-4432c687a00f" providerId="ADAL" clId="{944D1B66-2FA1-4DF3-84A4-B17FF153A739}" dt="2022-07-11T12:51:08.811" v="267" actId="14100"/>
          <ac:spMkLst>
            <pc:docMk/>
            <pc:sldMk cId="1104922624" sldId="2145707406"/>
            <ac:spMk id="44" creationId="{77612ABC-D9E2-4FAB-BD36-8ABAC9C4B536}"/>
          </ac:spMkLst>
        </pc:spChg>
        <pc:spChg chg="mod">
          <ac:chgData name="Wu, Jingjing" userId="068b8037-f602-4183-8693-4432c687a00f" providerId="ADAL" clId="{944D1B66-2FA1-4DF3-84A4-B17FF153A739}" dt="2022-07-11T11:33:36.571" v="71" actId="1076"/>
          <ac:spMkLst>
            <pc:docMk/>
            <pc:sldMk cId="1104922624" sldId="2145707406"/>
            <ac:spMk id="45" creationId="{775E4E86-54F6-44C1-AA63-7C8E29A61729}"/>
          </ac:spMkLst>
        </pc:spChg>
        <pc:spChg chg="mod">
          <ac:chgData name="Wu, Jingjing" userId="068b8037-f602-4183-8693-4432c687a00f" providerId="ADAL" clId="{944D1B66-2FA1-4DF3-84A4-B17FF153A739}" dt="2022-07-11T12:48:24.086" v="254" actId="14100"/>
          <ac:spMkLst>
            <pc:docMk/>
            <pc:sldMk cId="1104922624" sldId="2145707406"/>
            <ac:spMk id="47" creationId="{F1D1708B-04DE-4DCB-8188-1BEAC4B4E5E7}"/>
          </ac:spMkLst>
        </pc:spChg>
        <pc:spChg chg="mod">
          <ac:chgData name="Wu, Jingjing" userId="068b8037-f602-4183-8693-4432c687a00f" providerId="ADAL" clId="{944D1B66-2FA1-4DF3-84A4-B17FF153A739}" dt="2022-07-11T12:59:57.530" v="331" actId="113"/>
          <ac:spMkLst>
            <pc:docMk/>
            <pc:sldMk cId="1104922624" sldId="2145707406"/>
            <ac:spMk id="53" creationId="{535CC7B9-3A9A-4B8D-BB5E-BDF3BF39D12C}"/>
          </ac:spMkLst>
        </pc:spChg>
        <pc:spChg chg="add mod">
          <ac:chgData name="Wu, Jingjing" userId="068b8037-f602-4183-8693-4432c687a00f" providerId="ADAL" clId="{944D1B66-2FA1-4DF3-84A4-B17FF153A739}" dt="2022-07-11T12:47:03.273" v="246" actId="20577"/>
          <ac:spMkLst>
            <pc:docMk/>
            <pc:sldMk cId="1104922624" sldId="2145707406"/>
            <ac:spMk id="62" creationId="{A857C69F-148A-423C-A78A-8BF91002ED54}"/>
          </ac:spMkLst>
        </pc:spChg>
        <pc:spChg chg="mod">
          <ac:chgData name="Wu, Jingjing" userId="068b8037-f602-4183-8693-4432c687a00f" providerId="ADAL" clId="{944D1B66-2FA1-4DF3-84A4-B17FF153A739}" dt="2022-07-11T12:48:51.698" v="259" actId="1076"/>
          <ac:spMkLst>
            <pc:docMk/>
            <pc:sldMk cId="1104922624" sldId="2145707406"/>
            <ac:spMk id="78" creationId="{AFA8911D-DDC8-45F1-A37C-74A86C6DBC32}"/>
          </ac:spMkLst>
        </pc:spChg>
        <pc:spChg chg="mod">
          <ac:chgData name="Wu, Jingjing" userId="068b8037-f602-4183-8693-4432c687a00f" providerId="ADAL" clId="{944D1B66-2FA1-4DF3-84A4-B17FF153A739}" dt="2022-07-11T12:48:52.762" v="261" actId="1076"/>
          <ac:spMkLst>
            <pc:docMk/>
            <pc:sldMk cId="1104922624" sldId="2145707406"/>
            <ac:spMk id="97" creationId="{67FE37DF-213B-41AE-A558-3393AC8E93A0}"/>
          </ac:spMkLst>
        </pc:spChg>
        <pc:spChg chg="mod">
          <ac:chgData name="Wu, Jingjing" userId="068b8037-f602-4183-8693-4432c687a00f" providerId="ADAL" clId="{944D1B66-2FA1-4DF3-84A4-B17FF153A739}" dt="2022-07-11T12:48:52.166" v="260" actId="1076"/>
          <ac:spMkLst>
            <pc:docMk/>
            <pc:sldMk cId="1104922624" sldId="2145707406"/>
            <ac:spMk id="104" creationId="{E4AB4FFA-2FC4-4AA1-8AE8-AC3EF14B57EF}"/>
          </ac:spMkLst>
        </pc:spChg>
        <pc:grpChg chg="mod">
          <ac:chgData name="Wu, Jingjing" userId="068b8037-f602-4183-8693-4432c687a00f" providerId="ADAL" clId="{944D1B66-2FA1-4DF3-84A4-B17FF153A739}" dt="2022-07-11T12:49:08.540" v="264" actId="1076"/>
          <ac:grpSpMkLst>
            <pc:docMk/>
            <pc:sldMk cId="1104922624" sldId="2145707406"/>
            <ac:grpSpMk id="77" creationId="{A0145F90-9219-448B-BB18-D51E8E7A195F}"/>
          </ac:grpSpMkLst>
        </pc:grpChg>
        <pc:graphicFrameChg chg="mod modGraphic">
          <ac:chgData name="Wu, Jingjing" userId="068b8037-f602-4183-8693-4432c687a00f" providerId="ADAL" clId="{944D1B66-2FA1-4DF3-84A4-B17FF153A739}" dt="2022-07-11T11:33:39.047" v="72" actId="14100"/>
          <ac:graphicFrameMkLst>
            <pc:docMk/>
            <pc:sldMk cId="1104922624" sldId="2145707406"/>
            <ac:graphicFrameMk id="46" creationId="{B3581C7C-EF8C-485A-A34C-A77CE016BD27}"/>
          </ac:graphicFrameMkLst>
        </pc:graphicFrameChg>
        <pc:graphicFrameChg chg="modGraphic">
          <ac:chgData name="Wu, Jingjing" userId="068b8037-f602-4183-8693-4432c687a00f" providerId="ADAL" clId="{944D1B66-2FA1-4DF3-84A4-B17FF153A739}" dt="2022-07-11T12:46:58.372" v="245" actId="20577"/>
          <ac:graphicFrameMkLst>
            <pc:docMk/>
            <pc:sldMk cId="1104922624" sldId="2145707406"/>
            <ac:graphicFrameMk id="57" creationId="{10B2192D-2F28-482D-A89F-93169AE6EA98}"/>
          </ac:graphicFrameMkLst>
        </pc:graphicFrameChg>
      </pc:sldChg>
    </pc:docChg>
  </pc:docChgLst>
  <pc:docChgLst>
    <pc:chgData name="Sheng, Yanan" userId="a8f760e9-50c6-421d-9788-7991509e9b00" providerId="ADAL" clId="{FF706798-F790-4CA6-AEE0-06BAAC9AEF48}"/>
    <pc:docChg chg="delSld modSection">
      <pc:chgData name="Sheng, Yanan" userId="a8f760e9-50c6-421d-9788-7991509e9b00" providerId="ADAL" clId="{FF706798-F790-4CA6-AEE0-06BAAC9AEF48}" dt="2023-07-14T03:45:20.101" v="0" actId="47"/>
      <pc:docMkLst>
        <pc:docMk/>
      </pc:docMkLst>
      <pc:sldChg chg="del">
        <pc:chgData name="Sheng, Yanan" userId="a8f760e9-50c6-421d-9788-7991509e9b00" providerId="ADAL" clId="{FF706798-F790-4CA6-AEE0-06BAAC9AEF48}" dt="2023-07-14T03:45:20.101" v="0" actId="47"/>
        <pc:sldMkLst>
          <pc:docMk/>
          <pc:sldMk cId="960220326" sldId="2145707131"/>
        </pc:sldMkLst>
      </pc:sldChg>
    </pc:docChg>
  </pc:docChgLst>
</pc:chgInfo>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 Id="rId4" Type="http://schemas.openxmlformats.org/officeDocument/2006/relationships/chartUserShapes" Target="../drawings/drawing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5683223903928606E-2"/>
          <c:y val="0.14668870392993164"/>
          <c:w val="0.92863355219214283"/>
          <c:h val="0.62350237492373617"/>
        </c:manualLayout>
      </c:layout>
      <c:barChart>
        <c:barDir val="col"/>
        <c:grouping val="clustered"/>
        <c:varyColors val="0"/>
        <c:ser>
          <c:idx val="0"/>
          <c:order val="0"/>
          <c:tx>
            <c:strRef>
              <c:f>Sheet1!$B$1</c:f>
              <c:strCache>
                <c:ptCount val="1"/>
                <c:pt idx="0">
                  <c:v>维拉苷酶</c:v>
                </c:pt>
              </c:strCache>
            </c:strRef>
          </c:tx>
          <c:spPr>
            <a:solidFill>
              <a:schemeClr val="accent1"/>
            </a:solidFill>
            <a:ln>
              <a:noFill/>
            </a:ln>
            <a:effectLst/>
          </c:spPr>
          <c:invertIfNegative val="0"/>
          <c:dLbls>
            <c:dLbl>
              <c:idx val="0"/>
              <c:layout>
                <c:manualLayout>
                  <c:x val="-4.5664596612756729E-2"/>
                  <c:y val="1.1930040613004036E-2"/>
                </c:manualLayout>
              </c:layout>
              <c:showLegendKey val="0"/>
              <c:showVal val="1"/>
              <c:showCatName val="0"/>
              <c:showSerName val="1"/>
              <c:showPercent val="0"/>
              <c:showBubbleSize val="0"/>
              <c:extLst>
                <c:ext xmlns:c15="http://schemas.microsoft.com/office/drawing/2012/chart" uri="{CE6537A1-D6FC-4f65-9D91-7224C49458BB}">
                  <c15:layout>
                    <c:manualLayout>
                      <c:w val="0.23260072425918282"/>
                      <c:h val="0.22255052671971201"/>
                    </c:manualLayout>
                  </c15:layout>
                </c:ext>
                <c:ext xmlns:c16="http://schemas.microsoft.com/office/drawing/2014/chart" uri="{C3380CC4-5D6E-409C-BE32-E72D297353CC}">
                  <c16:uniqueId val="{00000004-B45D-418B-A540-F34B4EE2629F}"/>
                </c:ext>
              </c:extLst>
            </c:dLbl>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rgbClr val="1A1918"/>
                    </a:solidFill>
                    <a:latin typeface="微软雅黑" panose="020B0503020204020204" pitchFamily="34" charset="-122"/>
                    <a:ea typeface="微软雅黑" panose="020B0503020204020204" pitchFamily="34" charset="-122"/>
                    <a:cs typeface="+mn-cs"/>
                  </a:defRPr>
                </a:pPr>
                <a:endParaRPr lang="zh-CN"/>
              </a:p>
            </c:txPr>
            <c:dLblPos val="inEnd"/>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抗体发生率</c:v>
                </c:pt>
              </c:strCache>
            </c:strRef>
          </c:cat>
          <c:val>
            <c:numRef>
              <c:f>Sheet1!$B$2</c:f>
              <c:numCache>
                <c:formatCode>0%</c:formatCode>
                <c:ptCount val="1"/>
                <c:pt idx="0">
                  <c:v>0</c:v>
                </c:pt>
              </c:numCache>
            </c:numRef>
          </c:val>
          <c:extLst>
            <c:ext xmlns:c16="http://schemas.microsoft.com/office/drawing/2014/chart" uri="{C3380CC4-5D6E-409C-BE32-E72D297353CC}">
              <c16:uniqueId val="{00000000-B45D-418B-A540-F34B4EE2629F}"/>
            </c:ext>
          </c:extLst>
        </c:ser>
        <c:ser>
          <c:idx val="1"/>
          <c:order val="1"/>
          <c:tx>
            <c:strRef>
              <c:f>Sheet1!$C$1</c:f>
              <c:strCache>
                <c:ptCount val="1"/>
                <c:pt idx="0">
                  <c:v>伊米苷酶</c:v>
                </c:pt>
              </c:strCache>
            </c:strRef>
          </c:tx>
          <c:spPr>
            <a:solidFill>
              <a:schemeClr val="accent2"/>
            </a:solidFill>
            <a:ln>
              <a:noFill/>
            </a:ln>
            <a:effectLst/>
          </c:spPr>
          <c:invertIfNegative val="0"/>
          <c:dLbls>
            <c:dLbl>
              <c:idx val="0"/>
              <c:layout>
                <c:manualLayout>
                  <c:x val="1.2975717783246766E-2"/>
                  <c:y val="5.9653725645465901E-3"/>
                </c:manualLayout>
              </c:layout>
              <c:spPr>
                <a:noFill/>
                <a:ln>
                  <a:noFill/>
                </a:ln>
                <a:effectLst/>
              </c:spPr>
              <c:txPr>
                <a:bodyPr rot="0" spcFirstLastPara="1" vertOverflow="ellipsis" vert="horz" wrap="square" lIns="38100" tIns="19050" rIns="38100" bIns="19050" anchor="ctr" anchorCtr="1">
                  <a:noAutofit/>
                </a:bodyPr>
                <a:lstStyle/>
                <a:p>
                  <a:pPr>
                    <a:defRPr sz="1000" b="1" i="0" u="none" strike="noStrike" kern="1200" baseline="0">
                      <a:solidFill>
                        <a:srgbClr val="1A1918"/>
                      </a:solidFill>
                      <a:latin typeface="微软雅黑" panose="020B0503020204020204" pitchFamily="34" charset="-122"/>
                      <a:ea typeface="微软雅黑" panose="020B0503020204020204" pitchFamily="34" charset="-122"/>
                      <a:cs typeface="+mn-cs"/>
                    </a:defRPr>
                  </a:pPr>
                  <a:endParaRPr lang="zh-CN"/>
                </a:p>
              </c:txPr>
              <c:showLegendKey val="0"/>
              <c:showVal val="1"/>
              <c:showCatName val="0"/>
              <c:showSerName val="1"/>
              <c:showPercent val="0"/>
              <c:showBubbleSize val="0"/>
              <c:extLst>
                <c:ext xmlns:c15="http://schemas.microsoft.com/office/drawing/2012/chart" uri="{CE6537A1-D6FC-4f65-9D91-7224C49458BB}">
                  <c15:layout>
                    <c:manualLayout>
                      <c:w val="0.24200789556131766"/>
                      <c:h val="0.13841580633510261"/>
                    </c:manualLayout>
                  </c15:layout>
                </c:ext>
                <c:ext xmlns:c16="http://schemas.microsoft.com/office/drawing/2014/chart" uri="{C3380CC4-5D6E-409C-BE32-E72D297353CC}">
                  <c16:uniqueId val="{00000005-B45D-418B-A540-F34B4EE2629F}"/>
                </c:ext>
              </c:extLst>
            </c:dLbl>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lumMod val="75000"/>
                        <a:lumOff val="25000"/>
                      </a:schemeClr>
                    </a:solidFill>
                    <a:latin typeface="微软雅黑" panose="020B0503020204020204" pitchFamily="34" charset="-122"/>
                    <a:ea typeface="微软雅黑" panose="020B0503020204020204" pitchFamily="34" charset="-122"/>
                    <a:cs typeface="+mn-cs"/>
                  </a:defRPr>
                </a:pPr>
                <a:endParaRPr lang="zh-CN"/>
              </a:p>
            </c:txPr>
            <c:dLblPos val="inEnd"/>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抗体发生率</c:v>
                </c:pt>
              </c:strCache>
            </c:strRef>
          </c:cat>
          <c:val>
            <c:numRef>
              <c:f>Sheet1!$C$2</c:f>
              <c:numCache>
                <c:formatCode>0%</c:formatCode>
                <c:ptCount val="1"/>
                <c:pt idx="0">
                  <c:v>0.23499999999999999</c:v>
                </c:pt>
              </c:numCache>
            </c:numRef>
          </c:val>
          <c:extLst>
            <c:ext xmlns:c16="http://schemas.microsoft.com/office/drawing/2014/chart" uri="{C3380CC4-5D6E-409C-BE32-E72D297353CC}">
              <c16:uniqueId val="{00000001-B45D-418B-A540-F34B4EE2629F}"/>
            </c:ext>
          </c:extLst>
        </c:ser>
        <c:dLbls>
          <c:dLblPos val="inEnd"/>
          <c:showLegendKey val="0"/>
          <c:showVal val="1"/>
          <c:showCatName val="0"/>
          <c:showSerName val="0"/>
          <c:showPercent val="0"/>
          <c:showBubbleSize val="0"/>
        </c:dLbls>
        <c:gapWidth val="297"/>
        <c:overlap val="-100"/>
        <c:axId val="1210012408"/>
        <c:axId val="1210012800"/>
      </c:barChart>
      <c:catAx>
        <c:axId val="1210012408"/>
        <c:scaling>
          <c:orientation val="minMax"/>
        </c:scaling>
        <c:delete val="0"/>
        <c:axPos val="b"/>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200" b="1" i="0" u="none" strike="noStrike" kern="1200" baseline="0">
                <a:solidFill>
                  <a:srgbClr val="1A1918"/>
                </a:solidFill>
                <a:latin typeface="微软雅黑" panose="020B0503020204020204" pitchFamily="34" charset="-122"/>
                <a:ea typeface="微软雅黑" panose="020B0503020204020204" pitchFamily="34" charset="-122"/>
                <a:cs typeface="+mn-cs"/>
              </a:defRPr>
            </a:pPr>
            <a:endParaRPr lang="zh-CN"/>
          </a:p>
        </c:txPr>
        <c:crossAx val="1210012800"/>
        <c:crossesAt val="0"/>
        <c:auto val="1"/>
        <c:lblAlgn val="ctr"/>
        <c:lblOffset val="100"/>
        <c:noMultiLvlLbl val="0"/>
      </c:catAx>
      <c:valAx>
        <c:axId val="1210012800"/>
        <c:scaling>
          <c:orientation val="minMax"/>
          <c:min val="0"/>
        </c:scaling>
        <c:delete val="1"/>
        <c:axPos val="l"/>
        <c:majorGridlines>
          <c:spPr>
            <a:ln w="9525" cap="flat" cmpd="sng" algn="ctr">
              <a:noFill/>
              <a:round/>
            </a:ln>
            <a:effectLst/>
          </c:spPr>
        </c:majorGridlines>
        <c:numFmt formatCode="0%" sourceLinked="1"/>
        <c:majorTickMark val="none"/>
        <c:minorTickMark val="none"/>
        <c:tickLblPos val="nextTo"/>
        <c:crossAx val="1210012408"/>
        <c:crosses val="autoZero"/>
        <c:crossBetween val="between"/>
        <c:majorUnit val="5.000000000000001E-2"/>
      </c:valAx>
      <c:spPr>
        <a:noFill/>
        <a:ln>
          <a:noFill/>
        </a:ln>
        <a:effectLst/>
      </c:spPr>
    </c:plotArea>
    <c:plotVisOnly val="1"/>
    <c:dispBlanksAs val="gap"/>
    <c:showDLblsOverMax val="0"/>
  </c:chart>
  <c:spPr>
    <a:noFill/>
    <a:ln>
      <a:noFill/>
    </a:ln>
    <a:effectLst/>
  </c:spPr>
  <c:txPr>
    <a:bodyPr/>
    <a:lstStyle/>
    <a:p>
      <a:pPr>
        <a:defRPr sz="1000"/>
      </a:pPr>
      <a:endParaRPr lang="zh-CN"/>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9899157181755724E-2"/>
          <c:y val="0.10881142099861972"/>
          <c:w val="0.78484012112689006"/>
          <c:h val="0.53344369039104189"/>
        </c:manualLayout>
      </c:layout>
      <c:barChart>
        <c:barDir val="col"/>
        <c:grouping val="clustered"/>
        <c:varyColors val="0"/>
        <c:ser>
          <c:idx val="0"/>
          <c:order val="0"/>
          <c:tx>
            <c:strRef>
              <c:f>Sheet1!$B$1</c:f>
              <c:strCache>
                <c:ptCount val="1"/>
                <c:pt idx="0">
                  <c:v>基线</c:v>
                </c:pt>
              </c:strCache>
            </c:strRef>
          </c:tx>
          <c:spPr>
            <a:solidFill>
              <a:srgbClr val="FBE1E2"/>
            </a:solidFill>
            <a:ln>
              <a:noFill/>
            </a:ln>
            <a:effectLst/>
          </c:spPr>
          <c:invertIfNegative val="0"/>
          <c:dLbls>
            <c:dLbl>
              <c:idx val="2"/>
              <c:dLblPos val="outEnd"/>
              <c:showLegendKey val="0"/>
              <c:showVal val="1"/>
              <c:showCatName val="0"/>
              <c:showSerName val="0"/>
              <c:showPercent val="0"/>
              <c:showBubbleSize val="0"/>
              <c:extLst>
                <c:ext xmlns:c15="http://schemas.microsoft.com/office/drawing/2012/chart" uri="{CE6537A1-D6FC-4f65-9D91-7224C49458BB}">
                  <c15:layout>
                    <c:manualLayout>
                      <c:w val="6.9745937564908933E-2"/>
                      <c:h val="7.4783979629243547E-2"/>
                    </c:manualLayout>
                  </c15:layout>
                </c:ext>
                <c:ext xmlns:c16="http://schemas.microsoft.com/office/drawing/2014/chart" uri="{C3380CC4-5D6E-409C-BE32-E72D297353CC}">
                  <c16:uniqueId val="{00000004-716F-4F43-9333-CCF357BA9404}"/>
                </c:ext>
              </c:extLst>
            </c:dLbl>
            <c:spPr>
              <a:noFill/>
              <a:ln>
                <a:noFill/>
              </a:ln>
              <a:effectLst/>
            </c:spPr>
            <c:txPr>
              <a:bodyPr rot="0" spcFirstLastPara="1" vertOverflow="ellipsis" vert="horz" wrap="square" anchor="ctr" anchorCtr="1"/>
              <a:lstStyle/>
              <a:p>
                <a:pPr>
                  <a:defRPr sz="900" b="0" i="0" u="none" strike="noStrike" kern="1200" baseline="0">
                    <a:solidFill>
                      <a:srgbClr val="1A1918"/>
                    </a:solidFill>
                    <a:latin typeface="微软雅黑" panose="020B0503020204020204" pitchFamily="34" charset="-122"/>
                    <a:ea typeface="微软雅黑" panose="020B0503020204020204" pitchFamily="34" charset="-122"/>
                    <a:cs typeface="+mn-cs"/>
                  </a:defRPr>
                </a:pPr>
                <a:endParaRPr lang="zh-CN"/>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血红蛋白浓度</c:v>
                </c:pt>
                <c:pt idx="1">
                  <c:v>血小板计数</c:v>
                </c:pt>
                <c:pt idx="2">
                  <c:v>肝脏体积</c:v>
                </c:pt>
                <c:pt idx="3">
                  <c:v>脾脏体积</c:v>
                </c:pt>
              </c:strCache>
            </c:strRef>
          </c:cat>
          <c:val>
            <c:numRef>
              <c:f>Sheet1!$B$2:$B$5</c:f>
              <c:numCache>
                <c:formatCode>General</c:formatCode>
                <c:ptCount val="4"/>
                <c:pt idx="0" formatCode="0%">
                  <c:v>0.5</c:v>
                </c:pt>
                <c:pt idx="1">
                  <c:v>0</c:v>
                </c:pt>
                <c:pt idx="2" formatCode="0%">
                  <c:v>0.5</c:v>
                </c:pt>
                <c:pt idx="3">
                  <c:v>0</c:v>
                </c:pt>
              </c:numCache>
            </c:numRef>
          </c:val>
          <c:extLst>
            <c:ext xmlns:c16="http://schemas.microsoft.com/office/drawing/2014/chart" uri="{C3380CC4-5D6E-409C-BE32-E72D297353CC}">
              <c16:uniqueId val="{00000000-342E-4B95-A0C2-1EED60ADCEB1}"/>
            </c:ext>
          </c:extLst>
        </c:ser>
        <c:ser>
          <c:idx val="1"/>
          <c:order val="1"/>
          <c:tx>
            <c:strRef>
              <c:f>Sheet1!$C$1</c:f>
              <c:strCache>
                <c:ptCount val="1"/>
                <c:pt idx="0">
                  <c:v>9个月</c:v>
                </c:pt>
              </c:strCache>
            </c:strRef>
          </c:tx>
          <c:spPr>
            <a:solidFill>
              <a:schemeClr val="accent1">
                <a:lumMod val="40000"/>
                <a:lumOff val="60000"/>
              </a:schemeClr>
            </a:solidFill>
            <a:ln>
              <a:noFill/>
            </a:ln>
            <a:effectLst/>
          </c:spPr>
          <c:invertIfNegative val="0"/>
          <c:dLbls>
            <c:dLbl>
              <c:idx val="0"/>
              <c:layout>
                <c:manualLayout>
                  <c:x val="-2.3575953577238608E-2"/>
                  <c:y val="1.3917493203392194E-7"/>
                </c:manualLayout>
              </c:layout>
              <c:dLblPos val="outEnd"/>
              <c:showLegendKey val="0"/>
              <c:showVal val="1"/>
              <c:showCatName val="0"/>
              <c:showSerName val="0"/>
              <c:showPercent val="0"/>
              <c:showBubbleSize val="0"/>
              <c:extLst>
                <c:ext xmlns:c15="http://schemas.microsoft.com/office/drawing/2012/chart" uri="{CE6537A1-D6FC-4f65-9D91-7224C49458BB}">
                  <c15:layout>
                    <c:manualLayout>
                      <c:w val="9.5587812148125284E-2"/>
                      <c:h val="7.1248936355581924E-2"/>
                    </c:manualLayout>
                  </c15:layout>
                </c:ext>
                <c:ext xmlns:c16="http://schemas.microsoft.com/office/drawing/2014/chart" uri="{C3380CC4-5D6E-409C-BE32-E72D297353CC}">
                  <c16:uniqueId val="{00000003-716F-4F43-9333-CCF357BA9404}"/>
                </c:ext>
              </c:extLst>
            </c:dLbl>
            <c:dLbl>
              <c:idx val="1"/>
              <c:layout>
                <c:manualLayout>
                  <c:x val="-1.0478247426486837E-2"/>
                  <c:y val="-3.2404189005941605E-17"/>
                </c:manualLayout>
              </c:layout>
              <c:numFmt formatCode="0%" sourceLinked="0"/>
              <c:spPr>
                <a:noFill/>
                <a:ln>
                  <a:noFill/>
                </a:ln>
                <a:effectLst/>
              </c:spPr>
              <c:txPr>
                <a:bodyPr rot="0" spcFirstLastPara="1" vertOverflow="ellipsis" vert="horz" wrap="square" anchor="ctr" anchorCtr="1"/>
                <a:lstStyle/>
                <a:p>
                  <a:pPr>
                    <a:defRPr sz="900" b="0" i="0" u="none" strike="noStrike" kern="1200" baseline="0">
                      <a:solidFill>
                        <a:srgbClr val="1A1918"/>
                      </a:solidFill>
                      <a:latin typeface="微软雅黑" panose="020B0503020204020204" pitchFamily="34" charset="-122"/>
                      <a:ea typeface="微软雅黑" panose="020B0503020204020204" pitchFamily="34" charset="-122"/>
                      <a:cs typeface="+mn-cs"/>
                    </a:defRPr>
                  </a:pPr>
                  <a:endParaRPr lang="zh-CN"/>
                </a:p>
              </c:txPr>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716F-4F43-9333-CCF357BA9404}"/>
                </c:ext>
              </c:extLst>
            </c:dLbl>
            <c:dLbl>
              <c:idx val="3"/>
              <c:layout>
                <c:manualLayout>
                  <c:x val="-1.0478247426486741E-2"/>
                  <c:y val="0"/>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716F-4F43-9333-CCF357BA9404}"/>
                </c:ext>
              </c:extLst>
            </c:dLbl>
            <c:spPr>
              <a:noFill/>
              <a:ln>
                <a:noFill/>
              </a:ln>
              <a:effectLst/>
            </c:spPr>
            <c:txPr>
              <a:bodyPr rot="0" spcFirstLastPara="1" vertOverflow="ellipsis" vert="horz" wrap="square" anchor="ctr" anchorCtr="1"/>
              <a:lstStyle/>
              <a:p>
                <a:pPr>
                  <a:defRPr sz="900" b="0" i="0" u="none" strike="noStrike" kern="1200" baseline="0">
                    <a:solidFill>
                      <a:srgbClr val="1A1918"/>
                    </a:solidFill>
                    <a:latin typeface="微软雅黑" panose="020B0503020204020204" pitchFamily="34" charset="-122"/>
                    <a:ea typeface="微软雅黑" panose="020B0503020204020204" pitchFamily="34" charset="-122"/>
                    <a:cs typeface="+mn-cs"/>
                  </a:defRPr>
                </a:pPr>
                <a:endParaRPr lang="zh-CN"/>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血红蛋白浓度</c:v>
                </c:pt>
                <c:pt idx="1">
                  <c:v>血小板计数</c:v>
                </c:pt>
                <c:pt idx="2">
                  <c:v>肝脏体积</c:v>
                </c:pt>
                <c:pt idx="3">
                  <c:v>脾脏体积</c:v>
                </c:pt>
              </c:strCache>
            </c:strRef>
          </c:cat>
          <c:val>
            <c:numRef>
              <c:f>Sheet1!$C$2:$C$5</c:f>
              <c:numCache>
                <c:formatCode>0.00%</c:formatCode>
                <c:ptCount val="4"/>
                <c:pt idx="0" formatCode="0%">
                  <c:v>1</c:v>
                </c:pt>
                <c:pt idx="1">
                  <c:v>0.625</c:v>
                </c:pt>
                <c:pt idx="2" formatCode="0%">
                  <c:v>0.75</c:v>
                </c:pt>
                <c:pt idx="3" formatCode="0%">
                  <c:v>1</c:v>
                </c:pt>
              </c:numCache>
            </c:numRef>
          </c:val>
          <c:extLst>
            <c:ext xmlns:c16="http://schemas.microsoft.com/office/drawing/2014/chart" uri="{C3380CC4-5D6E-409C-BE32-E72D297353CC}">
              <c16:uniqueId val="{00000001-342E-4B95-A0C2-1EED60ADCEB1}"/>
            </c:ext>
          </c:extLst>
        </c:ser>
        <c:ser>
          <c:idx val="2"/>
          <c:order val="2"/>
          <c:tx>
            <c:strRef>
              <c:f>Sheet1!$D$1</c:f>
              <c:strCache>
                <c:ptCount val="1"/>
                <c:pt idx="0">
                  <c:v>4年</c:v>
                </c:pt>
              </c:strCache>
            </c:strRef>
          </c:tx>
          <c:spPr>
            <a:solidFill>
              <a:schemeClr val="accent2"/>
            </a:solidFill>
            <a:ln>
              <a:noFill/>
            </a:ln>
            <a:effectLst/>
          </c:spPr>
          <c:invertIfNegative val="0"/>
          <c:dLbls>
            <c:dLbl>
              <c:idx val="0"/>
              <c:layout>
                <c:manualLayout>
                  <c:x val="5.2391237132433707E-3"/>
                  <c:y val="0"/>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716F-4F43-9333-CCF357BA9404}"/>
                </c:ext>
              </c:extLst>
            </c:dLbl>
            <c:dLbl>
              <c:idx val="1"/>
              <c:layout>
                <c:manualLayout>
                  <c:x val="2.6195618566215891E-3"/>
                  <c:y val="0"/>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2EE-48CF-AA35-2A7C8225D6FD}"/>
                </c:ext>
              </c:extLst>
            </c:dLbl>
            <c:dLbl>
              <c:idx val="2"/>
              <c:layout>
                <c:manualLayout>
                  <c:x val="7.8586855698650551E-3"/>
                  <c:y val="0"/>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22EE-48CF-AA35-2A7C8225D6FD}"/>
                </c:ext>
              </c:extLst>
            </c:dLbl>
            <c:dLbl>
              <c:idx val="3"/>
              <c:layout>
                <c:manualLayout>
                  <c:x val="1.8336932996351699E-2"/>
                  <c:y val="3.5350432736616171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716F-4F43-9333-CCF357BA9404}"/>
                </c:ext>
              </c:extLst>
            </c:dLbl>
            <c:spPr>
              <a:noFill/>
              <a:ln>
                <a:noFill/>
              </a:ln>
              <a:effectLst/>
            </c:spPr>
            <c:txPr>
              <a:bodyPr rot="0" spcFirstLastPara="1" vertOverflow="ellipsis" vert="horz" wrap="square" anchor="ctr" anchorCtr="1"/>
              <a:lstStyle/>
              <a:p>
                <a:pPr>
                  <a:defRPr sz="900" b="0" i="0" u="none" strike="noStrike" kern="1200" baseline="0">
                    <a:solidFill>
                      <a:srgbClr val="1A1918"/>
                    </a:solidFill>
                    <a:latin typeface="微软雅黑" panose="020B0503020204020204" pitchFamily="34" charset="-122"/>
                    <a:ea typeface="微软雅黑" panose="020B0503020204020204" pitchFamily="34" charset="-122"/>
                    <a:cs typeface="+mn-cs"/>
                  </a:defRPr>
                </a:pPr>
                <a:endParaRPr lang="zh-CN"/>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血红蛋白浓度</c:v>
                </c:pt>
                <c:pt idx="1">
                  <c:v>血小板计数</c:v>
                </c:pt>
                <c:pt idx="2">
                  <c:v>肝脏体积</c:v>
                </c:pt>
                <c:pt idx="3">
                  <c:v>脾脏体积</c:v>
                </c:pt>
              </c:strCache>
            </c:strRef>
          </c:cat>
          <c:val>
            <c:numRef>
              <c:f>Sheet1!$D$2:$D$5</c:f>
              <c:numCache>
                <c:formatCode>0%</c:formatCode>
                <c:ptCount val="4"/>
                <c:pt idx="0">
                  <c:v>1</c:v>
                </c:pt>
                <c:pt idx="1">
                  <c:v>1</c:v>
                </c:pt>
                <c:pt idx="2">
                  <c:v>1</c:v>
                </c:pt>
                <c:pt idx="3">
                  <c:v>1</c:v>
                </c:pt>
              </c:numCache>
            </c:numRef>
          </c:val>
          <c:extLst>
            <c:ext xmlns:c16="http://schemas.microsoft.com/office/drawing/2014/chart" uri="{C3380CC4-5D6E-409C-BE32-E72D297353CC}">
              <c16:uniqueId val="{00000002-342E-4B95-A0C2-1EED60ADCEB1}"/>
            </c:ext>
          </c:extLst>
        </c:ser>
        <c:dLbls>
          <c:dLblPos val="inEnd"/>
          <c:showLegendKey val="0"/>
          <c:showVal val="1"/>
          <c:showCatName val="0"/>
          <c:showSerName val="0"/>
          <c:showPercent val="0"/>
          <c:showBubbleSize val="0"/>
        </c:dLbls>
        <c:gapWidth val="219"/>
        <c:overlap val="-27"/>
        <c:axId val="1210012408"/>
        <c:axId val="1210012800"/>
      </c:barChart>
      <c:catAx>
        <c:axId val="1210012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00" b="0" i="0" u="none" strike="noStrike" kern="1200" baseline="0">
                <a:solidFill>
                  <a:srgbClr val="1A1918"/>
                </a:solidFill>
                <a:latin typeface="微软雅黑" panose="020B0503020204020204" pitchFamily="34" charset="-122"/>
                <a:ea typeface="微软雅黑" panose="020B0503020204020204" pitchFamily="34" charset="-122"/>
                <a:cs typeface="+mn-cs"/>
              </a:defRPr>
            </a:pPr>
            <a:endParaRPr lang="zh-CN"/>
          </a:p>
        </c:txPr>
        <c:crossAx val="1210012800"/>
        <c:crossesAt val="0"/>
        <c:auto val="1"/>
        <c:lblAlgn val="ctr"/>
        <c:lblOffset val="100"/>
        <c:noMultiLvlLbl val="0"/>
      </c:catAx>
      <c:valAx>
        <c:axId val="1210012800"/>
        <c:scaling>
          <c:orientation val="minMax"/>
          <c:max val="1"/>
          <c:min val="0"/>
        </c:scaling>
        <c:delete val="0"/>
        <c:axPos val="l"/>
        <c:majorGridlines>
          <c:spPr>
            <a:ln w="9525" cap="flat" cmpd="sng" algn="ctr">
              <a:noFill/>
              <a:round/>
            </a:ln>
            <a:effectLst/>
          </c:spPr>
        </c:majorGridlines>
        <c:numFmt formatCode="0%" sourceLinked="1"/>
        <c:majorTickMark val="out"/>
        <c:minorTickMark val="none"/>
        <c:tickLblPos val="nextTo"/>
        <c:spPr>
          <a:noFill/>
          <a:ln>
            <a:solidFill>
              <a:schemeClr val="accent1"/>
            </a:solidFill>
          </a:ln>
          <a:effectLst/>
        </c:spPr>
        <c:txPr>
          <a:bodyPr rot="-60000000" spcFirstLastPara="1" vertOverflow="ellipsis" vert="horz" wrap="square" anchor="ctr" anchorCtr="1"/>
          <a:lstStyle/>
          <a:p>
            <a:pPr>
              <a:defRPr sz="1100" b="0" i="0" u="none" strike="noStrike" kern="1200" baseline="0">
                <a:solidFill>
                  <a:srgbClr val="1A1918"/>
                </a:solidFill>
                <a:latin typeface="微软雅黑" panose="020B0503020204020204" pitchFamily="34" charset="-122"/>
                <a:ea typeface="微软雅黑" panose="020B0503020204020204" pitchFamily="34" charset="-122"/>
                <a:cs typeface="+mn-cs"/>
              </a:defRPr>
            </a:pPr>
            <a:endParaRPr lang="zh-CN"/>
          </a:p>
        </c:txPr>
        <c:crossAx val="1210012408"/>
        <c:crosses val="autoZero"/>
        <c:crossBetween val="between"/>
        <c:majorUnit val="0.2"/>
      </c:valAx>
      <c:spPr>
        <a:noFill/>
        <a:ln>
          <a:noFill/>
        </a:ln>
        <a:effectLst/>
      </c:spPr>
    </c:plotArea>
    <c:legend>
      <c:legendPos val="b"/>
      <c:layout>
        <c:manualLayout>
          <c:xMode val="edge"/>
          <c:yMode val="edge"/>
          <c:x val="0.31700761879970851"/>
          <c:y val="0.84662349797247349"/>
          <c:w val="0.29263682415046266"/>
          <c:h val="0.12337108518617783"/>
        </c:manualLayout>
      </c:layout>
      <c:overlay val="0"/>
      <c:spPr>
        <a:noFill/>
        <a:ln>
          <a:noFill/>
        </a:ln>
        <a:effectLst/>
      </c:spPr>
      <c:txPr>
        <a:bodyPr rot="0" spcFirstLastPara="1" vertOverflow="ellipsis" vert="horz" wrap="square" anchor="ctr" anchorCtr="1"/>
        <a:lstStyle/>
        <a:p>
          <a:pPr>
            <a:defRPr sz="1000" b="0" i="0" u="none" strike="noStrike" kern="1200" baseline="0">
              <a:solidFill>
                <a:srgbClr val="1A1918"/>
              </a:solidFill>
              <a:latin typeface="微软雅黑" panose="020B0503020204020204" pitchFamily="34" charset="-122"/>
              <a:ea typeface="微软雅黑" panose="020B0503020204020204" pitchFamily="34" charset="-122"/>
              <a:cs typeface="+mn-cs"/>
            </a:defRPr>
          </a:pPr>
          <a:endParaRPr lang="zh-CN"/>
        </a:p>
      </c:txPr>
    </c:legend>
    <c:plotVisOnly val="1"/>
    <c:dispBlanksAs val="gap"/>
    <c:showDLblsOverMax val="0"/>
  </c:chart>
  <c:spPr>
    <a:noFill/>
    <a:ln>
      <a:noFill/>
    </a:ln>
    <a:effectLst/>
  </c:spPr>
  <c:txPr>
    <a:bodyPr/>
    <a:lstStyle/>
    <a:p>
      <a:pPr>
        <a:defRPr sz="1000"/>
      </a:pPr>
      <a:endParaRPr lang="zh-CN"/>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0</c:v>
                </c:pt>
              </c:strCache>
            </c:strRef>
          </c:tx>
          <c:spPr>
            <a:noFill/>
            <a:ln>
              <a:noFill/>
            </a:ln>
            <a:effectLst/>
          </c:spPr>
          <c:invertIfNegative val="0"/>
          <c:cat>
            <c:strRef>
              <c:f>Sheet1!$A$2</c:f>
              <c:strCache>
                <c:ptCount val="1"/>
                <c:pt idx="0">
                  <c:v>类别 1</c:v>
                </c:pt>
              </c:strCache>
            </c:strRef>
          </c:cat>
          <c:val>
            <c:numRef>
              <c:f>Sheet1!$B$2</c:f>
              <c:numCache>
                <c:formatCode>General</c:formatCode>
                <c:ptCount val="1"/>
                <c:pt idx="0">
                  <c:v>5000</c:v>
                </c:pt>
              </c:numCache>
            </c:numRef>
          </c:val>
          <c:extLst>
            <c:ext xmlns:c16="http://schemas.microsoft.com/office/drawing/2014/chart" uri="{C3380CC4-5D6E-409C-BE32-E72D297353CC}">
              <c16:uniqueId val="{00000000-488C-466B-B098-2B6D798D63F2}"/>
            </c:ext>
          </c:extLst>
        </c:ser>
        <c:ser>
          <c:idx val="1"/>
          <c:order val="1"/>
          <c:tx>
            <c:strRef>
              <c:f>Sheet1!$C$1</c:f>
              <c:strCache>
                <c:ptCount val="1"/>
                <c:pt idx="0">
                  <c:v>20</c:v>
                </c:pt>
              </c:strCache>
            </c:strRef>
          </c:tx>
          <c:spPr>
            <a:noFill/>
            <a:ln>
              <a:noFill/>
            </a:ln>
            <a:effectLst/>
          </c:spPr>
          <c:invertIfNegative val="0"/>
          <c:cat>
            <c:strRef>
              <c:f>Sheet1!$A$2</c:f>
              <c:strCache>
                <c:ptCount val="1"/>
                <c:pt idx="0">
                  <c:v>类别 1</c:v>
                </c:pt>
              </c:strCache>
            </c:strRef>
          </c:cat>
          <c:val>
            <c:numRef>
              <c:f>Sheet1!$C$2</c:f>
              <c:numCache>
                <c:formatCode>General</c:formatCode>
                <c:ptCount val="1"/>
                <c:pt idx="0">
                  <c:v>10000</c:v>
                </c:pt>
              </c:numCache>
            </c:numRef>
          </c:val>
          <c:extLst>
            <c:ext xmlns:c16="http://schemas.microsoft.com/office/drawing/2014/chart" uri="{C3380CC4-5D6E-409C-BE32-E72D297353CC}">
              <c16:uniqueId val="{00000001-488C-466B-B098-2B6D798D63F2}"/>
            </c:ext>
          </c:extLst>
        </c:ser>
        <c:ser>
          <c:idx val="2"/>
          <c:order val="2"/>
          <c:tx>
            <c:strRef>
              <c:f>Sheet1!$D$1</c:f>
              <c:strCache>
                <c:ptCount val="1"/>
                <c:pt idx="0">
                  <c:v>40</c:v>
                </c:pt>
              </c:strCache>
            </c:strRef>
          </c:tx>
          <c:spPr>
            <a:noFill/>
            <a:ln>
              <a:noFill/>
            </a:ln>
            <a:effectLst/>
          </c:spPr>
          <c:invertIfNegative val="0"/>
          <c:cat>
            <c:strRef>
              <c:f>Sheet1!$A$2</c:f>
              <c:strCache>
                <c:ptCount val="1"/>
                <c:pt idx="0">
                  <c:v>类别 1</c:v>
                </c:pt>
              </c:strCache>
            </c:strRef>
          </c:cat>
          <c:val>
            <c:numRef>
              <c:f>Sheet1!$D$2</c:f>
              <c:numCache>
                <c:formatCode>General</c:formatCode>
                <c:ptCount val="1"/>
                <c:pt idx="0">
                  <c:v>20000</c:v>
                </c:pt>
              </c:numCache>
            </c:numRef>
          </c:val>
          <c:extLst>
            <c:ext xmlns:c16="http://schemas.microsoft.com/office/drawing/2014/chart" uri="{C3380CC4-5D6E-409C-BE32-E72D297353CC}">
              <c16:uniqueId val="{00000002-488C-466B-B098-2B6D798D63F2}"/>
            </c:ext>
          </c:extLst>
        </c:ser>
        <c:ser>
          <c:idx val="3"/>
          <c:order val="3"/>
          <c:tx>
            <c:strRef>
              <c:f>Sheet1!$E$1</c:f>
              <c:strCache>
                <c:ptCount val="1"/>
                <c:pt idx="0">
                  <c:v>60</c:v>
                </c:pt>
              </c:strCache>
            </c:strRef>
          </c:tx>
          <c:spPr>
            <a:noFill/>
            <a:ln>
              <a:noFill/>
            </a:ln>
            <a:effectLst/>
          </c:spPr>
          <c:invertIfNegative val="0"/>
          <c:cat>
            <c:strRef>
              <c:f>Sheet1!$A$2</c:f>
              <c:strCache>
                <c:ptCount val="1"/>
                <c:pt idx="0">
                  <c:v>类别 1</c:v>
                </c:pt>
              </c:strCache>
            </c:strRef>
          </c:cat>
          <c:val>
            <c:numRef>
              <c:f>Sheet1!$E$2</c:f>
              <c:numCache>
                <c:formatCode>General</c:formatCode>
                <c:ptCount val="1"/>
                <c:pt idx="0">
                  <c:v>20000</c:v>
                </c:pt>
              </c:numCache>
            </c:numRef>
          </c:val>
          <c:extLst>
            <c:ext xmlns:c16="http://schemas.microsoft.com/office/drawing/2014/chart" uri="{C3380CC4-5D6E-409C-BE32-E72D297353CC}">
              <c16:uniqueId val="{00000003-488C-466B-B098-2B6D798D63F2}"/>
            </c:ext>
          </c:extLst>
        </c:ser>
        <c:ser>
          <c:idx val="4"/>
          <c:order val="4"/>
          <c:tx>
            <c:strRef>
              <c:f>Sheet1!$F$1</c:f>
              <c:strCache>
                <c:ptCount val="1"/>
                <c:pt idx="0">
                  <c:v>80</c:v>
                </c:pt>
              </c:strCache>
            </c:strRef>
          </c:tx>
          <c:spPr>
            <a:noFill/>
            <a:ln>
              <a:noFill/>
            </a:ln>
            <a:effectLst/>
          </c:spPr>
          <c:invertIfNegative val="0"/>
          <c:cat>
            <c:strRef>
              <c:f>Sheet1!$A$2</c:f>
              <c:strCache>
                <c:ptCount val="1"/>
                <c:pt idx="0">
                  <c:v>类别 1</c:v>
                </c:pt>
              </c:strCache>
            </c:strRef>
          </c:cat>
          <c:val>
            <c:numRef>
              <c:f>Sheet1!$F$2</c:f>
              <c:numCache>
                <c:formatCode>General</c:formatCode>
                <c:ptCount val="1"/>
                <c:pt idx="0">
                  <c:v>20000</c:v>
                </c:pt>
              </c:numCache>
            </c:numRef>
          </c:val>
          <c:extLst>
            <c:ext xmlns:c16="http://schemas.microsoft.com/office/drawing/2014/chart" uri="{C3380CC4-5D6E-409C-BE32-E72D297353CC}">
              <c16:uniqueId val="{00000004-488C-466B-B098-2B6D798D63F2}"/>
            </c:ext>
          </c:extLst>
        </c:ser>
        <c:ser>
          <c:idx val="5"/>
          <c:order val="5"/>
          <c:tx>
            <c:strRef>
              <c:f>Sheet1!$G$1</c:f>
              <c:strCache>
                <c:ptCount val="1"/>
                <c:pt idx="0">
                  <c:v>100</c:v>
                </c:pt>
              </c:strCache>
            </c:strRef>
          </c:tx>
          <c:spPr>
            <a:noFill/>
            <a:ln>
              <a:noFill/>
            </a:ln>
            <a:effectLst/>
          </c:spPr>
          <c:invertIfNegative val="0"/>
          <c:cat>
            <c:strRef>
              <c:f>Sheet1!$A$2</c:f>
              <c:strCache>
                <c:ptCount val="1"/>
                <c:pt idx="0">
                  <c:v>类别 1</c:v>
                </c:pt>
              </c:strCache>
            </c:strRef>
          </c:cat>
          <c:val>
            <c:numRef>
              <c:f>Sheet1!$G$2</c:f>
              <c:numCache>
                <c:formatCode>General</c:formatCode>
                <c:ptCount val="1"/>
                <c:pt idx="0">
                  <c:v>20000</c:v>
                </c:pt>
              </c:numCache>
            </c:numRef>
          </c:val>
          <c:extLst>
            <c:ext xmlns:c16="http://schemas.microsoft.com/office/drawing/2014/chart" uri="{C3380CC4-5D6E-409C-BE32-E72D297353CC}">
              <c16:uniqueId val="{00000005-488C-466B-B098-2B6D798D63F2}"/>
            </c:ext>
          </c:extLst>
        </c:ser>
        <c:ser>
          <c:idx val="6"/>
          <c:order val="6"/>
          <c:tx>
            <c:strRef>
              <c:f>Sheet1!$H$1</c:f>
              <c:strCache>
                <c:ptCount val="1"/>
                <c:pt idx="0">
                  <c:v>120</c:v>
                </c:pt>
              </c:strCache>
            </c:strRef>
          </c:tx>
          <c:spPr>
            <a:noFill/>
            <a:ln>
              <a:noFill/>
            </a:ln>
            <a:effectLst/>
          </c:spPr>
          <c:invertIfNegative val="0"/>
          <c:cat>
            <c:strRef>
              <c:f>Sheet1!$A$2</c:f>
              <c:strCache>
                <c:ptCount val="1"/>
                <c:pt idx="0">
                  <c:v>类别 1</c:v>
                </c:pt>
              </c:strCache>
            </c:strRef>
          </c:cat>
          <c:val>
            <c:numRef>
              <c:f>Sheet1!$H$2</c:f>
              <c:numCache>
                <c:formatCode>General</c:formatCode>
                <c:ptCount val="1"/>
                <c:pt idx="0">
                  <c:v>20000</c:v>
                </c:pt>
              </c:numCache>
            </c:numRef>
          </c:val>
          <c:extLst>
            <c:ext xmlns:c16="http://schemas.microsoft.com/office/drawing/2014/chart" uri="{C3380CC4-5D6E-409C-BE32-E72D297353CC}">
              <c16:uniqueId val="{00000006-488C-466B-B098-2B6D798D63F2}"/>
            </c:ext>
          </c:extLst>
        </c:ser>
        <c:ser>
          <c:idx val="7"/>
          <c:order val="7"/>
          <c:tx>
            <c:strRef>
              <c:f>Sheet1!$I$1</c:f>
              <c:strCache>
                <c:ptCount val="1"/>
                <c:pt idx="0">
                  <c:v>140</c:v>
                </c:pt>
              </c:strCache>
            </c:strRef>
          </c:tx>
          <c:spPr>
            <a:noFill/>
            <a:ln>
              <a:noFill/>
            </a:ln>
            <a:effectLst/>
          </c:spPr>
          <c:invertIfNegative val="0"/>
          <c:cat>
            <c:strRef>
              <c:f>Sheet1!$A$2</c:f>
              <c:strCache>
                <c:ptCount val="1"/>
                <c:pt idx="0">
                  <c:v>类别 1</c:v>
                </c:pt>
              </c:strCache>
            </c:strRef>
          </c:cat>
          <c:val>
            <c:numRef>
              <c:f>Sheet1!$I$2</c:f>
              <c:numCache>
                <c:formatCode>General</c:formatCode>
                <c:ptCount val="1"/>
                <c:pt idx="0">
                  <c:v>20000</c:v>
                </c:pt>
              </c:numCache>
            </c:numRef>
          </c:val>
          <c:extLst>
            <c:ext xmlns:c16="http://schemas.microsoft.com/office/drawing/2014/chart" uri="{C3380CC4-5D6E-409C-BE32-E72D297353CC}">
              <c16:uniqueId val="{00000007-488C-466B-B098-2B6D798D63F2}"/>
            </c:ext>
          </c:extLst>
        </c:ser>
        <c:dLbls>
          <c:showLegendKey val="0"/>
          <c:showVal val="0"/>
          <c:showCatName val="0"/>
          <c:showSerName val="0"/>
          <c:showPercent val="0"/>
          <c:showBubbleSize val="0"/>
        </c:dLbls>
        <c:gapWidth val="75"/>
        <c:overlap val="-25"/>
        <c:axId val="1423425176"/>
        <c:axId val="1423428456"/>
      </c:barChart>
      <c:catAx>
        <c:axId val="1423425176"/>
        <c:scaling>
          <c:orientation val="minMax"/>
        </c:scaling>
        <c:delete val="1"/>
        <c:axPos val="b"/>
        <c:numFmt formatCode="General" sourceLinked="1"/>
        <c:majorTickMark val="none"/>
        <c:minorTickMark val="none"/>
        <c:tickLblPos val="nextTo"/>
        <c:crossAx val="1423428456"/>
        <c:crossesAt val="0"/>
        <c:auto val="1"/>
        <c:lblAlgn val="ctr"/>
        <c:lblOffset val="100"/>
        <c:noMultiLvlLbl val="0"/>
      </c:catAx>
      <c:valAx>
        <c:axId val="1423428456"/>
        <c:scaling>
          <c:orientation val="minMax"/>
          <c:max val="20000"/>
          <c:min val="5000"/>
        </c:scaling>
        <c:delete val="0"/>
        <c:axPos val="l"/>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rgbClr val="1A1918"/>
                </a:solidFill>
                <a:latin typeface="微软雅黑" panose="020B0503020204020204" pitchFamily="34" charset="-122"/>
                <a:ea typeface="微软雅黑" panose="020B0503020204020204" pitchFamily="34" charset="-122"/>
                <a:cs typeface="+mn-cs"/>
              </a:defRPr>
            </a:pPr>
            <a:endParaRPr lang="zh-CN"/>
          </a:p>
        </c:txPr>
        <c:crossAx val="1423425176"/>
        <c:crosses val="autoZero"/>
        <c:crossBetween val="between"/>
        <c:majorUnit val="5000"/>
      </c:valAx>
      <c:spPr>
        <a:noFill/>
        <a:ln>
          <a:noFill/>
        </a:ln>
        <a:effectLst/>
      </c:spPr>
    </c:plotArea>
    <c:legend>
      <c:legendPos val="b"/>
      <c:layout>
        <c:manualLayout>
          <c:xMode val="edge"/>
          <c:yMode val="edge"/>
          <c:x val="0.1304345923517384"/>
          <c:y val="0.73370843036302935"/>
          <c:w val="0.77909658682856819"/>
          <c:h val="0.1151863399814787"/>
        </c:manualLayout>
      </c:layout>
      <c:overlay val="0"/>
      <c:spPr>
        <a:noFill/>
        <a:ln>
          <a:noFill/>
        </a:ln>
        <a:effectLst/>
      </c:spPr>
      <c:txPr>
        <a:bodyPr rot="0" spcFirstLastPara="1" vertOverflow="ellipsis" vert="horz" wrap="square" anchor="ctr" anchorCtr="1"/>
        <a:lstStyle/>
        <a:p>
          <a:pPr>
            <a:defRPr sz="1000" b="0" i="0" u="none" strike="noStrike" kern="1200" baseline="0">
              <a:solidFill>
                <a:srgbClr val="1A1918"/>
              </a:solidFill>
              <a:latin typeface="微软雅黑" panose="020B0503020204020204" pitchFamily="34" charset="-122"/>
              <a:ea typeface="微软雅黑" panose="020B0503020204020204" pitchFamily="34" charset="-122"/>
              <a:cs typeface="+mn-cs"/>
            </a:defRPr>
          </a:pPr>
          <a:endParaRPr lang="zh-CN"/>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zh-CN"/>
    </a:p>
  </c:txPr>
  <c:externalData r:id="rId3">
    <c:autoUpdate val="0"/>
  </c:externalData>
  <c:userShapes r:id="rId4"/>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drawing1.xml><?xml version="1.0" encoding="utf-8"?>
<c:userShapes xmlns:c="http://schemas.openxmlformats.org/drawingml/2006/chart">
  <cdr:relSizeAnchor xmlns:cdr="http://schemas.openxmlformats.org/drawingml/2006/chartDrawing">
    <cdr:from>
      <cdr:x>0.14921</cdr:x>
      <cdr:y>0</cdr:y>
    </cdr:from>
    <cdr:to>
      <cdr:x>0.90322</cdr:x>
      <cdr:y>0.74063</cdr:y>
    </cdr:to>
    <cdr:grpSp>
      <cdr:nvGrpSpPr>
        <cdr:cNvPr id="10" name="组合 9">
          <a:extLst xmlns:a="http://schemas.openxmlformats.org/drawingml/2006/main">
            <a:ext uri="{FF2B5EF4-FFF2-40B4-BE49-F238E27FC236}">
              <a16:creationId xmlns:a16="http://schemas.microsoft.com/office/drawing/2014/main" id="{E3187E8A-8284-4590-B9F0-9F17C68F7DE8}"/>
            </a:ext>
          </a:extLst>
        </cdr:cNvPr>
        <cdr:cNvGrpSpPr/>
      </cdr:nvGrpSpPr>
      <cdr:grpSpPr>
        <a:xfrm xmlns:a="http://schemas.openxmlformats.org/drawingml/2006/main">
          <a:off x="663805" y="0"/>
          <a:ext cx="3354436" cy="1183350"/>
          <a:chOff x="632482" y="0"/>
          <a:chExt cx="3196056" cy="1120775"/>
        </a:xfrm>
      </cdr:grpSpPr>
      <cdr:cxnSp macro="">
        <cdr:nvCxnSpPr>
          <cdr:cNvPr id="3" name="直接连接符 2">
            <a:extLst xmlns:a="http://schemas.openxmlformats.org/drawingml/2006/main">
              <a:ext uri="{FF2B5EF4-FFF2-40B4-BE49-F238E27FC236}">
                <a16:creationId xmlns:a16="http://schemas.microsoft.com/office/drawing/2014/main" id="{0F9E3074-4824-41E8-A6CE-9794648C4C61}"/>
              </a:ext>
            </a:extLst>
          </cdr:cNvPr>
          <cdr:cNvCxnSpPr/>
        </cdr:nvCxnSpPr>
        <cdr:spPr>
          <a:xfrm xmlns:a="http://schemas.openxmlformats.org/drawingml/2006/main">
            <a:off x="632482" y="0"/>
            <a:ext cx="0" cy="1120775"/>
          </a:xfrm>
          <a:prstGeom xmlns:a="http://schemas.openxmlformats.org/drawingml/2006/main" prst="line">
            <a:avLst/>
          </a:prstGeom>
          <a:ln xmlns:a="http://schemas.openxmlformats.org/drawingml/2006/main" w="12700">
            <a:solidFill>
              <a:srgbClr val="1A1918"/>
            </a:solidFill>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cxnSp macro="">
        <cdr:nvCxnSpPr>
          <cdr:cNvPr id="6" name="直接连接符 5">
            <a:extLst xmlns:a="http://schemas.openxmlformats.org/drawingml/2006/main">
              <a:ext uri="{FF2B5EF4-FFF2-40B4-BE49-F238E27FC236}">
                <a16:creationId xmlns:a16="http://schemas.microsoft.com/office/drawing/2014/main" id="{A1475F10-03AB-4DB4-93A9-1F09C5565A73}"/>
              </a:ext>
            </a:extLst>
          </cdr:cNvPr>
          <cdr:cNvCxnSpPr/>
        </cdr:nvCxnSpPr>
        <cdr:spPr>
          <a:xfrm xmlns:a="http://schemas.openxmlformats.org/drawingml/2006/main">
            <a:off x="632482" y="1113986"/>
            <a:ext cx="3196056" cy="0"/>
          </a:xfrm>
          <a:prstGeom xmlns:a="http://schemas.openxmlformats.org/drawingml/2006/main" prst="line">
            <a:avLst/>
          </a:prstGeom>
          <a:ln xmlns:a="http://schemas.openxmlformats.org/drawingml/2006/main" w="12700">
            <a:solidFill>
              <a:srgbClr val="1A1918"/>
            </a:solidFill>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grpSp>
  </cdr:relSizeAnchor>
</c:userShape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2949788" cy="498693"/>
          </a:xfrm>
          <a:prstGeom prst="rect">
            <a:avLst/>
          </a:prstGeom>
        </p:spPr>
        <p:txBody>
          <a:bodyPr vert="horz" lIns="94640" tIns="47320" rIns="94640" bIns="47320" rtlCol="0"/>
          <a:lstStyle>
            <a:lvl1pPr algn="l">
              <a:defRPr sz="1200"/>
            </a:lvl1pPr>
          </a:lstStyle>
          <a:p>
            <a:endParaRPr lang="en-US"/>
          </a:p>
        </p:txBody>
      </p:sp>
      <p:sp>
        <p:nvSpPr>
          <p:cNvPr id="3" name="Date Placeholder 2"/>
          <p:cNvSpPr>
            <a:spLocks noGrp="1"/>
          </p:cNvSpPr>
          <p:nvPr>
            <p:ph type="dt" idx="1"/>
          </p:nvPr>
        </p:nvSpPr>
        <p:spPr>
          <a:xfrm>
            <a:off x="3855838" y="1"/>
            <a:ext cx="2949788" cy="498693"/>
          </a:xfrm>
          <a:prstGeom prst="rect">
            <a:avLst/>
          </a:prstGeom>
        </p:spPr>
        <p:txBody>
          <a:bodyPr vert="horz" lIns="94640" tIns="47320" rIns="94640" bIns="47320" rtlCol="0"/>
          <a:lstStyle>
            <a:lvl1pPr algn="r">
              <a:defRPr sz="1200"/>
            </a:lvl1pPr>
          </a:lstStyle>
          <a:p>
            <a:fld id="{625DEF87-78CF-4C57-A0B1-A9406068048C}" type="datetimeFigureOut">
              <a:rPr lang="en-US" smtClean="0"/>
              <a:t>7/14/2023</a:t>
            </a:fld>
            <a:endParaRPr lang="en-US"/>
          </a:p>
        </p:txBody>
      </p:sp>
      <p:sp>
        <p:nvSpPr>
          <p:cNvPr id="4" name="Slide Image Placeholder 3"/>
          <p:cNvSpPr>
            <a:spLocks noGrp="1" noRot="1" noChangeAspect="1"/>
          </p:cNvSpPr>
          <p:nvPr>
            <p:ph type="sldImg" idx="2"/>
          </p:nvPr>
        </p:nvSpPr>
        <p:spPr>
          <a:xfrm>
            <a:off x="422275" y="1243013"/>
            <a:ext cx="5962650" cy="3354387"/>
          </a:xfrm>
          <a:prstGeom prst="rect">
            <a:avLst/>
          </a:prstGeom>
          <a:noFill/>
          <a:ln w="12700">
            <a:solidFill>
              <a:prstClr val="black"/>
            </a:solidFill>
          </a:ln>
        </p:spPr>
        <p:txBody>
          <a:bodyPr vert="horz" lIns="94640" tIns="47320" rIns="94640" bIns="47320" rtlCol="0" anchor="ctr"/>
          <a:lstStyle/>
          <a:p>
            <a:endParaRPr lang="en-US"/>
          </a:p>
        </p:txBody>
      </p:sp>
      <p:sp>
        <p:nvSpPr>
          <p:cNvPr id="5" name="Notes Placeholder 4"/>
          <p:cNvSpPr>
            <a:spLocks noGrp="1"/>
          </p:cNvSpPr>
          <p:nvPr>
            <p:ph type="body" sz="quarter" idx="3"/>
          </p:nvPr>
        </p:nvSpPr>
        <p:spPr>
          <a:xfrm>
            <a:off x="680721" y="4783308"/>
            <a:ext cx="5445760" cy="3913615"/>
          </a:xfrm>
          <a:prstGeom prst="rect">
            <a:avLst/>
          </a:prstGeom>
        </p:spPr>
        <p:txBody>
          <a:bodyPr vert="horz" lIns="94640" tIns="47320" rIns="94640" bIns="473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9440647"/>
            <a:ext cx="2949788" cy="498692"/>
          </a:xfrm>
          <a:prstGeom prst="rect">
            <a:avLst/>
          </a:prstGeom>
        </p:spPr>
        <p:txBody>
          <a:bodyPr vert="horz" lIns="94640" tIns="47320" rIns="94640" bIns="47320" rtlCol="0" anchor="b"/>
          <a:lstStyle>
            <a:lvl1pPr algn="l">
              <a:defRPr sz="1200"/>
            </a:lvl1pPr>
          </a:lstStyle>
          <a:p>
            <a:endParaRPr lang="en-US"/>
          </a:p>
        </p:txBody>
      </p:sp>
      <p:sp>
        <p:nvSpPr>
          <p:cNvPr id="7" name="Slide Number Placeholder 6"/>
          <p:cNvSpPr>
            <a:spLocks noGrp="1"/>
          </p:cNvSpPr>
          <p:nvPr>
            <p:ph type="sldNum" sz="quarter" idx="5"/>
          </p:nvPr>
        </p:nvSpPr>
        <p:spPr>
          <a:xfrm>
            <a:off x="3855838" y="9440647"/>
            <a:ext cx="2949788" cy="498692"/>
          </a:xfrm>
          <a:prstGeom prst="rect">
            <a:avLst/>
          </a:prstGeom>
        </p:spPr>
        <p:txBody>
          <a:bodyPr vert="horz" lIns="94640" tIns="47320" rIns="94640" bIns="47320" rtlCol="0" anchor="b"/>
          <a:lstStyle>
            <a:lvl1pPr algn="r">
              <a:defRPr sz="1200"/>
            </a:lvl1pPr>
          </a:lstStyle>
          <a:p>
            <a:fld id="{49E0EA7B-6822-4EC8-8C65-EACC542A1394}" type="slidenum">
              <a:rPr lang="en-US" smtClean="0"/>
              <a:t>‹#›</a:t>
            </a:fld>
            <a:endParaRPr lang="en-US"/>
          </a:p>
        </p:txBody>
      </p:sp>
    </p:spTree>
    <p:extLst>
      <p:ext uri="{BB962C8B-B14F-4D97-AF65-F5344CB8AC3E}">
        <p14:creationId xmlns:p14="http://schemas.microsoft.com/office/powerpoint/2010/main" val="258459191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JP" dirty="0"/>
          </a:p>
        </p:txBody>
      </p:sp>
      <p:sp>
        <p:nvSpPr>
          <p:cNvPr id="4" name="Slide Number Placeholder 3"/>
          <p:cNvSpPr>
            <a:spLocks noGrp="1"/>
          </p:cNvSpPr>
          <p:nvPr>
            <p:ph type="sldNum" sz="quarter" idx="5"/>
          </p:nvPr>
        </p:nvSpPr>
        <p:spPr/>
        <p:txBody>
          <a:bodyPr/>
          <a:lstStyle/>
          <a:p>
            <a:fld id="{49E0EA7B-6822-4EC8-8C65-EACC542A1394}" type="slidenum">
              <a:rPr lang="en-US" smtClean="0"/>
              <a:t>1</a:t>
            </a:fld>
            <a:endParaRPr lang="en-US"/>
          </a:p>
        </p:txBody>
      </p:sp>
    </p:spTree>
    <p:extLst>
      <p:ext uri="{BB962C8B-B14F-4D97-AF65-F5344CB8AC3E}">
        <p14:creationId xmlns:p14="http://schemas.microsoft.com/office/powerpoint/2010/main" val="121194056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defTabSz="946404">
              <a:defRPr/>
            </a:pPr>
            <a:fld id="{CEDB620F-9065-4E0D-8D9D-4F204AB69C9B}" type="slidenum">
              <a:rPr kumimoji="1" lang="ja-JP" altLang="en-US">
                <a:solidFill>
                  <a:prstClr val="black"/>
                </a:solidFill>
                <a:latin typeface="Calibri" panose="020F0502020204030204"/>
                <a:ea typeface="游ゴシック" panose="020B0400000000000000" pitchFamily="50" charset="-128"/>
              </a:rPr>
              <a:pPr defTabSz="946404">
                <a:defRPr/>
              </a:pPr>
              <a:t>2</a:t>
            </a:fld>
            <a:endParaRPr kumimoji="1" lang="ja-JP" altLang="en-US">
              <a:solidFill>
                <a:prstClr val="black"/>
              </a:solidFill>
              <a:latin typeface="Calibri" panose="020F0502020204030204"/>
              <a:ea typeface="游ゴシック" panose="020B0400000000000000" pitchFamily="50" charset="-128"/>
            </a:endParaRPr>
          </a:p>
        </p:txBody>
      </p:sp>
    </p:spTree>
    <p:extLst>
      <p:ext uri="{BB962C8B-B14F-4D97-AF65-F5344CB8AC3E}">
        <p14:creationId xmlns:p14="http://schemas.microsoft.com/office/powerpoint/2010/main" val="47932616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defTabSz="946404">
              <a:defRPr/>
            </a:pPr>
            <a:fld id="{CEDB620F-9065-4E0D-8D9D-4F204AB69C9B}" type="slidenum">
              <a:rPr kumimoji="1" lang="ja-JP" altLang="en-US">
                <a:solidFill>
                  <a:prstClr val="black"/>
                </a:solidFill>
                <a:latin typeface="Calibri" panose="020F0502020204030204"/>
                <a:ea typeface="游ゴシック" panose="020B0400000000000000" pitchFamily="50" charset="-128"/>
              </a:rPr>
              <a:pPr defTabSz="946404">
                <a:defRPr/>
              </a:pPr>
              <a:t>3</a:t>
            </a:fld>
            <a:endParaRPr kumimoji="1" lang="ja-JP" altLang="en-US">
              <a:solidFill>
                <a:prstClr val="black"/>
              </a:solidFill>
              <a:latin typeface="Calibri" panose="020F0502020204030204"/>
              <a:ea typeface="游ゴシック" panose="020B0400000000000000" pitchFamily="50" charset="-128"/>
            </a:endParaRPr>
          </a:p>
        </p:txBody>
      </p:sp>
    </p:spTree>
    <p:extLst>
      <p:ext uri="{BB962C8B-B14F-4D97-AF65-F5344CB8AC3E}">
        <p14:creationId xmlns:p14="http://schemas.microsoft.com/office/powerpoint/2010/main" val="163625028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defTabSz="946404">
              <a:defRPr/>
            </a:pPr>
            <a:fld id="{CEDB620F-9065-4E0D-8D9D-4F204AB69C9B}" type="slidenum">
              <a:rPr kumimoji="1" lang="ja-JP" altLang="en-US">
                <a:solidFill>
                  <a:prstClr val="black"/>
                </a:solidFill>
                <a:latin typeface="Calibri" panose="020F0502020204030204"/>
                <a:ea typeface="游ゴシック" panose="020B0400000000000000" pitchFamily="50" charset="-128"/>
              </a:rPr>
              <a:pPr defTabSz="946404">
                <a:defRPr/>
              </a:pPr>
              <a:t>4</a:t>
            </a:fld>
            <a:endParaRPr kumimoji="1" lang="ja-JP" altLang="en-US">
              <a:solidFill>
                <a:prstClr val="black"/>
              </a:solidFill>
              <a:latin typeface="Calibri" panose="020F0502020204030204"/>
              <a:ea typeface="游ゴシック" panose="020B0400000000000000" pitchFamily="50" charset="-128"/>
            </a:endParaRPr>
          </a:p>
        </p:txBody>
      </p:sp>
    </p:spTree>
    <p:extLst>
      <p:ext uri="{BB962C8B-B14F-4D97-AF65-F5344CB8AC3E}">
        <p14:creationId xmlns:p14="http://schemas.microsoft.com/office/powerpoint/2010/main" val="369478566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defTabSz="946404">
              <a:defRPr/>
            </a:pPr>
            <a:fld id="{CEDB620F-9065-4E0D-8D9D-4F204AB69C9B}" type="slidenum">
              <a:rPr kumimoji="1" lang="ja-JP" altLang="en-US">
                <a:solidFill>
                  <a:prstClr val="black"/>
                </a:solidFill>
                <a:latin typeface="Calibri" panose="020F0502020204030204"/>
                <a:ea typeface="游ゴシック" panose="020B0400000000000000" pitchFamily="50" charset="-128"/>
              </a:rPr>
              <a:pPr defTabSz="946404">
                <a:defRPr/>
              </a:pPr>
              <a:t>5</a:t>
            </a:fld>
            <a:endParaRPr kumimoji="1" lang="ja-JP" altLang="en-US">
              <a:solidFill>
                <a:prstClr val="black"/>
              </a:solidFill>
              <a:latin typeface="Calibri" panose="020F0502020204030204"/>
              <a:ea typeface="游ゴシック" panose="020B0400000000000000" pitchFamily="50" charset="-128"/>
            </a:endParaRPr>
          </a:p>
        </p:txBody>
      </p:sp>
    </p:spTree>
    <p:extLst>
      <p:ext uri="{BB962C8B-B14F-4D97-AF65-F5344CB8AC3E}">
        <p14:creationId xmlns:p14="http://schemas.microsoft.com/office/powerpoint/2010/main" val="36927295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defTabSz="946404">
              <a:defRPr/>
            </a:pPr>
            <a:fld id="{CEDB620F-9065-4E0D-8D9D-4F204AB69C9B}" type="slidenum">
              <a:rPr kumimoji="1" lang="ja-JP" altLang="en-US">
                <a:solidFill>
                  <a:prstClr val="black"/>
                </a:solidFill>
                <a:latin typeface="Calibri" panose="020F0502020204030204"/>
                <a:ea typeface="游ゴシック" panose="020B0400000000000000" pitchFamily="50" charset="-128"/>
              </a:rPr>
              <a:pPr defTabSz="946404">
                <a:defRPr/>
              </a:pPr>
              <a:t>6</a:t>
            </a:fld>
            <a:endParaRPr kumimoji="1" lang="ja-JP" altLang="en-US">
              <a:solidFill>
                <a:prstClr val="black"/>
              </a:solidFill>
              <a:latin typeface="Calibri" panose="020F0502020204030204"/>
              <a:ea typeface="游ゴシック" panose="020B0400000000000000" pitchFamily="50" charset="-128"/>
            </a:endParaRPr>
          </a:p>
        </p:txBody>
      </p:sp>
    </p:spTree>
    <p:extLst>
      <p:ext uri="{BB962C8B-B14F-4D97-AF65-F5344CB8AC3E}">
        <p14:creationId xmlns:p14="http://schemas.microsoft.com/office/powerpoint/2010/main" val="210180034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defTabSz="946404">
              <a:defRPr/>
            </a:pPr>
            <a:fld id="{CEDB620F-9065-4E0D-8D9D-4F204AB69C9B}" type="slidenum">
              <a:rPr kumimoji="1" lang="ja-JP" altLang="en-US">
                <a:solidFill>
                  <a:prstClr val="black"/>
                </a:solidFill>
                <a:latin typeface="Calibri" panose="020F0502020204030204"/>
                <a:ea typeface="游ゴシック" panose="020B0400000000000000" pitchFamily="50" charset="-128"/>
              </a:rPr>
              <a:pPr defTabSz="946404">
                <a:defRPr/>
              </a:pPr>
              <a:t>7</a:t>
            </a:fld>
            <a:endParaRPr kumimoji="1" lang="ja-JP" altLang="en-US">
              <a:solidFill>
                <a:prstClr val="black"/>
              </a:solidFill>
              <a:latin typeface="Calibri" panose="020F0502020204030204"/>
              <a:ea typeface="游ゴシック" panose="020B0400000000000000" pitchFamily="50" charset="-128"/>
            </a:endParaRPr>
          </a:p>
        </p:txBody>
      </p:sp>
    </p:spTree>
    <p:extLst>
      <p:ext uri="{BB962C8B-B14F-4D97-AF65-F5344CB8AC3E}">
        <p14:creationId xmlns:p14="http://schemas.microsoft.com/office/powerpoint/2010/main" val="313128037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defTabSz="946404">
              <a:defRPr/>
            </a:pPr>
            <a:fld id="{CEDB620F-9065-4E0D-8D9D-4F204AB69C9B}" type="slidenum">
              <a:rPr kumimoji="1" lang="ja-JP" altLang="en-US">
                <a:solidFill>
                  <a:prstClr val="black"/>
                </a:solidFill>
                <a:latin typeface="Calibri" panose="020F0502020204030204"/>
                <a:ea typeface="游ゴシック" panose="020B0400000000000000" pitchFamily="50" charset="-128"/>
              </a:rPr>
              <a:pPr defTabSz="946404">
                <a:defRPr/>
              </a:pPr>
              <a:t>8</a:t>
            </a:fld>
            <a:endParaRPr kumimoji="1" lang="ja-JP" altLang="en-US">
              <a:solidFill>
                <a:prstClr val="black"/>
              </a:solidFill>
              <a:latin typeface="Calibri" panose="020F0502020204030204"/>
              <a:ea typeface="游ゴシック" panose="020B0400000000000000" pitchFamily="50" charset="-128"/>
            </a:endParaRPr>
          </a:p>
        </p:txBody>
      </p:sp>
    </p:spTree>
    <p:extLst>
      <p:ext uri="{BB962C8B-B14F-4D97-AF65-F5344CB8AC3E}">
        <p14:creationId xmlns:p14="http://schemas.microsoft.com/office/powerpoint/2010/main" val="317604508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Page 1">
    <p:spTree>
      <p:nvGrpSpPr>
        <p:cNvPr id="1" name=""/>
        <p:cNvGrpSpPr/>
        <p:nvPr/>
      </p:nvGrpSpPr>
      <p:grpSpPr>
        <a:xfrm>
          <a:off x="0" y="0"/>
          <a:ext cx="0" cy="0"/>
          <a:chOff x="0" y="0"/>
          <a:chExt cx="0" cy="0"/>
        </a:xfrm>
      </p:grpSpPr>
      <p:sp>
        <p:nvSpPr>
          <p:cNvPr id="6" name="Rectangle 6">
            <a:extLst>
              <a:ext uri="{FF2B5EF4-FFF2-40B4-BE49-F238E27FC236}">
                <a16:creationId xmlns:a16="http://schemas.microsoft.com/office/drawing/2014/main" id="{82B9CECE-7D8F-8C4A-AFC6-A963B1F05594}"/>
              </a:ext>
            </a:extLst>
          </p:cNvPr>
          <p:cNvSpPr/>
          <p:nvPr userDrawn="1"/>
        </p:nvSpPr>
        <p:spPr>
          <a:xfrm>
            <a:off x="0" y="61263"/>
            <a:ext cx="255181" cy="84902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kumimoji="0" lang="en-US" altLang="en-US" sz="1800">
              <a:solidFill>
                <a:schemeClr val="accent1"/>
              </a:solidFill>
            </a:endParaRPr>
          </a:p>
        </p:txBody>
      </p:sp>
      <p:sp>
        <p:nvSpPr>
          <p:cNvPr id="10" name="Picture Placeholder 9">
            <a:extLst>
              <a:ext uri="{FF2B5EF4-FFF2-40B4-BE49-F238E27FC236}">
                <a16:creationId xmlns:a16="http://schemas.microsoft.com/office/drawing/2014/main" id="{91E79114-5B74-9547-8292-DAB8965D43FD}"/>
              </a:ext>
            </a:extLst>
          </p:cNvPr>
          <p:cNvSpPr>
            <a:spLocks noGrp="1"/>
          </p:cNvSpPr>
          <p:nvPr>
            <p:ph type="pic" sz="quarter" idx="10"/>
          </p:nvPr>
        </p:nvSpPr>
        <p:spPr>
          <a:xfrm>
            <a:off x="749005" y="506"/>
            <a:ext cx="11459359" cy="3428494"/>
          </a:xfrm>
          <a:custGeom>
            <a:avLst/>
            <a:gdLst>
              <a:gd name="connsiteX0" fmla="*/ 0 w 10888662"/>
              <a:gd name="connsiteY0" fmla="*/ 579722 h 6442075"/>
              <a:gd name="connsiteX1" fmla="*/ 579722 w 10888662"/>
              <a:gd name="connsiteY1" fmla="*/ 0 h 6442075"/>
              <a:gd name="connsiteX2" fmla="*/ 10308940 w 10888662"/>
              <a:gd name="connsiteY2" fmla="*/ 0 h 6442075"/>
              <a:gd name="connsiteX3" fmla="*/ 10888662 w 10888662"/>
              <a:gd name="connsiteY3" fmla="*/ 579722 h 6442075"/>
              <a:gd name="connsiteX4" fmla="*/ 10888662 w 10888662"/>
              <a:gd name="connsiteY4" fmla="*/ 5862353 h 6442075"/>
              <a:gd name="connsiteX5" fmla="*/ 10308940 w 10888662"/>
              <a:gd name="connsiteY5" fmla="*/ 6442075 h 6442075"/>
              <a:gd name="connsiteX6" fmla="*/ 579722 w 10888662"/>
              <a:gd name="connsiteY6" fmla="*/ 6442075 h 6442075"/>
              <a:gd name="connsiteX7" fmla="*/ 0 w 10888662"/>
              <a:gd name="connsiteY7" fmla="*/ 5862353 h 6442075"/>
              <a:gd name="connsiteX8" fmla="*/ 0 w 10888662"/>
              <a:gd name="connsiteY8" fmla="*/ 579722 h 6442075"/>
              <a:gd name="connsiteX0" fmla="*/ 0 w 10888662"/>
              <a:gd name="connsiteY0" fmla="*/ 659657 h 6522010"/>
              <a:gd name="connsiteX1" fmla="*/ 10308940 w 10888662"/>
              <a:gd name="connsiteY1" fmla="*/ 79935 h 6522010"/>
              <a:gd name="connsiteX2" fmla="*/ 10888662 w 10888662"/>
              <a:gd name="connsiteY2" fmla="*/ 659657 h 6522010"/>
              <a:gd name="connsiteX3" fmla="*/ 10888662 w 10888662"/>
              <a:gd name="connsiteY3" fmla="*/ 5942288 h 6522010"/>
              <a:gd name="connsiteX4" fmla="*/ 10308940 w 10888662"/>
              <a:gd name="connsiteY4" fmla="*/ 6522010 h 6522010"/>
              <a:gd name="connsiteX5" fmla="*/ 579722 w 10888662"/>
              <a:gd name="connsiteY5" fmla="*/ 6522010 h 6522010"/>
              <a:gd name="connsiteX6" fmla="*/ 0 w 10888662"/>
              <a:gd name="connsiteY6" fmla="*/ 5942288 h 6522010"/>
              <a:gd name="connsiteX7" fmla="*/ 0 w 10888662"/>
              <a:gd name="connsiteY7" fmla="*/ 659657 h 6522010"/>
              <a:gd name="connsiteX0" fmla="*/ 0 w 10888662"/>
              <a:gd name="connsiteY0" fmla="*/ 579722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579722 h 6442075"/>
              <a:gd name="connsiteX0" fmla="*/ 0 w 10888662"/>
              <a:gd name="connsiteY0" fmla="*/ 129257 h 6569679"/>
              <a:gd name="connsiteX1" fmla="*/ 10308940 w 10888662"/>
              <a:gd name="connsiteY1" fmla="*/ 127604 h 6569679"/>
              <a:gd name="connsiteX2" fmla="*/ 10888662 w 10888662"/>
              <a:gd name="connsiteY2" fmla="*/ 707326 h 6569679"/>
              <a:gd name="connsiteX3" fmla="*/ 10888662 w 10888662"/>
              <a:gd name="connsiteY3" fmla="*/ 5989957 h 6569679"/>
              <a:gd name="connsiteX4" fmla="*/ 10308940 w 10888662"/>
              <a:gd name="connsiteY4" fmla="*/ 6569679 h 6569679"/>
              <a:gd name="connsiteX5" fmla="*/ 579722 w 10888662"/>
              <a:gd name="connsiteY5" fmla="*/ 6569679 h 6569679"/>
              <a:gd name="connsiteX6" fmla="*/ 0 w 10888662"/>
              <a:gd name="connsiteY6" fmla="*/ 5989957 h 6569679"/>
              <a:gd name="connsiteX7" fmla="*/ 0 w 10888662"/>
              <a:gd name="connsiteY7" fmla="*/ 129257 h 6569679"/>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9657299 w 10888662"/>
              <a:gd name="connsiteY4" fmla="*/ 55276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522010"/>
              <a:gd name="connsiteX1" fmla="*/ 10308940 w 10888662"/>
              <a:gd name="connsiteY1" fmla="*/ 0 h 6522010"/>
              <a:gd name="connsiteX2" fmla="*/ 10888662 w 10888662"/>
              <a:gd name="connsiteY2" fmla="*/ 579722 h 6522010"/>
              <a:gd name="connsiteX3" fmla="*/ 10888662 w 10888662"/>
              <a:gd name="connsiteY3" fmla="*/ 5862353 h 6522010"/>
              <a:gd name="connsiteX4" fmla="*/ 579722 w 10888662"/>
              <a:gd name="connsiteY4" fmla="*/ 6442075 h 6522010"/>
              <a:gd name="connsiteX5" fmla="*/ 0 w 10888662"/>
              <a:gd name="connsiteY5" fmla="*/ 5862353 h 6522010"/>
              <a:gd name="connsiteX6" fmla="*/ 0 w 10888662"/>
              <a:gd name="connsiteY6" fmla="*/ 1653 h 6522010"/>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579722 w 10888662"/>
              <a:gd name="connsiteY4" fmla="*/ 6442075 h 6442075"/>
              <a:gd name="connsiteX5" fmla="*/ 0 w 10888662"/>
              <a:gd name="connsiteY5" fmla="*/ 5862353 h 6442075"/>
              <a:gd name="connsiteX6" fmla="*/ 0 w 10888662"/>
              <a:gd name="connsiteY6" fmla="*/ 1653 h 6442075"/>
              <a:gd name="connsiteX0" fmla="*/ 0 w 10888662"/>
              <a:gd name="connsiteY0" fmla="*/ 1653 h 6585432"/>
              <a:gd name="connsiteX1" fmla="*/ 10308940 w 10888662"/>
              <a:gd name="connsiteY1" fmla="*/ 0 h 6585432"/>
              <a:gd name="connsiteX2" fmla="*/ 10888662 w 10888662"/>
              <a:gd name="connsiteY2" fmla="*/ 579722 h 6585432"/>
              <a:gd name="connsiteX3" fmla="*/ 10878151 w 10888662"/>
              <a:gd name="connsiteY3" fmla="*/ 6461442 h 6585432"/>
              <a:gd name="connsiteX4" fmla="*/ 579722 w 10888662"/>
              <a:gd name="connsiteY4" fmla="*/ 6442075 h 6585432"/>
              <a:gd name="connsiteX5" fmla="*/ 0 w 10888662"/>
              <a:gd name="connsiteY5" fmla="*/ 5862353 h 6585432"/>
              <a:gd name="connsiteX6" fmla="*/ 0 w 10888662"/>
              <a:gd name="connsiteY6" fmla="*/ 1653 h 6585432"/>
              <a:gd name="connsiteX0" fmla="*/ 0 w 10888662"/>
              <a:gd name="connsiteY0" fmla="*/ 1653 h 6577502"/>
              <a:gd name="connsiteX1" fmla="*/ 10308940 w 10888662"/>
              <a:gd name="connsiteY1" fmla="*/ 0 h 6577502"/>
              <a:gd name="connsiteX2" fmla="*/ 10888662 w 10888662"/>
              <a:gd name="connsiteY2" fmla="*/ 579722 h 6577502"/>
              <a:gd name="connsiteX3" fmla="*/ 10878151 w 10888662"/>
              <a:gd name="connsiteY3" fmla="*/ 6450932 h 6577502"/>
              <a:gd name="connsiteX4" fmla="*/ 579722 w 10888662"/>
              <a:gd name="connsiteY4" fmla="*/ 6442075 h 6577502"/>
              <a:gd name="connsiteX5" fmla="*/ 0 w 10888662"/>
              <a:gd name="connsiteY5" fmla="*/ 5862353 h 6577502"/>
              <a:gd name="connsiteX6" fmla="*/ 0 w 10888662"/>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0888662"/>
              <a:gd name="connsiteY0" fmla="*/ 1653 h 6450932"/>
              <a:gd name="connsiteX1" fmla="*/ 10308940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0999550"/>
              <a:gd name="connsiteY0" fmla="*/ 1653 h 6450932"/>
              <a:gd name="connsiteX1" fmla="*/ 10844968 w 10999550"/>
              <a:gd name="connsiteY1" fmla="*/ 0 h 6450932"/>
              <a:gd name="connsiteX2" fmla="*/ 10888662 w 10999550"/>
              <a:gd name="connsiteY2" fmla="*/ 579722 h 6450932"/>
              <a:gd name="connsiteX3" fmla="*/ 10878151 w 10999550"/>
              <a:gd name="connsiteY3" fmla="*/ 6450932 h 6450932"/>
              <a:gd name="connsiteX4" fmla="*/ 579722 w 10999550"/>
              <a:gd name="connsiteY4" fmla="*/ 6442075 h 6450932"/>
              <a:gd name="connsiteX5" fmla="*/ 0 w 10999550"/>
              <a:gd name="connsiteY5" fmla="*/ 5862353 h 6450932"/>
              <a:gd name="connsiteX6" fmla="*/ 0 w 10999550"/>
              <a:gd name="connsiteY6" fmla="*/ 1653 h 6450932"/>
              <a:gd name="connsiteX0" fmla="*/ 0 w 11022020"/>
              <a:gd name="connsiteY0" fmla="*/ 1653 h 6450932"/>
              <a:gd name="connsiteX1" fmla="*/ 10876499 w 11022020"/>
              <a:gd name="connsiteY1" fmla="*/ 0 h 6450932"/>
              <a:gd name="connsiteX2" fmla="*/ 10888662 w 11022020"/>
              <a:gd name="connsiteY2" fmla="*/ 579722 h 6450932"/>
              <a:gd name="connsiteX3" fmla="*/ 10878151 w 11022020"/>
              <a:gd name="connsiteY3" fmla="*/ 6450932 h 6450932"/>
              <a:gd name="connsiteX4" fmla="*/ 579722 w 11022020"/>
              <a:gd name="connsiteY4" fmla="*/ 6442075 h 6450932"/>
              <a:gd name="connsiteX5" fmla="*/ 0 w 11022020"/>
              <a:gd name="connsiteY5" fmla="*/ 5862353 h 6450932"/>
              <a:gd name="connsiteX6" fmla="*/ 0 w 11022020"/>
              <a:gd name="connsiteY6" fmla="*/ 1653 h 6450932"/>
              <a:gd name="connsiteX0" fmla="*/ 0 w 10888662"/>
              <a:gd name="connsiteY0" fmla="*/ 1653 h 6450932"/>
              <a:gd name="connsiteX1" fmla="*/ 10876499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2200990"/>
              <a:gd name="connsiteY0" fmla="*/ 1653 h 6450932"/>
              <a:gd name="connsiteX1" fmla="*/ 10876499 w 12200990"/>
              <a:gd name="connsiteY1" fmla="*/ 0 h 6450932"/>
              <a:gd name="connsiteX2" fmla="*/ 10878151 w 12200990"/>
              <a:gd name="connsiteY2" fmla="*/ 6450932 h 6450932"/>
              <a:gd name="connsiteX3" fmla="*/ 579722 w 12200990"/>
              <a:gd name="connsiteY3" fmla="*/ 6442075 h 6450932"/>
              <a:gd name="connsiteX4" fmla="*/ 0 w 12200990"/>
              <a:gd name="connsiteY4" fmla="*/ 5862353 h 6450932"/>
              <a:gd name="connsiteX5" fmla="*/ 0 w 12200990"/>
              <a:gd name="connsiteY5" fmla="*/ 1653 h 6450932"/>
              <a:gd name="connsiteX0" fmla="*/ 0 w 11640630"/>
              <a:gd name="connsiteY0" fmla="*/ 1653 h 6450932"/>
              <a:gd name="connsiteX1" fmla="*/ 10876499 w 11640630"/>
              <a:gd name="connsiteY1" fmla="*/ 0 h 6450932"/>
              <a:gd name="connsiteX2" fmla="*/ 10878151 w 11640630"/>
              <a:gd name="connsiteY2" fmla="*/ 6450932 h 6450932"/>
              <a:gd name="connsiteX3" fmla="*/ 579722 w 11640630"/>
              <a:gd name="connsiteY3" fmla="*/ 6442075 h 6450932"/>
              <a:gd name="connsiteX4" fmla="*/ 0 w 11640630"/>
              <a:gd name="connsiteY4" fmla="*/ 5862353 h 6450932"/>
              <a:gd name="connsiteX5" fmla="*/ 0 w 11640630"/>
              <a:gd name="connsiteY5" fmla="*/ 1653 h 6450932"/>
              <a:gd name="connsiteX0" fmla="*/ 0 w 10878151"/>
              <a:gd name="connsiteY0" fmla="*/ 1653 h 6450932"/>
              <a:gd name="connsiteX1" fmla="*/ 10876499 w 10878151"/>
              <a:gd name="connsiteY1" fmla="*/ 0 h 6450932"/>
              <a:gd name="connsiteX2" fmla="*/ 10878151 w 10878151"/>
              <a:gd name="connsiteY2" fmla="*/ 6450932 h 6450932"/>
              <a:gd name="connsiteX3" fmla="*/ 579722 w 10878151"/>
              <a:gd name="connsiteY3" fmla="*/ 6442075 h 6450932"/>
              <a:gd name="connsiteX4" fmla="*/ 0 w 10878151"/>
              <a:gd name="connsiteY4" fmla="*/ 5862353 h 6450932"/>
              <a:gd name="connsiteX5" fmla="*/ 0 w 10878151"/>
              <a:gd name="connsiteY5" fmla="*/ 1653 h 6450932"/>
              <a:gd name="connsiteX0" fmla="*/ 0 w 11843451"/>
              <a:gd name="connsiteY0" fmla="*/ 1653 h 6450932"/>
              <a:gd name="connsiteX1" fmla="*/ 11843451 w 11843451"/>
              <a:gd name="connsiteY1" fmla="*/ 0 h 6450932"/>
              <a:gd name="connsiteX2" fmla="*/ 10878151 w 11843451"/>
              <a:gd name="connsiteY2" fmla="*/ 6450932 h 6450932"/>
              <a:gd name="connsiteX3" fmla="*/ 579722 w 11843451"/>
              <a:gd name="connsiteY3" fmla="*/ 6442075 h 6450932"/>
              <a:gd name="connsiteX4" fmla="*/ 0 w 11843451"/>
              <a:gd name="connsiteY4" fmla="*/ 5862353 h 6450932"/>
              <a:gd name="connsiteX5" fmla="*/ 0 w 11843451"/>
              <a:gd name="connsiteY5" fmla="*/ 1653 h 6450932"/>
              <a:gd name="connsiteX0" fmla="*/ 0 w 11855613"/>
              <a:gd name="connsiteY0" fmla="*/ 1653 h 6450932"/>
              <a:gd name="connsiteX1" fmla="*/ 11843451 w 11855613"/>
              <a:gd name="connsiteY1" fmla="*/ 0 h 6450932"/>
              <a:gd name="connsiteX2" fmla="*/ 11855613 w 11855613"/>
              <a:gd name="connsiteY2" fmla="*/ 6450932 h 6450932"/>
              <a:gd name="connsiteX3" fmla="*/ 579722 w 11855613"/>
              <a:gd name="connsiteY3" fmla="*/ 6442075 h 6450932"/>
              <a:gd name="connsiteX4" fmla="*/ 0 w 11855613"/>
              <a:gd name="connsiteY4" fmla="*/ 5862353 h 6450932"/>
              <a:gd name="connsiteX5" fmla="*/ 0 w 11855613"/>
              <a:gd name="connsiteY5" fmla="*/ 1653 h 6450932"/>
              <a:gd name="connsiteX0" fmla="*/ 0 w 11864472"/>
              <a:gd name="connsiteY0" fmla="*/ 1653 h 6450932"/>
              <a:gd name="connsiteX1" fmla="*/ 11864472 w 11864472"/>
              <a:gd name="connsiteY1" fmla="*/ 0 h 6450932"/>
              <a:gd name="connsiteX2" fmla="*/ 11855613 w 11864472"/>
              <a:gd name="connsiteY2" fmla="*/ 6450932 h 6450932"/>
              <a:gd name="connsiteX3" fmla="*/ 579722 w 11864472"/>
              <a:gd name="connsiteY3" fmla="*/ 6442075 h 6450932"/>
              <a:gd name="connsiteX4" fmla="*/ 0 w 11864472"/>
              <a:gd name="connsiteY4" fmla="*/ 5862353 h 6450932"/>
              <a:gd name="connsiteX5" fmla="*/ 0 w 11864472"/>
              <a:gd name="connsiteY5" fmla="*/ 1653 h 6450932"/>
              <a:gd name="connsiteX0" fmla="*/ 0 w 11864472"/>
              <a:gd name="connsiteY0" fmla="*/ 1653 h 6442075"/>
              <a:gd name="connsiteX1" fmla="*/ 11864472 w 11864472"/>
              <a:gd name="connsiteY1" fmla="*/ 0 h 6442075"/>
              <a:gd name="connsiteX2" fmla="*/ 11855613 w 11864472"/>
              <a:gd name="connsiteY2" fmla="*/ 6440421 h 6442075"/>
              <a:gd name="connsiteX3" fmla="*/ 579722 w 11864472"/>
              <a:gd name="connsiteY3" fmla="*/ 6442075 h 6442075"/>
              <a:gd name="connsiteX4" fmla="*/ 0 w 11864472"/>
              <a:gd name="connsiteY4" fmla="*/ 5862353 h 6442075"/>
              <a:gd name="connsiteX5" fmla="*/ 0 w 11864472"/>
              <a:gd name="connsiteY5" fmla="*/ 1653 h 6442075"/>
              <a:gd name="connsiteX0" fmla="*/ 0 w 11864472"/>
              <a:gd name="connsiteY0" fmla="*/ 0 h 6630428"/>
              <a:gd name="connsiteX1" fmla="*/ 11864472 w 11864472"/>
              <a:gd name="connsiteY1" fmla="*/ 188353 h 6630428"/>
              <a:gd name="connsiteX2" fmla="*/ 11855613 w 11864472"/>
              <a:gd name="connsiteY2" fmla="*/ 6628774 h 6630428"/>
              <a:gd name="connsiteX3" fmla="*/ 579722 w 11864472"/>
              <a:gd name="connsiteY3" fmla="*/ 6630428 h 6630428"/>
              <a:gd name="connsiteX4" fmla="*/ 0 w 11864472"/>
              <a:gd name="connsiteY4" fmla="*/ 6050706 h 6630428"/>
              <a:gd name="connsiteX5" fmla="*/ 0 w 11864472"/>
              <a:gd name="connsiteY5" fmla="*/ 0 h 6630428"/>
              <a:gd name="connsiteX0" fmla="*/ 0 w 11864472"/>
              <a:gd name="connsiteY0" fmla="*/ 13527 h 6643955"/>
              <a:gd name="connsiteX1" fmla="*/ 11864472 w 11864472"/>
              <a:gd name="connsiteY1" fmla="*/ 0 h 6643955"/>
              <a:gd name="connsiteX2" fmla="*/ 11855613 w 11864472"/>
              <a:gd name="connsiteY2" fmla="*/ 6642301 h 6643955"/>
              <a:gd name="connsiteX3" fmla="*/ 579722 w 11864472"/>
              <a:gd name="connsiteY3" fmla="*/ 6643955 h 6643955"/>
              <a:gd name="connsiteX4" fmla="*/ 0 w 11864472"/>
              <a:gd name="connsiteY4" fmla="*/ 6064233 h 6643955"/>
              <a:gd name="connsiteX5" fmla="*/ 0 w 11864472"/>
              <a:gd name="connsiteY5" fmla="*/ 13527 h 6643955"/>
              <a:gd name="connsiteX0" fmla="*/ 0 w 11864472"/>
              <a:gd name="connsiteY0" fmla="*/ 1319813 h 6643955"/>
              <a:gd name="connsiteX1" fmla="*/ 11864472 w 11864472"/>
              <a:gd name="connsiteY1" fmla="*/ 0 h 6643955"/>
              <a:gd name="connsiteX2" fmla="*/ 11855613 w 11864472"/>
              <a:gd name="connsiteY2" fmla="*/ 6642301 h 6643955"/>
              <a:gd name="connsiteX3" fmla="*/ 579722 w 11864472"/>
              <a:gd name="connsiteY3" fmla="*/ 6643955 h 6643955"/>
              <a:gd name="connsiteX4" fmla="*/ 0 w 11864472"/>
              <a:gd name="connsiteY4" fmla="*/ 6064233 h 6643955"/>
              <a:gd name="connsiteX5" fmla="*/ 0 w 11864472"/>
              <a:gd name="connsiteY5" fmla="*/ 1319813 h 6643955"/>
              <a:gd name="connsiteX0" fmla="*/ 0 w 11864472"/>
              <a:gd name="connsiteY0" fmla="*/ 13527 h 5337669"/>
              <a:gd name="connsiteX1" fmla="*/ 11864472 w 11864472"/>
              <a:gd name="connsiteY1" fmla="*/ 0 h 5337669"/>
              <a:gd name="connsiteX2" fmla="*/ 11855613 w 11864472"/>
              <a:gd name="connsiteY2" fmla="*/ 5336015 h 5337669"/>
              <a:gd name="connsiteX3" fmla="*/ 579722 w 11864472"/>
              <a:gd name="connsiteY3" fmla="*/ 5337669 h 5337669"/>
              <a:gd name="connsiteX4" fmla="*/ 0 w 11864472"/>
              <a:gd name="connsiteY4" fmla="*/ 4757947 h 5337669"/>
              <a:gd name="connsiteX5" fmla="*/ 0 w 11864472"/>
              <a:gd name="connsiteY5" fmla="*/ 13527 h 5337669"/>
              <a:gd name="connsiteX0" fmla="*/ 0 w 11864472"/>
              <a:gd name="connsiteY0" fmla="*/ 1652 h 5337669"/>
              <a:gd name="connsiteX1" fmla="*/ 11864472 w 11864472"/>
              <a:gd name="connsiteY1" fmla="*/ 0 h 5337669"/>
              <a:gd name="connsiteX2" fmla="*/ 11855613 w 11864472"/>
              <a:gd name="connsiteY2" fmla="*/ 5336015 h 5337669"/>
              <a:gd name="connsiteX3" fmla="*/ 579722 w 11864472"/>
              <a:gd name="connsiteY3" fmla="*/ 5337669 h 5337669"/>
              <a:gd name="connsiteX4" fmla="*/ 0 w 11864472"/>
              <a:gd name="connsiteY4" fmla="*/ 4757947 h 5337669"/>
              <a:gd name="connsiteX5" fmla="*/ 0 w 11864472"/>
              <a:gd name="connsiteY5" fmla="*/ 1652 h 5337669"/>
              <a:gd name="connsiteX0" fmla="*/ 0 w 11864472"/>
              <a:gd name="connsiteY0" fmla="*/ 2201927 h 5337669"/>
              <a:gd name="connsiteX1" fmla="*/ 11864472 w 11864472"/>
              <a:gd name="connsiteY1" fmla="*/ 0 h 5337669"/>
              <a:gd name="connsiteX2" fmla="*/ 11855613 w 11864472"/>
              <a:gd name="connsiteY2" fmla="*/ 5336015 h 5337669"/>
              <a:gd name="connsiteX3" fmla="*/ 579722 w 11864472"/>
              <a:gd name="connsiteY3" fmla="*/ 5337669 h 5337669"/>
              <a:gd name="connsiteX4" fmla="*/ 0 w 11864472"/>
              <a:gd name="connsiteY4" fmla="*/ 4757947 h 5337669"/>
              <a:gd name="connsiteX5" fmla="*/ 0 w 11864472"/>
              <a:gd name="connsiteY5" fmla="*/ 2201927 h 5337669"/>
              <a:gd name="connsiteX0" fmla="*/ 0 w 11864472"/>
              <a:gd name="connsiteY0" fmla="*/ 1652 h 3137394"/>
              <a:gd name="connsiteX1" fmla="*/ 11864472 w 11864472"/>
              <a:gd name="connsiteY1" fmla="*/ 0 h 3137394"/>
              <a:gd name="connsiteX2" fmla="*/ 11855613 w 11864472"/>
              <a:gd name="connsiteY2" fmla="*/ 3135740 h 3137394"/>
              <a:gd name="connsiteX3" fmla="*/ 579722 w 11864472"/>
              <a:gd name="connsiteY3" fmla="*/ 3137394 h 3137394"/>
              <a:gd name="connsiteX4" fmla="*/ 0 w 11864472"/>
              <a:gd name="connsiteY4" fmla="*/ 2557672 h 3137394"/>
              <a:gd name="connsiteX5" fmla="*/ 0 w 11864472"/>
              <a:gd name="connsiteY5" fmla="*/ 1652 h 3137394"/>
              <a:gd name="connsiteX0" fmla="*/ 0 w 11864472"/>
              <a:gd name="connsiteY0" fmla="*/ 0 h 3420555"/>
              <a:gd name="connsiteX1" fmla="*/ 11864472 w 11864472"/>
              <a:gd name="connsiteY1" fmla="*/ 283161 h 3420555"/>
              <a:gd name="connsiteX2" fmla="*/ 11855613 w 11864472"/>
              <a:gd name="connsiteY2" fmla="*/ 3418901 h 3420555"/>
              <a:gd name="connsiteX3" fmla="*/ 579722 w 11864472"/>
              <a:gd name="connsiteY3" fmla="*/ 3420555 h 3420555"/>
              <a:gd name="connsiteX4" fmla="*/ 0 w 11864472"/>
              <a:gd name="connsiteY4" fmla="*/ 2840833 h 3420555"/>
              <a:gd name="connsiteX5" fmla="*/ 0 w 11864472"/>
              <a:gd name="connsiteY5" fmla="*/ 0 h 3420555"/>
              <a:gd name="connsiteX0" fmla="*/ 0 w 11864472"/>
              <a:gd name="connsiteY0" fmla="*/ 1652 h 3422207"/>
              <a:gd name="connsiteX1" fmla="*/ 11864472 w 11864472"/>
              <a:gd name="connsiteY1" fmla="*/ 0 h 3422207"/>
              <a:gd name="connsiteX2" fmla="*/ 11855613 w 11864472"/>
              <a:gd name="connsiteY2" fmla="*/ 3420553 h 3422207"/>
              <a:gd name="connsiteX3" fmla="*/ 579722 w 11864472"/>
              <a:gd name="connsiteY3" fmla="*/ 3422207 h 3422207"/>
              <a:gd name="connsiteX4" fmla="*/ 0 w 11864472"/>
              <a:gd name="connsiteY4" fmla="*/ 2842485 h 3422207"/>
              <a:gd name="connsiteX5" fmla="*/ 0 w 11864472"/>
              <a:gd name="connsiteY5" fmla="*/ 1652 h 3422207"/>
              <a:gd name="connsiteX0" fmla="*/ 0 w 11855613"/>
              <a:gd name="connsiteY0" fmla="*/ 0 h 3420555"/>
              <a:gd name="connsiteX1" fmla="*/ 11834492 w 11855613"/>
              <a:gd name="connsiteY1" fmla="*/ 58309 h 3420555"/>
              <a:gd name="connsiteX2" fmla="*/ 11855613 w 11855613"/>
              <a:gd name="connsiteY2" fmla="*/ 3418901 h 3420555"/>
              <a:gd name="connsiteX3" fmla="*/ 579722 w 11855613"/>
              <a:gd name="connsiteY3" fmla="*/ 3420555 h 3420555"/>
              <a:gd name="connsiteX4" fmla="*/ 0 w 11855613"/>
              <a:gd name="connsiteY4" fmla="*/ 2840833 h 3420555"/>
              <a:gd name="connsiteX5" fmla="*/ 0 w 11855613"/>
              <a:gd name="connsiteY5" fmla="*/ 0 h 3420555"/>
              <a:gd name="connsiteX0" fmla="*/ 0 w 11855613"/>
              <a:gd name="connsiteY0" fmla="*/ 1652 h 3362246"/>
              <a:gd name="connsiteX1" fmla="*/ 11834492 w 11855613"/>
              <a:gd name="connsiteY1" fmla="*/ 0 h 3362246"/>
              <a:gd name="connsiteX2" fmla="*/ 11855613 w 11855613"/>
              <a:gd name="connsiteY2" fmla="*/ 3360592 h 3362246"/>
              <a:gd name="connsiteX3" fmla="*/ 579722 w 11855613"/>
              <a:gd name="connsiteY3" fmla="*/ 3362246 h 3362246"/>
              <a:gd name="connsiteX4" fmla="*/ 0 w 11855613"/>
              <a:gd name="connsiteY4" fmla="*/ 2782524 h 3362246"/>
              <a:gd name="connsiteX5" fmla="*/ 0 w 11855613"/>
              <a:gd name="connsiteY5" fmla="*/ 1652 h 3362246"/>
              <a:gd name="connsiteX0" fmla="*/ 0 w 11864473"/>
              <a:gd name="connsiteY0" fmla="*/ 0 h 3360594"/>
              <a:gd name="connsiteX1" fmla="*/ 11864473 w 11864473"/>
              <a:gd name="connsiteY1" fmla="*/ 13338 h 3360594"/>
              <a:gd name="connsiteX2" fmla="*/ 11855613 w 11864473"/>
              <a:gd name="connsiteY2" fmla="*/ 3358940 h 3360594"/>
              <a:gd name="connsiteX3" fmla="*/ 579722 w 11864473"/>
              <a:gd name="connsiteY3" fmla="*/ 3360594 h 3360594"/>
              <a:gd name="connsiteX4" fmla="*/ 0 w 11864473"/>
              <a:gd name="connsiteY4" fmla="*/ 2780872 h 3360594"/>
              <a:gd name="connsiteX5" fmla="*/ 0 w 11864473"/>
              <a:gd name="connsiteY5" fmla="*/ 0 h 3360594"/>
              <a:gd name="connsiteX0" fmla="*/ 0 w 11864473"/>
              <a:gd name="connsiteY0" fmla="*/ 1652 h 3362246"/>
              <a:gd name="connsiteX1" fmla="*/ 11864473 w 11864473"/>
              <a:gd name="connsiteY1" fmla="*/ 0 h 3362246"/>
              <a:gd name="connsiteX2" fmla="*/ 11855613 w 11864473"/>
              <a:gd name="connsiteY2" fmla="*/ 3360592 h 3362246"/>
              <a:gd name="connsiteX3" fmla="*/ 579722 w 11864473"/>
              <a:gd name="connsiteY3" fmla="*/ 3362246 h 3362246"/>
              <a:gd name="connsiteX4" fmla="*/ 0 w 11864473"/>
              <a:gd name="connsiteY4" fmla="*/ 2782524 h 3362246"/>
              <a:gd name="connsiteX5" fmla="*/ 0 w 11864473"/>
              <a:gd name="connsiteY5" fmla="*/ 1652 h 3362246"/>
              <a:gd name="connsiteX0" fmla="*/ 0 w 11855629"/>
              <a:gd name="connsiteY0" fmla="*/ 1652 h 3362246"/>
              <a:gd name="connsiteX1" fmla="*/ 11459359 w 11855629"/>
              <a:gd name="connsiteY1" fmla="*/ 0 h 3362246"/>
              <a:gd name="connsiteX2" fmla="*/ 11855613 w 11855629"/>
              <a:gd name="connsiteY2" fmla="*/ 3360592 h 3362246"/>
              <a:gd name="connsiteX3" fmla="*/ 579722 w 11855629"/>
              <a:gd name="connsiteY3" fmla="*/ 3362246 h 3362246"/>
              <a:gd name="connsiteX4" fmla="*/ 0 w 11855629"/>
              <a:gd name="connsiteY4" fmla="*/ 2782524 h 3362246"/>
              <a:gd name="connsiteX5" fmla="*/ 0 w 11855629"/>
              <a:gd name="connsiteY5" fmla="*/ 1652 h 3362246"/>
              <a:gd name="connsiteX0" fmla="*/ 0 w 11459359"/>
              <a:gd name="connsiteY0" fmla="*/ 1652 h 3362246"/>
              <a:gd name="connsiteX1" fmla="*/ 11459359 w 11459359"/>
              <a:gd name="connsiteY1" fmla="*/ 0 h 3362246"/>
              <a:gd name="connsiteX2" fmla="*/ 11438924 w 11459359"/>
              <a:gd name="connsiteY2" fmla="*/ 3360592 h 3362246"/>
              <a:gd name="connsiteX3" fmla="*/ 579722 w 11459359"/>
              <a:gd name="connsiteY3" fmla="*/ 3362246 h 3362246"/>
              <a:gd name="connsiteX4" fmla="*/ 0 w 11459359"/>
              <a:gd name="connsiteY4" fmla="*/ 2782524 h 3362246"/>
              <a:gd name="connsiteX5" fmla="*/ 0 w 11459359"/>
              <a:gd name="connsiteY5" fmla="*/ 1652 h 3362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459359" h="3362246">
                <a:moveTo>
                  <a:pt x="0" y="1652"/>
                </a:moveTo>
                <a:lnTo>
                  <a:pt x="11459359" y="0"/>
                </a:lnTo>
                <a:cubicBezTo>
                  <a:pt x="11456406" y="1115201"/>
                  <a:pt x="11441877" y="2245391"/>
                  <a:pt x="11438924" y="3360592"/>
                </a:cubicBezTo>
                <a:lnTo>
                  <a:pt x="579722" y="3362246"/>
                </a:lnTo>
                <a:cubicBezTo>
                  <a:pt x="259550" y="3362246"/>
                  <a:pt x="0" y="3102696"/>
                  <a:pt x="0" y="2782524"/>
                </a:cubicBezTo>
                <a:lnTo>
                  <a:pt x="0" y="1652"/>
                </a:lnTo>
                <a:close/>
              </a:path>
            </a:pathLst>
          </a:custGeom>
          <a:noFill/>
        </p:spPr>
        <p:txBody>
          <a:bodyPr/>
          <a:lstStyle>
            <a:lvl1pPr marL="0" indent="0">
              <a:buNone/>
              <a:defRPr sz="2400">
                <a:solidFill>
                  <a:schemeClr val="bg1"/>
                </a:solidFill>
              </a:defRPr>
            </a:lvl1pPr>
          </a:lstStyle>
          <a:p>
            <a:r>
              <a:rPr lang="zh-CN" altLang="en-US"/>
              <a:t>单击图标添加图片</a:t>
            </a:r>
            <a:endParaRPr lang="en-JP" dirty="0"/>
          </a:p>
        </p:txBody>
      </p:sp>
      <p:pic>
        <p:nvPicPr>
          <p:cNvPr id="18" name="Picture 17" descr="Takeda">
            <a:extLst>
              <a:ext uri="{FF2B5EF4-FFF2-40B4-BE49-F238E27FC236}">
                <a16:creationId xmlns:a16="http://schemas.microsoft.com/office/drawing/2014/main" id="{5F9376FC-2A9F-C644-AD88-C6E1B65B4D96}"/>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790516" y="3362752"/>
            <a:ext cx="2251710" cy="1248865"/>
          </a:xfrm>
          <a:prstGeom prst="rect">
            <a:avLst/>
          </a:prstGeom>
        </p:spPr>
      </p:pic>
      <p:sp>
        <p:nvSpPr>
          <p:cNvPr id="15" name="Title 1">
            <a:extLst>
              <a:ext uri="{FF2B5EF4-FFF2-40B4-BE49-F238E27FC236}">
                <a16:creationId xmlns:a16="http://schemas.microsoft.com/office/drawing/2014/main" id="{9F5E8E0A-41D4-8346-9248-0B9AAC71238D}"/>
              </a:ext>
            </a:extLst>
          </p:cNvPr>
          <p:cNvSpPr>
            <a:spLocks noGrp="1"/>
          </p:cNvSpPr>
          <p:nvPr>
            <p:ph type="ctrTitle" hasCustomPrompt="1"/>
          </p:nvPr>
        </p:nvSpPr>
        <p:spPr>
          <a:xfrm>
            <a:off x="1194730" y="3956816"/>
            <a:ext cx="7699670" cy="1015681"/>
          </a:xfrm>
          <a:prstGeom prst="rect">
            <a:avLst/>
          </a:prstGeom>
        </p:spPr>
        <p:txBody>
          <a:bodyPr wrap="square" lIns="0" tIns="0" rIns="0" bIns="0" anchor="t" anchorCtr="0">
            <a:normAutofit/>
          </a:bodyPr>
          <a:lstStyle>
            <a:lvl1pPr>
              <a:lnSpc>
                <a:spcPts val="3800"/>
              </a:lnSpc>
              <a:defRPr sz="3600" b="1" i="0" baseline="0">
                <a:solidFill>
                  <a:schemeClr val="tx1"/>
                </a:solidFill>
                <a:latin typeface="Calibri" panose="020F0502020204030204" pitchFamily="34" charset="0"/>
                <a:ea typeface="メイリオ" pitchFamily="50" charset="-128"/>
                <a:cs typeface="Calibri" pitchFamily="34" charset="0"/>
              </a:defRPr>
            </a:lvl1pPr>
          </a:lstStyle>
          <a:p>
            <a:r>
              <a:rPr lang="en-GB" dirty="0"/>
              <a:t>Click to Add </a:t>
            </a:r>
            <a:br>
              <a:rPr lang="en-GB" dirty="0"/>
            </a:br>
            <a:r>
              <a:rPr lang="en-GB" dirty="0"/>
              <a:t>Title</a:t>
            </a:r>
          </a:p>
        </p:txBody>
      </p:sp>
      <p:sp>
        <p:nvSpPr>
          <p:cNvPr id="17" name="Rectangle 16">
            <a:extLst>
              <a:ext uri="{FF2B5EF4-FFF2-40B4-BE49-F238E27FC236}">
                <a16:creationId xmlns:a16="http://schemas.microsoft.com/office/drawing/2014/main" id="{F5A63B8E-5554-A04E-B4C5-97ECEE58B6CC}"/>
              </a:ext>
            </a:extLst>
          </p:cNvPr>
          <p:cNvSpPr/>
          <p:nvPr userDrawn="1"/>
        </p:nvSpPr>
        <p:spPr>
          <a:xfrm>
            <a:off x="749005" y="3764031"/>
            <a:ext cx="97200" cy="270718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kumimoji="0" lang="en-US" altLang="en-US" sz="1800" dirty="0">
              <a:solidFill>
                <a:srgbClr val="FFFFFF"/>
              </a:solidFill>
            </a:endParaRPr>
          </a:p>
        </p:txBody>
      </p:sp>
      <p:pic>
        <p:nvPicPr>
          <p:cNvPr id="21" name="Picture 20">
            <a:extLst>
              <a:ext uri="{FF2B5EF4-FFF2-40B4-BE49-F238E27FC236}">
                <a16:creationId xmlns:a16="http://schemas.microsoft.com/office/drawing/2014/main" id="{C2637423-F180-3943-B758-C8CCFA816E04}"/>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9571921" y="6357944"/>
            <a:ext cx="1958578" cy="117462"/>
          </a:xfrm>
          <a:prstGeom prst="rect">
            <a:avLst/>
          </a:prstGeom>
        </p:spPr>
      </p:pic>
      <p:sp>
        <p:nvSpPr>
          <p:cNvPr id="23" name="Text Placeholder 2">
            <a:extLst>
              <a:ext uri="{FF2B5EF4-FFF2-40B4-BE49-F238E27FC236}">
                <a16:creationId xmlns:a16="http://schemas.microsoft.com/office/drawing/2014/main" id="{F7327E43-4F43-914D-BE65-DB0ADB5A5E11}"/>
              </a:ext>
            </a:extLst>
          </p:cNvPr>
          <p:cNvSpPr>
            <a:spLocks noGrp="1"/>
          </p:cNvSpPr>
          <p:nvPr>
            <p:ph type="body" sz="quarter" idx="23" hasCustomPrompt="1"/>
          </p:nvPr>
        </p:nvSpPr>
        <p:spPr>
          <a:xfrm>
            <a:off x="1194728" y="5256031"/>
            <a:ext cx="7699670" cy="234001"/>
          </a:xfrm>
          <a:prstGeom prst="rect">
            <a:avLst/>
          </a:prstGeom>
        </p:spPr>
        <p:txBody>
          <a:bodyPr lIns="0" tIns="0" rIns="0" bIns="0">
            <a:noAutofit/>
          </a:bodyPr>
          <a:lstStyle>
            <a:lvl1pPr marL="0" indent="0">
              <a:buNone/>
              <a:defRPr sz="1400" b="0" i="0">
                <a:solidFill>
                  <a:schemeClr val="tx1"/>
                </a:solidFill>
                <a:latin typeface="Calibri" panose="020F0502020204030204" pitchFamily="34" charset="0"/>
                <a:cs typeface="Calibri" panose="020F0502020204030204" pitchFamily="34" charset="0"/>
              </a:defRPr>
            </a:lvl1pPr>
            <a:lvl2pPr marL="457068" indent="0">
              <a:buNone/>
              <a:defRPr sz="1400">
                <a:solidFill>
                  <a:schemeClr val="tx1"/>
                </a:solidFill>
              </a:defRPr>
            </a:lvl2pPr>
            <a:lvl3pPr marL="914149" indent="0">
              <a:buNone/>
              <a:defRPr sz="1400">
                <a:solidFill>
                  <a:schemeClr val="tx1"/>
                </a:solidFill>
              </a:defRPr>
            </a:lvl3pPr>
            <a:lvl4pPr marL="1371219" indent="0">
              <a:buNone/>
              <a:defRPr sz="1400">
                <a:solidFill>
                  <a:schemeClr val="tx1"/>
                </a:solidFill>
              </a:defRPr>
            </a:lvl4pPr>
            <a:lvl5pPr marL="1828290" indent="0">
              <a:buNone/>
              <a:defRPr sz="1400">
                <a:solidFill>
                  <a:schemeClr val="tx1"/>
                </a:solidFill>
              </a:defRPr>
            </a:lvl5pPr>
          </a:lstStyle>
          <a:p>
            <a:pPr lvl="0"/>
            <a:r>
              <a:rPr lang="en-US" dirty="0"/>
              <a:t>Title of Position</a:t>
            </a:r>
          </a:p>
        </p:txBody>
      </p:sp>
      <p:sp>
        <p:nvSpPr>
          <p:cNvPr id="24" name="Text Placeholder 2">
            <a:extLst>
              <a:ext uri="{FF2B5EF4-FFF2-40B4-BE49-F238E27FC236}">
                <a16:creationId xmlns:a16="http://schemas.microsoft.com/office/drawing/2014/main" id="{4A23AA60-6137-8841-B2ED-51B2F2E5C1BB}"/>
              </a:ext>
            </a:extLst>
          </p:cNvPr>
          <p:cNvSpPr>
            <a:spLocks noGrp="1"/>
          </p:cNvSpPr>
          <p:nvPr>
            <p:ph type="body" sz="quarter" idx="24" hasCustomPrompt="1"/>
          </p:nvPr>
        </p:nvSpPr>
        <p:spPr>
          <a:xfrm>
            <a:off x="1194728" y="5515045"/>
            <a:ext cx="7699670" cy="234001"/>
          </a:xfrm>
          <a:prstGeom prst="rect">
            <a:avLst/>
          </a:prstGeom>
        </p:spPr>
        <p:txBody>
          <a:bodyPr lIns="0" tIns="0" rIns="0" bIns="0">
            <a:noAutofit/>
          </a:bodyPr>
          <a:lstStyle>
            <a:lvl1pPr marL="0" indent="0">
              <a:buNone/>
              <a:defRPr sz="1400" b="0" i="0">
                <a:solidFill>
                  <a:schemeClr val="tx1"/>
                </a:solidFill>
                <a:latin typeface="Calibri" panose="020F0502020204030204" pitchFamily="34" charset="0"/>
                <a:cs typeface="Calibri" panose="020F0502020204030204" pitchFamily="34" charset="0"/>
              </a:defRPr>
            </a:lvl1pPr>
            <a:lvl2pPr marL="457068" indent="0">
              <a:buNone/>
              <a:defRPr sz="1400">
                <a:solidFill>
                  <a:schemeClr val="tx1"/>
                </a:solidFill>
              </a:defRPr>
            </a:lvl2pPr>
            <a:lvl3pPr marL="914149" indent="0">
              <a:buNone/>
              <a:defRPr sz="1400">
                <a:solidFill>
                  <a:schemeClr val="tx1"/>
                </a:solidFill>
              </a:defRPr>
            </a:lvl3pPr>
            <a:lvl4pPr marL="1371219" indent="0">
              <a:buNone/>
              <a:defRPr sz="1400">
                <a:solidFill>
                  <a:schemeClr val="tx1"/>
                </a:solidFill>
              </a:defRPr>
            </a:lvl4pPr>
            <a:lvl5pPr marL="1828290" indent="0">
              <a:buNone/>
              <a:defRPr sz="1400">
                <a:solidFill>
                  <a:schemeClr val="tx1"/>
                </a:solidFill>
              </a:defRPr>
            </a:lvl5pPr>
          </a:lstStyle>
          <a:p>
            <a:pPr lvl="0"/>
            <a:r>
              <a:rPr lang="en-US" dirty="0"/>
              <a:t>Department</a:t>
            </a:r>
          </a:p>
        </p:txBody>
      </p:sp>
      <p:sp>
        <p:nvSpPr>
          <p:cNvPr id="25" name="Text Placeholder 2">
            <a:extLst>
              <a:ext uri="{FF2B5EF4-FFF2-40B4-BE49-F238E27FC236}">
                <a16:creationId xmlns:a16="http://schemas.microsoft.com/office/drawing/2014/main" id="{BB4FEAB2-22C6-3446-B4D2-5B610A729BCC}"/>
              </a:ext>
            </a:extLst>
          </p:cNvPr>
          <p:cNvSpPr>
            <a:spLocks noGrp="1"/>
          </p:cNvSpPr>
          <p:nvPr>
            <p:ph type="body" sz="quarter" idx="25" hasCustomPrompt="1"/>
          </p:nvPr>
        </p:nvSpPr>
        <p:spPr>
          <a:xfrm>
            <a:off x="1194728" y="5769532"/>
            <a:ext cx="7699670" cy="234001"/>
          </a:xfrm>
          <a:prstGeom prst="rect">
            <a:avLst/>
          </a:prstGeom>
        </p:spPr>
        <p:txBody>
          <a:bodyPr lIns="0" tIns="0" rIns="0" bIns="0">
            <a:noAutofit/>
          </a:bodyPr>
          <a:lstStyle>
            <a:lvl1pPr marL="0" indent="0">
              <a:buNone/>
              <a:defRPr sz="1400" b="0" i="0">
                <a:solidFill>
                  <a:schemeClr val="tx1"/>
                </a:solidFill>
                <a:latin typeface="Calibri" panose="020F0502020204030204" pitchFamily="34" charset="0"/>
                <a:cs typeface="Calibri" panose="020F0502020204030204" pitchFamily="34" charset="0"/>
              </a:defRPr>
            </a:lvl1pPr>
            <a:lvl2pPr marL="457068" indent="0">
              <a:buNone/>
              <a:defRPr sz="1400">
                <a:solidFill>
                  <a:schemeClr val="tx1"/>
                </a:solidFill>
              </a:defRPr>
            </a:lvl2pPr>
            <a:lvl3pPr marL="914149" indent="0">
              <a:buNone/>
              <a:defRPr sz="1400">
                <a:solidFill>
                  <a:schemeClr val="tx1"/>
                </a:solidFill>
              </a:defRPr>
            </a:lvl3pPr>
            <a:lvl4pPr marL="1371219" indent="0">
              <a:buNone/>
              <a:defRPr sz="1400">
                <a:solidFill>
                  <a:schemeClr val="tx1"/>
                </a:solidFill>
              </a:defRPr>
            </a:lvl4pPr>
            <a:lvl5pPr marL="1828290" indent="0">
              <a:buNone/>
              <a:defRPr sz="1400">
                <a:solidFill>
                  <a:schemeClr val="tx1"/>
                </a:solidFill>
              </a:defRPr>
            </a:lvl5pPr>
          </a:lstStyle>
          <a:p>
            <a:pPr lvl="0"/>
            <a:r>
              <a:rPr lang="en-US" dirty="0"/>
              <a:t>Date</a:t>
            </a:r>
          </a:p>
        </p:txBody>
      </p:sp>
      <p:sp>
        <p:nvSpPr>
          <p:cNvPr id="28" name="Text Placeholder 2">
            <a:extLst>
              <a:ext uri="{FF2B5EF4-FFF2-40B4-BE49-F238E27FC236}">
                <a16:creationId xmlns:a16="http://schemas.microsoft.com/office/drawing/2014/main" id="{4085F378-E668-A648-B7B1-8C76C309ED6D}"/>
              </a:ext>
            </a:extLst>
          </p:cNvPr>
          <p:cNvSpPr>
            <a:spLocks noGrp="1"/>
          </p:cNvSpPr>
          <p:nvPr>
            <p:ph type="body" sz="quarter" idx="26" hasCustomPrompt="1"/>
          </p:nvPr>
        </p:nvSpPr>
        <p:spPr>
          <a:xfrm>
            <a:off x="1194728" y="4997510"/>
            <a:ext cx="7699670" cy="234001"/>
          </a:xfrm>
          <a:prstGeom prst="rect">
            <a:avLst/>
          </a:prstGeom>
        </p:spPr>
        <p:txBody>
          <a:bodyPr lIns="0" tIns="0" rIns="0" bIns="0">
            <a:noAutofit/>
          </a:bodyPr>
          <a:lstStyle>
            <a:lvl1pPr marL="0" indent="0">
              <a:buNone/>
              <a:defRPr sz="1400" b="0" i="0">
                <a:solidFill>
                  <a:schemeClr val="tx1"/>
                </a:solidFill>
                <a:latin typeface="Calibri" panose="020F0502020204030204" pitchFamily="34" charset="0"/>
                <a:cs typeface="Calibri" panose="020F0502020204030204" pitchFamily="34" charset="0"/>
              </a:defRPr>
            </a:lvl1pPr>
            <a:lvl2pPr marL="457068" indent="0">
              <a:buNone/>
              <a:defRPr sz="1400">
                <a:solidFill>
                  <a:schemeClr val="tx1"/>
                </a:solidFill>
              </a:defRPr>
            </a:lvl2pPr>
            <a:lvl3pPr marL="914149" indent="0">
              <a:buNone/>
              <a:defRPr sz="1400">
                <a:solidFill>
                  <a:schemeClr val="tx1"/>
                </a:solidFill>
              </a:defRPr>
            </a:lvl3pPr>
            <a:lvl4pPr marL="1371219" indent="0">
              <a:buNone/>
              <a:defRPr sz="1400">
                <a:solidFill>
                  <a:schemeClr val="tx1"/>
                </a:solidFill>
              </a:defRPr>
            </a:lvl4pPr>
            <a:lvl5pPr marL="1828290" indent="0">
              <a:buNone/>
              <a:defRPr sz="1400">
                <a:solidFill>
                  <a:schemeClr val="tx1"/>
                </a:solidFill>
              </a:defRPr>
            </a:lvl5pPr>
          </a:lstStyle>
          <a:p>
            <a:pPr lvl="0"/>
            <a:r>
              <a:rPr lang="en-US" dirty="0"/>
              <a:t>Presenter Name</a:t>
            </a:r>
          </a:p>
        </p:txBody>
      </p:sp>
      <p:sp>
        <p:nvSpPr>
          <p:cNvPr id="13" name="Text Placeholder 2">
            <a:extLst>
              <a:ext uri="{FF2B5EF4-FFF2-40B4-BE49-F238E27FC236}">
                <a16:creationId xmlns:a16="http://schemas.microsoft.com/office/drawing/2014/main" id="{C1E31EF6-BED5-C14F-94AD-4E5C55B85515}"/>
              </a:ext>
            </a:extLst>
          </p:cNvPr>
          <p:cNvSpPr>
            <a:spLocks noGrp="1"/>
          </p:cNvSpPr>
          <p:nvPr>
            <p:ph type="body" sz="quarter" idx="16" hasCustomPrompt="1"/>
          </p:nvPr>
        </p:nvSpPr>
        <p:spPr>
          <a:xfrm>
            <a:off x="1194728" y="6027352"/>
            <a:ext cx="7699670" cy="234001"/>
          </a:xfrm>
        </p:spPr>
        <p:txBody>
          <a:bodyPr tIns="0" rIns="0" bIns="0" anchor="ctr" anchorCtr="0">
            <a:noAutofit/>
          </a:bodyPr>
          <a:lstStyle>
            <a:lvl1pPr marL="0" marR="0" indent="0" algn="l" defTabSz="914150" rtl="0" eaLnBrk="1" fontAlgn="auto" latinLnBrk="0" hangingPunct="1">
              <a:lnSpc>
                <a:spcPct val="100000"/>
              </a:lnSpc>
              <a:spcBef>
                <a:spcPct val="20000"/>
              </a:spcBef>
              <a:spcAft>
                <a:spcPts val="0"/>
              </a:spcAft>
              <a:buClr>
                <a:srgbClr val="4C4948"/>
              </a:buClr>
              <a:buSzTx/>
              <a:buFont typeface="Arial" panose="020B0604020202020204" pitchFamily="34" charset="0"/>
              <a:buNone/>
              <a:tabLst/>
              <a:defRPr sz="800"/>
            </a:lvl1pPr>
            <a:lvl2pPr>
              <a:defRPr sz="800"/>
            </a:lvl2pPr>
            <a:lvl3pPr>
              <a:defRPr sz="800"/>
            </a:lvl3pPr>
            <a:lvl4pPr>
              <a:defRPr sz="800"/>
            </a:lvl4pPr>
            <a:lvl5pPr>
              <a:defRPr sz="800"/>
            </a:lvl5pPr>
          </a:lstStyle>
          <a:p>
            <a:pPr marL="0" marR="0" lvl="0" indent="0" algn="l" defTabSz="914150" rtl="0" eaLnBrk="1" fontAlgn="auto" latinLnBrk="0" hangingPunct="1">
              <a:lnSpc>
                <a:spcPct val="100000"/>
              </a:lnSpc>
              <a:spcBef>
                <a:spcPct val="20000"/>
              </a:spcBef>
              <a:spcAft>
                <a:spcPts val="0"/>
              </a:spcAft>
              <a:buClr>
                <a:srgbClr val="4C4948"/>
              </a:buClr>
              <a:buSzTx/>
              <a:buFont typeface="Arial" panose="020B0604020202020204" pitchFamily="34" charset="0"/>
              <a:buNone/>
              <a:tabLst/>
              <a:defRPr/>
            </a:pPr>
            <a:r>
              <a:rPr lang="en-US" dirty="0"/>
              <a:t>Private and confidential. For internal use only.</a:t>
            </a:r>
          </a:p>
        </p:txBody>
      </p:sp>
    </p:spTree>
    <p:extLst>
      <p:ext uri="{BB962C8B-B14F-4D97-AF65-F5344CB8AC3E}">
        <p14:creationId xmlns:p14="http://schemas.microsoft.com/office/powerpoint/2010/main" val="3934642810"/>
      </p:ext>
    </p:extLst>
  </p:cSld>
  <p:clrMapOvr>
    <a:masterClrMapping/>
  </p:clrMapOvr>
  <p:transition spd="slow">
    <p:push dir="u"/>
  </p:transition>
  <p:extLst>
    <p:ext uri="{DCECCB84-F9BA-43D5-87BE-67443E8EF086}">
      <p15:sldGuideLst xmlns:p15="http://schemas.microsoft.com/office/powerpoint/2012/main">
        <p15:guide id="1" orient="horz" pos="4065" userDrawn="1">
          <p15:clr>
            <a:srgbClr val="FBAE40"/>
          </p15:clr>
        </p15:guide>
        <p15:guide id="2" orient="horz" pos="2364" userDrawn="1">
          <p15:clr>
            <a:srgbClr val="FBAE40"/>
          </p15:clr>
        </p15:guide>
        <p15:guide id="3" orient="horz" pos="2160"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Advanced _1/2 image">
    <p:spTree>
      <p:nvGrpSpPr>
        <p:cNvPr id="1" name=""/>
        <p:cNvGrpSpPr/>
        <p:nvPr/>
      </p:nvGrpSpPr>
      <p:grpSpPr>
        <a:xfrm>
          <a:off x="0" y="0"/>
          <a:ext cx="0" cy="0"/>
          <a:chOff x="0" y="0"/>
          <a:chExt cx="0" cy="0"/>
        </a:xfrm>
      </p:grpSpPr>
      <p:sp>
        <p:nvSpPr>
          <p:cNvPr id="20" name="Footer Placeholder 8">
            <a:extLst>
              <a:ext uri="{FF2B5EF4-FFF2-40B4-BE49-F238E27FC236}">
                <a16:creationId xmlns:a16="http://schemas.microsoft.com/office/drawing/2014/main" id="{8D5F5577-3F64-2049-A839-8C5C39554B5C}"/>
              </a:ext>
            </a:extLst>
          </p:cNvPr>
          <p:cNvSpPr>
            <a:spLocks noGrp="1"/>
          </p:cNvSpPr>
          <p:nvPr>
            <p:ph type="ftr" sz="quarter" idx="3"/>
          </p:nvPr>
        </p:nvSpPr>
        <p:spPr>
          <a:xfrm>
            <a:off x="7766050" y="6523001"/>
            <a:ext cx="4114800" cy="196131"/>
          </a:xfrm>
          <a:prstGeom prst="rect">
            <a:avLst/>
          </a:prstGeom>
        </p:spPr>
        <p:txBody>
          <a:bodyPr vert="horz" lIns="91440" tIns="45720" rIns="0" bIns="45720" rtlCol="0" anchor="ctr"/>
          <a:lstStyle>
            <a:lvl1pPr algn="r">
              <a:defRPr sz="800" b="1" spc="100" baseline="0">
                <a:solidFill>
                  <a:schemeClr val="tx1"/>
                </a:solidFill>
              </a:defRPr>
            </a:lvl1pPr>
          </a:lstStyle>
          <a:p>
            <a:r>
              <a:rPr lang="en-JP" dirty="0"/>
              <a:t> </a:t>
            </a:r>
          </a:p>
        </p:txBody>
      </p:sp>
      <p:pic>
        <p:nvPicPr>
          <p:cNvPr id="14" name="Picture 13" descr="Takeda">
            <a:extLst>
              <a:ext uri="{FF2B5EF4-FFF2-40B4-BE49-F238E27FC236}">
                <a16:creationId xmlns:a16="http://schemas.microsoft.com/office/drawing/2014/main" id="{904398E7-B0E3-B743-AAB2-5FEBF510E97E}"/>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546331" y="-1615"/>
            <a:ext cx="1696232" cy="940780"/>
          </a:xfrm>
          <a:prstGeom prst="rect">
            <a:avLst/>
          </a:prstGeom>
        </p:spPr>
      </p:pic>
      <p:sp>
        <p:nvSpPr>
          <p:cNvPr id="11" name="Picture Placeholder 9">
            <a:extLst>
              <a:ext uri="{FF2B5EF4-FFF2-40B4-BE49-F238E27FC236}">
                <a16:creationId xmlns:a16="http://schemas.microsoft.com/office/drawing/2014/main" id="{2AD9E95A-6959-B64E-ADF8-64DD679B9345}"/>
              </a:ext>
            </a:extLst>
          </p:cNvPr>
          <p:cNvSpPr>
            <a:spLocks noGrp="1"/>
          </p:cNvSpPr>
          <p:nvPr>
            <p:ph type="pic" sz="quarter" idx="18" hasCustomPrompt="1"/>
          </p:nvPr>
        </p:nvSpPr>
        <p:spPr>
          <a:xfrm>
            <a:off x="6172202" y="1093767"/>
            <a:ext cx="6037636" cy="5341758"/>
          </a:xfrm>
          <a:custGeom>
            <a:avLst/>
            <a:gdLst>
              <a:gd name="connsiteX0" fmla="*/ 0 w 10888662"/>
              <a:gd name="connsiteY0" fmla="*/ 579722 h 6442075"/>
              <a:gd name="connsiteX1" fmla="*/ 579722 w 10888662"/>
              <a:gd name="connsiteY1" fmla="*/ 0 h 6442075"/>
              <a:gd name="connsiteX2" fmla="*/ 10308940 w 10888662"/>
              <a:gd name="connsiteY2" fmla="*/ 0 h 6442075"/>
              <a:gd name="connsiteX3" fmla="*/ 10888662 w 10888662"/>
              <a:gd name="connsiteY3" fmla="*/ 579722 h 6442075"/>
              <a:gd name="connsiteX4" fmla="*/ 10888662 w 10888662"/>
              <a:gd name="connsiteY4" fmla="*/ 5862353 h 6442075"/>
              <a:gd name="connsiteX5" fmla="*/ 10308940 w 10888662"/>
              <a:gd name="connsiteY5" fmla="*/ 6442075 h 6442075"/>
              <a:gd name="connsiteX6" fmla="*/ 579722 w 10888662"/>
              <a:gd name="connsiteY6" fmla="*/ 6442075 h 6442075"/>
              <a:gd name="connsiteX7" fmla="*/ 0 w 10888662"/>
              <a:gd name="connsiteY7" fmla="*/ 5862353 h 6442075"/>
              <a:gd name="connsiteX8" fmla="*/ 0 w 10888662"/>
              <a:gd name="connsiteY8" fmla="*/ 579722 h 6442075"/>
              <a:gd name="connsiteX0" fmla="*/ 0 w 10888662"/>
              <a:gd name="connsiteY0" fmla="*/ 659657 h 6522010"/>
              <a:gd name="connsiteX1" fmla="*/ 10308940 w 10888662"/>
              <a:gd name="connsiteY1" fmla="*/ 79935 h 6522010"/>
              <a:gd name="connsiteX2" fmla="*/ 10888662 w 10888662"/>
              <a:gd name="connsiteY2" fmla="*/ 659657 h 6522010"/>
              <a:gd name="connsiteX3" fmla="*/ 10888662 w 10888662"/>
              <a:gd name="connsiteY3" fmla="*/ 5942288 h 6522010"/>
              <a:gd name="connsiteX4" fmla="*/ 10308940 w 10888662"/>
              <a:gd name="connsiteY4" fmla="*/ 6522010 h 6522010"/>
              <a:gd name="connsiteX5" fmla="*/ 579722 w 10888662"/>
              <a:gd name="connsiteY5" fmla="*/ 6522010 h 6522010"/>
              <a:gd name="connsiteX6" fmla="*/ 0 w 10888662"/>
              <a:gd name="connsiteY6" fmla="*/ 5942288 h 6522010"/>
              <a:gd name="connsiteX7" fmla="*/ 0 w 10888662"/>
              <a:gd name="connsiteY7" fmla="*/ 659657 h 6522010"/>
              <a:gd name="connsiteX0" fmla="*/ 0 w 10888662"/>
              <a:gd name="connsiteY0" fmla="*/ 579722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579722 h 6442075"/>
              <a:gd name="connsiteX0" fmla="*/ 0 w 10888662"/>
              <a:gd name="connsiteY0" fmla="*/ 129257 h 6569679"/>
              <a:gd name="connsiteX1" fmla="*/ 10308940 w 10888662"/>
              <a:gd name="connsiteY1" fmla="*/ 127604 h 6569679"/>
              <a:gd name="connsiteX2" fmla="*/ 10888662 w 10888662"/>
              <a:gd name="connsiteY2" fmla="*/ 707326 h 6569679"/>
              <a:gd name="connsiteX3" fmla="*/ 10888662 w 10888662"/>
              <a:gd name="connsiteY3" fmla="*/ 5989957 h 6569679"/>
              <a:gd name="connsiteX4" fmla="*/ 10308940 w 10888662"/>
              <a:gd name="connsiteY4" fmla="*/ 6569679 h 6569679"/>
              <a:gd name="connsiteX5" fmla="*/ 579722 w 10888662"/>
              <a:gd name="connsiteY5" fmla="*/ 6569679 h 6569679"/>
              <a:gd name="connsiteX6" fmla="*/ 0 w 10888662"/>
              <a:gd name="connsiteY6" fmla="*/ 5989957 h 6569679"/>
              <a:gd name="connsiteX7" fmla="*/ 0 w 10888662"/>
              <a:gd name="connsiteY7" fmla="*/ 129257 h 6569679"/>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9657299 w 10888662"/>
              <a:gd name="connsiteY4" fmla="*/ 55276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522010"/>
              <a:gd name="connsiteX1" fmla="*/ 10308940 w 10888662"/>
              <a:gd name="connsiteY1" fmla="*/ 0 h 6522010"/>
              <a:gd name="connsiteX2" fmla="*/ 10888662 w 10888662"/>
              <a:gd name="connsiteY2" fmla="*/ 579722 h 6522010"/>
              <a:gd name="connsiteX3" fmla="*/ 10888662 w 10888662"/>
              <a:gd name="connsiteY3" fmla="*/ 5862353 h 6522010"/>
              <a:gd name="connsiteX4" fmla="*/ 579722 w 10888662"/>
              <a:gd name="connsiteY4" fmla="*/ 6442075 h 6522010"/>
              <a:gd name="connsiteX5" fmla="*/ 0 w 10888662"/>
              <a:gd name="connsiteY5" fmla="*/ 5862353 h 6522010"/>
              <a:gd name="connsiteX6" fmla="*/ 0 w 10888662"/>
              <a:gd name="connsiteY6" fmla="*/ 1653 h 6522010"/>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579722 w 10888662"/>
              <a:gd name="connsiteY4" fmla="*/ 6442075 h 6442075"/>
              <a:gd name="connsiteX5" fmla="*/ 0 w 10888662"/>
              <a:gd name="connsiteY5" fmla="*/ 5862353 h 6442075"/>
              <a:gd name="connsiteX6" fmla="*/ 0 w 10888662"/>
              <a:gd name="connsiteY6" fmla="*/ 1653 h 6442075"/>
              <a:gd name="connsiteX0" fmla="*/ 0 w 10888662"/>
              <a:gd name="connsiteY0" fmla="*/ 1653 h 6585432"/>
              <a:gd name="connsiteX1" fmla="*/ 10308940 w 10888662"/>
              <a:gd name="connsiteY1" fmla="*/ 0 h 6585432"/>
              <a:gd name="connsiteX2" fmla="*/ 10888662 w 10888662"/>
              <a:gd name="connsiteY2" fmla="*/ 579722 h 6585432"/>
              <a:gd name="connsiteX3" fmla="*/ 10878151 w 10888662"/>
              <a:gd name="connsiteY3" fmla="*/ 6461442 h 6585432"/>
              <a:gd name="connsiteX4" fmla="*/ 579722 w 10888662"/>
              <a:gd name="connsiteY4" fmla="*/ 6442075 h 6585432"/>
              <a:gd name="connsiteX5" fmla="*/ 0 w 10888662"/>
              <a:gd name="connsiteY5" fmla="*/ 5862353 h 6585432"/>
              <a:gd name="connsiteX6" fmla="*/ 0 w 10888662"/>
              <a:gd name="connsiteY6" fmla="*/ 1653 h 6585432"/>
              <a:gd name="connsiteX0" fmla="*/ 0 w 10888662"/>
              <a:gd name="connsiteY0" fmla="*/ 1653 h 6577502"/>
              <a:gd name="connsiteX1" fmla="*/ 10308940 w 10888662"/>
              <a:gd name="connsiteY1" fmla="*/ 0 h 6577502"/>
              <a:gd name="connsiteX2" fmla="*/ 10888662 w 10888662"/>
              <a:gd name="connsiteY2" fmla="*/ 579722 h 6577502"/>
              <a:gd name="connsiteX3" fmla="*/ 10878151 w 10888662"/>
              <a:gd name="connsiteY3" fmla="*/ 6450932 h 6577502"/>
              <a:gd name="connsiteX4" fmla="*/ 579722 w 10888662"/>
              <a:gd name="connsiteY4" fmla="*/ 6442075 h 6577502"/>
              <a:gd name="connsiteX5" fmla="*/ 0 w 10888662"/>
              <a:gd name="connsiteY5" fmla="*/ 5862353 h 6577502"/>
              <a:gd name="connsiteX6" fmla="*/ 0 w 10888662"/>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0888662"/>
              <a:gd name="connsiteY0" fmla="*/ 1653 h 6450932"/>
              <a:gd name="connsiteX1" fmla="*/ 10308940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0999550"/>
              <a:gd name="connsiteY0" fmla="*/ 1653 h 6450932"/>
              <a:gd name="connsiteX1" fmla="*/ 10844968 w 10999550"/>
              <a:gd name="connsiteY1" fmla="*/ 0 h 6450932"/>
              <a:gd name="connsiteX2" fmla="*/ 10888662 w 10999550"/>
              <a:gd name="connsiteY2" fmla="*/ 579722 h 6450932"/>
              <a:gd name="connsiteX3" fmla="*/ 10878151 w 10999550"/>
              <a:gd name="connsiteY3" fmla="*/ 6450932 h 6450932"/>
              <a:gd name="connsiteX4" fmla="*/ 579722 w 10999550"/>
              <a:gd name="connsiteY4" fmla="*/ 6442075 h 6450932"/>
              <a:gd name="connsiteX5" fmla="*/ 0 w 10999550"/>
              <a:gd name="connsiteY5" fmla="*/ 5862353 h 6450932"/>
              <a:gd name="connsiteX6" fmla="*/ 0 w 10999550"/>
              <a:gd name="connsiteY6" fmla="*/ 1653 h 6450932"/>
              <a:gd name="connsiteX0" fmla="*/ 0 w 11022020"/>
              <a:gd name="connsiteY0" fmla="*/ 1653 h 6450932"/>
              <a:gd name="connsiteX1" fmla="*/ 10876499 w 11022020"/>
              <a:gd name="connsiteY1" fmla="*/ 0 h 6450932"/>
              <a:gd name="connsiteX2" fmla="*/ 10888662 w 11022020"/>
              <a:gd name="connsiteY2" fmla="*/ 579722 h 6450932"/>
              <a:gd name="connsiteX3" fmla="*/ 10878151 w 11022020"/>
              <a:gd name="connsiteY3" fmla="*/ 6450932 h 6450932"/>
              <a:gd name="connsiteX4" fmla="*/ 579722 w 11022020"/>
              <a:gd name="connsiteY4" fmla="*/ 6442075 h 6450932"/>
              <a:gd name="connsiteX5" fmla="*/ 0 w 11022020"/>
              <a:gd name="connsiteY5" fmla="*/ 5862353 h 6450932"/>
              <a:gd name="connsiteX6" fmla="*/ 0 w 11022020"/>
              <a:gd name="connsiteY6" fmla="*/ 1653 h 6450932"/>
              <a:gd name="connsiteX0" fmla="*/ 0 w 10888662"/>
              <a:gd name="connsiteY0" fmla="*/ 1653 h 6450932"/>
              <a:gd name="connsiteX1" fmla="*/ 10876499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2200990"/>
              <a:gd name="connsiteY0" fmla="*/ 1653 h 6450932"/>
              <a:gd name="connsiteX1" fmla="*/ 10876499 w 12200990"/>
              <a:gd name="connsiteY1" fmla="*/ 0 h 6450932"/>
              <a:gd name="connsiteX2" fmla="*/ 10878151 w 12200990"/>
              <a:gd name="connsiteY2" fmla="*/ 6450932 h 6450932"/>
              <a:gd name="connsiteX3" fmla="*/ 579722 w 12200990"/>
              <a:gd name="connsiteY3" fmla="*/ 6442075 h 6450932"/>
              <a:gd name="connsiteX4" fmla="*/ 0 w 12200990"/>
              <a:gd name="connsiteY4" fmla="*/ 5862353 h 6450932"/>
              <a:gd name="connsiteX5" fmla="*/ 0 w 12200990"/>
              <a:gd name="connsiteY5" fmla="*/ 1653 h 6450932"/>
              <a:gd name="connsiteX0" fmla="*/ 0 w 11640630"/>
              <a:gd name="connsiteY0" fmla="*/ 1653 h 6450932"/>
              <a:gd name="connsiteX1" fmla="*/ 10876499 w 11640630"/>
              <a:gd name="connsiteY1" fmla="*/ 0 h 6450932"/>
              <a:gd name="connsiteX2" fmla="*/ 10878151 w 11640630"/>
              <a:gd name="connsiteY2" fmla="*/ 6450932 h 6450932"/>
              <a:gd name="connsiteX3" fmla="*/ 579722 w 11640630"/>
              <a:gd name="connsiteY3" fmla="*/ 6442075 h 6450932"/>
              <a:gd name="connsiteX4" fmla="*/ 0 w 11640630"/>
              <a:gd name="connsiteY4" fmla="*/ 5862353 h 6450932"/>
              <a:gd name="connsiteX5" fmla="*/ 0 w 11640630"/>
              <a:gd name="connsiteY5" fmla="*/ 1653 h 6450932"/>
              <a:gd name="connsiteX0" fmla="*/ 0 w 10878151"/>
              <a:gd name="connsiteY0" fmla="*/ 1653 h 6450932"/>
              <a:gd name="connsiteX1" fmla="*/ 10876499 w 10878151"/>
              <a:gd name="connsiteY1" fmla="*/ 0 h 6450932"/>
              <a:gd name="connsiteX2" fmla="*/ 10878151 w 10878151"/>
              <a:gd name="connsiteY2" fmla="*/ 6450932 h 6450932"/>
              <a:gd name="connsiteX3" fmla="*/ 579722 w 10878151"/>
              <a:gd name="connsiteY3" fmla="*/ 6442075 h 6450932"/>
              <a:gd name="connsiteX4" fmla="*/ 0 w 10878151"/>
              <a:gd name="connsiteY4" fmla="*/ 5862353 h 6450932"/>
              <a:gd name="connsiteX5" fmla="*/ 0 w 10878151"/>
              <a:gd name="connsiteY5" fmla="*/ 1653 h 6450932"/>
              <a:gd name="connsiteX0" fmla="*/ 0 w 11843451"/>
              <a:gd name="connsiteY0" fmla="*/ 1653 h 6450932"/>
              <a:gd name="connsiteX1" fmla="*/ 11843451 w 11843451"/>
              <a:gd name="connsiteY1" fmla="*/ 0 h 6450932"/>
              <a:gd name="connsiteX2" fmla="*/ 10878151 w 11843451"/>
              <a:gd name="connsiteY2" fmla="*/ 6450932 h 6450932"/>
              <a:gd name="connsiteX3" fmla="*/ 579722 w 11843451"/>
              <a:gd name="connsiteY3" fmla="*/ 6442075 h 6450932"/>
              <a:gd name="connsiteX4" fmla="*/ 0 w 11843451"/>
              <a:gd name="connsiteY4" fmla="*/ 5862353 h 6450932"/>
              <a:gd name="connsiteX5" fmla="*/ 0 w 11843451"/>
              <a:gd name="connsiteY5" fmla="*/ 1653 h 6450932"/>
              <a:gd name="connsiteX0" fmla="*/ 0 w 11855613"/>
              <a:gd name="connsiteY0" fmla="*/ 1653 h 6450932"/>
              <a:gd name="connsiteX1" fmla="*/ 11843451 w 11855613"/>
              <a:gd name="connsiteY1" fmla="*/ 0 h 6450932"/>
              <a:gd name="connsiteX2" fmla="*/ 11855613 w 11855613"/>
              <a:gd name="connsiteY2" fmla="*/ 6450932 h 6450932"/>
              <a:gd name="connsiteX3" fmla="*/ 579722 w 11855613"/>
              <a:gd name="connsiteY3" fmla="*/ 6442075 h 6450932"/>
              <a:gd name="connsiteX4" fmla="*/ 0 w 11855613"/>
              <a:gd name="connsiteY4" fmla="*/ 5862353 h 6450932"/>
              <a:gd name="connsiteX5" fmla="*/ 0 w 11855613"/>
              <a:gd name="connsiteY5" fmla="*/ 1653 h 6450932"/>
              <a:gd name="connsiteX0" fmla="*/ 0 w 11864472"/>
              <a:gd name="connsiteY0" fmla="*/ 1653 h 6450932"/>
              <a:gd name="connsiteX1" fmla="*/ 11864472 w 11864472"/>
              <a:gd name="connsiteY1" fmla="*/ 0 h 6450932"/>
              <a:gd name="connsiteX2" fmla="*/ 11855613 w 11864472"/>
              <a:gd name="connsiteY2" fmla="*/ 6450932 h 6450932"/>
              <a:gd name="connsiteX3" fmla="*/ 579722 w 11864472"/>
              <a:gd name="connsiteY3" fmla="*/ 6442075 h 6450932"/>
              <a:gd name="connsiteX4" fmla="*/ 0 w 11864472"/>
              <a:gd name="connsiteY4" fmla="*/ 5862353 h 6450932"/>
              <a:gd name="connsiteX5" fmla="*/ 0 w 11864472"/>
              <a:gd name="connsiteY5" fmla="*/ 1653 h 6450932"/>
              <a:gd name="connsiteX0" fmla="*/ 0 w 11864472"/>
              <a:gd name="connsiteY0" fmla="*/ 1653 h 6442075"/>
              <a:gd name="connsiteX1" fmla="*/ 11864472 w 11864472"/>
              <a:gd name="connsiteY1" fmla="*/ 0 h 6442075"/>
              <a:gd name="connsiteX2" fmla="*/ 11855613 w 11864472"/>
              <a:gd name="connsiteY2" fmla="*/ 6440421 h 6442075"/>
              <a:gd name="connsiteX3" fmla="*/ 579722 w 11864472"/>
              <a:gd name="connsiteY3" fmla="*/ 6442075 h 6442075"/>
              <a:gd name="connsiteX4" fmla="*/ 0 w 11864472"/>
              <a:gd name="connsiteY4" fmla="*/ 5862353 h 6442075"/>
              <a:gd name="connsiteX5" fmla="*/ 0 w 11864472"/>
              <a:gd name="connsiteY5" fmla="*/ 1653 h 6442075"/>
              <a:gd name="connsiteX0" fmla="*/ 0 w 11855613"/>
              <a:gd name="connsiteY0" fmla="*/ 1653 h 6442075"/>
              <a:gd name="connsiteX1" fmla="*/ 8912928 w 11855613"/>
              <a:gd name="connsiteY1" fmla="*/ 0 h 6442075"/>
              <a:gd name="connsiteX2" fmla="*/ 11855613 w 11855613"/>
              <a:gd name="connsiteY2" fmla="*/ 6440421 h 6442075"/>
              <a:gd name="connsiteX3" fmla="*/ 579722 w 11855613"/>
              <a:gd name="connsiteY3" fmla="*/ 6442075 h 6442075"/>
              <a:gd name="connsiteX4" fmla="*/ 0 w 11855613"/>
              <a:gd name="connsiteY4" fmla="*/ 5862353 h 6442075"/>
              <a:gd name="connsiteX5" fmla="*/ 0 w 11855613"/>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74032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36077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1615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15642"/>
              <a:gd name="connsiteY0" fmla="*/ 1653 h 6442075"/>
              <a:gd name="connsiteX1" fmla="*/ 8912928 w 8915642"/>
              <a:gd name="connsiteY1" fmla="*/ 0 h 6442075"/>
              <a:gd name="connsiteX2" fmla="*/ 8915642 w 8915642"/>
              <a:gd name="connsiteY2" fmla="*/ 6440421 h 6442075"/>
              <a:gd name="connsiteX3" fmla="*/ 579722 w 8915642"/>
              <a:gd name="connsiteY3" fmla="*/ 6442075 h 6442075"/>
              <a:gd name="connsiteX4" fmla="*/ 0 w 8915642"/>
              <a:gd name="connsiteY4" fmla="*/ 5862353 h 6442075"/>
              <a:gd name="connsiteX5" fmla="*/ 0 w 8915642"/>
              <a:gd name="connsiteY5" fmla="*/ 1653 h 6442075"/>
              <a:gd name="connsiteX0" fmla="*/ 0 w 8915642"/>
              <a:gd name="connsiteY0" fmla="*/ 1 h 6633463"/>
              <a:gd name="connsiteX1" fmla="*/ 8912928 w 8915642"/>
              <a:gd name="connsiteY1" fmla="*/ 191388 h 6633463"/>
              <a:gd name="connsiteX2" fmla="*/ 8915642 w 8915642"/>
              <a:gd name="connsiteY2" fmla="*/ 6631809 h 6633463"/>
              <a:gd name="connsiteX3" fmla="*/ 579722 w 8915642"/>
              <a:gd name="connsiteY3" fmla="*/ 6633463 h 6633463"/>
              <a:gd name="connsiteX4" fmla="*/ 0 w 8915642"/>
              <a:gd name="connsiteY4" fmla="*/ 6053741 h 6633463"/>
              <a:gd name="connsiteX5" fmla="*/ 0 w 8915642"/>
              <a:gd name="connsiteY5" fmla="*/ 1 h 6633463"/>
              <a:gd name="connsiteX0" fmla="*/ 0 w 8933278"/>
              <a:gd name="connsiteY0" fmla="*/ 1653 h 6635115"/>
              <a:gd name="connsiteX1" fmla="*/ 8933248 w 8933278"/>
              <a:gd name="connsiteY1" fmla="*/ 0 h 6635115"/>
              <a:gd name="connsiteX2" fmla="*/ 8915642 w 8933278"/>
              <a:gd name="connsiteY2" fmla="*/ 6633461 h 6635115"/>
              <a:gd name="connsiteX3" fmla="*/ 579722 w 8933278"/>
              <a:gd name="connsiteY3" fmla="*/ 6635115 h 6635115"/>
              <a:gd name="connsiteX4" fmla="*/ 0 w 8933278"/>
              <a:gd name="connsiteY4" fmla="*/ 6055393 h 6635115"/>
              <a:gd name="connsiteX5" fmla="*/ 0 w 8933278"/>
              <a:gd name="connsiteY5" fmla="*/ 1653 h 6635115"/>
              <a:gd name="connsiteX0" fmla="*/ 0 w 8933323"/>
              <a:gd name="connsiteY0" fmla="*/ 1653 h 6645336"/>
              <a:gd name="connsiteX1" fmla="*/ 8933248 w 8933323"/>
              <a:gd name="connsiteY1" fmla="*/ 0 h 6645336"/>
              <a:gd name="connsiteX2" fmla="*/ 8927517 w 8933323"/>
              <a:gd name="connsiteY2" fmla="*/ 6645336 h 6645336"/>
              <a:gd name="connsiteX3" fmla="*/ 579722 w 8933323"/>
              <a:gd name="connsiteY3" fmla="*/ 6635115 h 6645336"/>
              <a:gd name="connsiteX4" fmla="*/ 0 w 8933323"/>
              <a:gd name="connsiteY4" fmla="*/ 6055393 h 6645336"/>
              <a:gd name="connsiteX5" fmla="*/ 0 w 8933323"/>
              <a:gd name="connsiteY5" fmla="*/ 1653 h 6645336"/>
              <a:gd name="connsiteX0" fmla="*/ 0 w 8927517"/>
              <a:gd name="connsiteY0" fmla="*/ 1653 h 6645336"/>
              <a:gd name="connsiteX1" fmla="*/ 7971347 w 8927517"/>
              <a:gd name="connsiteY1" fmla="*/ 0 h 6645336"/>
              <a:gd name="connsiteX2" fmla="*/ 8927517 w 8927517"/>
              <a:gd name="connsiteY2" fmla="*/ 6645336 h 6645336"/>
              <a:gd name="connsiteX3" fmla="*/ 579722 w 8927517"/>
              <a:gd name="connsiteY3" fmla="*/ 6635115 h 6645336"/>
              <a:gd name="connsiteX4" fmla="*/ 0 w 8927517"/>
              <a:gd name="connsiteY4" fmla="*/ 6055393 h 6645336"/>
              <a:gd name="connsiteX5" fmla="*/ 0 w 8927517"/>
              <a:gd name="connsiteY5" fmla="*/ 1653 h 6645336"/>
              <a:gd name="connsiteX0" fmla="*/ 0 w 7971422"/>
              <a:gd name="connsiteY0" fmla="*/ 1653 h 6645336"/>
              <a:gd name="connsiteX1" fmla="*/ 7971347 w 7971422"/>
              <a:gd name="connsiteY1" fmla="*/ 0 h 6645336"/>
              <a:gd name="connsiteX2" fmla="*/ 7965616 w 7971422"/>
              <a:gd name="connsiteY2" fmla="*/ 6645336 h 6645336"/>
              <a:gd name="connsiteX3" fmla="*/ 579722 w 7971422"/>
              <a:gd name="connsiteY3" fmla="*/ 6635115 h 6645336"/>
              <a:gd name="connsiteX4" fmla="*/ 0 w 7971422"/>
              <a:gd name="connsiteY4" fmla="*/ 6055393 h 6645336"/>
              <a:gd name="connsiteX5" fmla="*/ 0 w 7971422"/>
              <a:gd name="connsiteY5" fmla="*/ 1653 h 6645336"/>
              <a:gd name="connsiteX0" fmla="*/ 0 w 7971422"/>
              <a:gd name="connsiteY0" fmla="*/ 1301816 h 6645336"/>
              <a:gd name="connsiteX1" fmla="*/ 7971347 w 7971422"/>
              <a:gd name="connsiteY1" fmla="*/ 0 h 6645336"/>
              <a:gd name="connsiteX2" fmla="*/ 7965616 w 7971422"/>
              <a:gd name="connsiteY2" fmla="*/ 6645336 h 6645336"/>
              <a:gd name="connsiteX3" fmla="*/ 579722 w 7971422"/>
              <a:gd name="connsiteY3" fmla="*/ 6635115 h 6645336"/>
              <a:gd name="connsiteX4" fmla="*/ 0 w 7971422"/>
              <a:gd name="connsiteY4" fmla="*/ 6055393 h 6645336"/>
              <a:gd name="connsiteX5" fmla="*/ 0 w 7971422"/>
              <a:gd name="connsiteY5" fmla="*/ 1301816 h 6645336"/>
              <a:gd name="connsiteX0" fmla="*/ 0 w 7965616"/>
              <a:gd name="connsiteY0" fmla="*/ 1653 h 5345173"/>
              <a:gd name="connsiteX1" fmla="*/ 7957060 w 7965616"/>
              <a:gd name="connsiteY1" fmla="*/ 0 h 5345173"/>
              <a:gd name="connsiteX2" fmla="*/ 7965616 w 7965616"/>
              <a:gd name="connsiteY2" fmla="*/ 5345173 h 5345173"/>
              <a:gd name="connsiteX3" fmla="*/ 579722 w 7965616"/>
              <a:gd name="connsiteY3" fmla="*/ 5334952 h 5345173"/>
              <a:gd name="connsiteX4" fmla="*/ 0 w 7965616"/>
              <a:gd name="connsiteY4" fmla="*/ 4755230 h 5345173"/>
              <a:gd name="connsiteX5" fmla="*/ 0 w 7965616"/>
              <a:gd name="connsiteY5" fmla="*/ 1653 h 5345173"/>
              <a:gd name="connsiteX0" fmla="*/ 0 w 7971422"/>
              <a:gd name="connsiteY0" fmla="*/ 1653 h 5345173"/>
              <a:gd name="connsiteX1" fmla="*/ 7971347 w 7971422"/>
              <a:gd name="connsiteY1" fmla="*/ 0 h 5345173"/>
              <a:gd name="connsiteX2" fmla="*/ 7965616 w 7971422"/>
              <a:gd name="connsiteY2" fmla="*/ 5345173 h 5345173"/>
              <a:gd name="connsiteX3" fmla="*/ 579722 w 7971422"/>
              <a:gd name="connsiteY3" fmla="*/ 5334952 h 5345173"/>
              <a:gd name="connsiteX4" fmla="*/ 0 w 7971422"/>
              <a:gd name="connsiteY4" fmla="*/ 4755230 h 5345173"/>
              <a:gd name="connsiteX5" fmla="*/ 0 w 7971422"/>
              <a:gd name="connsiteY5" fmla="*/ 1653 h 5345173"/>
              <a:gd name="connsiteX0" fmla="*/ 0 w 7988356"/>
              <a:gd name="connsiteY0" fmla="*/ 187920 h 5345173"/>
              <a:gd name="connsiteX1" fmla="*/ 7988281 w 7988356"/>
              <a:gd name="connsiteY1" fmla="*/ 0 h 5345173"/>
              <a:gd name="connsiteX2" fmla="*/ 7982550 w 7988356"/>
              <a:gd name="connsiteY2" fmla="*/ 5345173 h 5345173"/>
              <a:gd name="connsiteX3" fmla="*/ 596656 w 7988356"/>
              <a:gd name="connsiteY3" fmla="*/ 5334952 h 5345173"/>
              <a:gd name="connsiteX4" fmla="*/ 16934 w 7988356"/>
              <a:gd name="connsiteY4" fmla="*/ 4755230 h 5345173"/>
              <a:gd name="connsiteX5" fmla="*/ 0 w 7988356"/>
              <a:gd name="connsiteY5" fmla="*/ 187920 h 5345173"/>
              <a:gd name="connsiteX0" fmla="*/ 0 w 7988356"/>
              <a:gd name="connsiteY0" fmla="*/ 210145 h 5345173"/>
              <a:gd name="connsiteX1" fmla="*/ 7988281 w 7988356"/>
              <a:gd name="connsiteY1" fmla="*/ 0 h 5345173"/>
              <a:gd name="connsiteX2" fmla="*/ 7982550 w 7988356"/>
              <a:gd name="connsiteY2" fmla="*/ 5345173 h 5345173"/>
              <a:gd name="connsiteX3" fmla="*/ 596656 w 7988356"/>
              <a:gd name="connsiteY3" fmla="*/ 5334952 h 5345173"/>
              <a:gd name="connsiteX4" fmla="*/ 16934 w 7988356"/>
              <a:gd name="connsiteY4" fmla="*/ 4755230 h 5345173"/>
              <a:gd name="connsiteX5" fmla="*/ 0 w 7988356"/>
              <a:gd name="connsiteY5" fmla="*/ 210145 h 5345173"/>
              <a:gd name="connsiteX0" fmla="*/ 0 w 7988356"/>
              <a:gd name="connsiteY0" fmla="*/ 0 h 5135028"/>
              <a:gd name="connsiteX1" fmla="*/ 7988281 w 7988356"/>
              <a:gd name="connsiteY1" fmla="*/ 7569 h 5135028"/>
              <a:gd name="connsiteX2" fmla="*/ 7982550 w 7988356"/>
              <a:gd name="connsiteY2" fmla="*/ 5135028 h 5135028"/>
              <a:gd name="connsiteX3" fmla="*/ 596656 w 7988356"/>
              <a:gd name="connsiteY3" fmla="*/ 5124807 h 5135028"/>
              <a:gd name="connsiteX4" fmla="*/ 16934 w 7988356"/>
              <a:gd name="connsiteY4" fmla="*/ 4545085 h 5135028"/>
              <a:gd name="connsiteX5" fmla="*/ 0 w 7988356"/>
              <a:gd name="connsiteY5" fmla="*/ 0 h 5135028"/>
              <a:gd name="connsiteX0" fmla="*/ 0 w 7982550"/>
              <a:gd name="connsiteY0" fmla="*/ 0 h 5135028"/>
              <a:gd name="connsiteX1" fmla="*/ 6028853 w 7982550"/>
              <a:gd name="connsiteY1" fmla="*/ 7569 h 5135028"/>
              <a:gd name="connsiteX2" fmla="*/ 7982550 w 7982550"/>
              <a:gd name="connsiteY2" fmla="*/ 5135028 h 5135028"/>
              <a:gd name="connsiteX3" fmla="*/ 596656 w 7982550"/>
              <a:gd name="connsiteY3" fmla="*/ 5124807 h 5135028"/>
              <a:gd name="connsiteX4" fmla="*/ 16934 w 7982550"/>
              <a:gd name="connsiteY4" fmla="*/ 4545085 h 5135028"/>
              <a:gd name="connsiteX5" fmla="*/ 0 w 7982550"/>
              <a:gd name="connsiteY5" fmla="*/ 0 h 5135028"/>
              <a:gd name="connsiteX0" fmla="*/ 0 w 6037636"/>
              <a:gd name="connsiteY0" fmla="*/ 0 h 5135028"/>
              <a:gd name="connsiteX1" fmla="*/ 6028853 w 6037636"/>
              <a:gd name="connsiteY1" fmla="*/ 7569 h 5135028"/>
              <a:gd name="connsiteX2" fmla="*/ 6037636 w 6037636"/>
              <a:gd name="connsiteY2" fmla="*/ 5135028 h 5135028"/>
              <a:gd name="connsiteX3" fmla="*/ 596656 w 6037636"/>
              <a:gd name="connsiteY3" fmla="*/ 5124807 h 5135028"/>
              <a:gd name="connsiteX4" fmla="*/ 16934 w 6037636"/>
              <a:gd name="connsiteY4" fmla="*/ 4545085 h 5135028"/>
              <a:gd name="connsiteX5" fmla="*/ 0 w 6037636"/>
              <a:gd name="connsiteY5" fmla="*/ 0 h 51350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037636" h="5135028">
                <a:moveTo>
                  <a:pt x="0" y="0"/>
                </a:moveTo>
                <a:lnTo>
                  <a:pt x="6028853" y="7569"/>
                </a:lnTo>
                <a:cubicBezTo>
                  <a:pt x="6029758" y="2154376"/>
                  <a:pt x="6036731" y="2988221"/>
                  <a:pt x="6037636" y="5135028"/>
                </a:cubicBezTo>
                <a:lnTo>
                  <a:pt x="596656" y="5124807"/>
                </a:lnTo>
                <a:cubicBezTo>
                  <a:pt x="276484" y="5124807"/>
                  <a:pt x="16934" y="4865257"/>
                  <a:pt x="16934" y="4545085"/>
                </a:cubicBezTo>
                <a:cubicBezTo>
                  <a:pt x="11289" y="3022648"/>
                  <a:pt x="5645" y="1522437"/>
                  <a:pt x="0" y="0"/>
                </a:cubicBezTo>
                <a:close/>
              </a:path>
            </a:pathLst>
          </a:custGeom>
          <a:noFill/>
        </p:spPr>
        <p:txBody>
          <a:bodyPr>
            <a:normAutofit/>
          </a:bodyPr>
          <a:lstStyle>
            <a:lvl1pPr marL="0" indent="0">
              <a:buNone/>
              <a:defRPr sz="1400">
                <a:solidFill>
                  <a:schemeClr val="tx1"/>
                </a:solidFill>
              </a:defRPr>
            </a:lvl1pPr>
          </a:lstStyle>
          <a:p>
            <a:r>
              <a:rPr lang="en-JP" dirty="0"/>
              <a:t>Insert Photo</a:t>
            </a:r>
          </a:p>
        </p:txBody>
      </p:sp>
      <p:sp>
        <p:nvSpPr>
          <p:cNvPr id="18" name="Text Placeholder 6">
            <a:extLst>
              <a:ext uri="{FF2B5EF4-FFF2-40B4-BE49-F238E27FC236}">
                <a16:creationId xmlns:a16="http://schemas.microsoft.com/office/drawing/2014/main" id="{D1F67940-C534-7E4A-ACD3-D94AF5FFD3CA}"/>
              </a:ext>
            </a:extLst>
          </p:cNvPr>
          <p:cNvSpPr>
            <a:spLocks noGrp="1"/>
          </p:cNvSpPr>
          <p:nvPr>
            <p:ph type="body" sz="quarter" idx="14" hasCustomPrompt="1"/>
          </p:nvPr>
        </p:nvSpPr>
        <p:spPr>
          <a:xfrm>
            <a:off x="311150" y="3178298"/>
            <a:ext cx="5708650" cy="272786"/>
          </a:xfrm>
        </p:spPr>
        <p:txBody>
          <a:bodyPr tIns="0" rIns="0" bIns="0" numCol="1">
            <a:noAutofit/>
          </a:bodyPr>
          <a:lstStyle>
            <a:lvl1pPr marL="0" indent="0">
              <a:lnSpc>
                <a:spcPct val="100000"/>
              </a:lnSpc>
              <a:spcBef>
                <a:spcPts val="0"/>
              </a:spcBef>
              <a:spcAft>
                <a:spcPts val="600"/>
              </a:spcAft>
              <a:buNone/>
              <a:defRPr sz="18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dirty="0"/>
              <a:t>This is your Secondary Title</a:t>
            </a:r>
          </a:p>
        </p:txBody>
      </p:sp>
      <p:sp>
        <p:nvSpPr>
          <p:cNvPr id="21" name="Text Placeholder 6">
            <a:extLst>
              <a:ext uri="{FF2B5EF4-FFF2-40B4-BE49-F238E27FC236}">
                <a16:creationId xmlns:a16="http://schemas.microsoft.com/office/drawing/2014/main" id="{7763AA1A-832E-D147-B41F-806ECDE44A60}"/>
              </a:ext>
            </a:extLst>
          </p:cNvPr>
          <p:cNvSpPr>
            <a:spLocks noGrp="1"/>
          </p:cNvSpPr>
          <p:nvPr>
            <p:ph type="body" sz="quarter" idx="15" hasCustomPrompt="1"/>
          </p:nvPr>
        </p:nvSpPr>
        <p:spPr>
          <a:xfrm>
            <a:off x="311150" y="3575904"/>
            <a:ext cx="5708650" cy="2859620"/>
          </a:xfrm>
        </p:spPr>
        <p:txBody>
          <a:bodyPr tIns="0" rIns="0" bIns="0" numCol="1">
            <a:noAutofit/>
          </a:bodyPr>
          <a:lstStyle>
            <a:lvl1pPr marL="171450" indent="-171450">
              <a:lnSpc>
                <a:spcPct val="100000"/>
              </a:lnSpc>
              <a:spcBef>
                <a:spcPts val="0"/>
              </a:spcBef>
              <a:spcAft>
                <a:spcPts val="600"/>
              </a:spcAft>
              <a:buFont typeface="Arial" panose="020B0604020202020204" pitchFamily="34" charset="0"/>
              <a:buChar char="•"/>
              <a:defRPr sz="1400" b="0">
                <a:solidFill>
                  <a:schemeClr val="tx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dirty="0"/>
              <a:t>This is your Secondary text. </a:t>
            </a:r>
          </a:p>
        </p:txBody>
      </p:sp>
      <p:sp>
        <p:nvSpPr>
          <p:cNvPr id="24" name="タイトル プレースホルダ 1">
            <a:extLst>
              <a:ext uri="{FF2B5EF4-FFF2-40B4-BE49-F238E27FC236}">
                <a16:creationId xmlns:a16="http://schemas.microsoft.com/office/drawing/2014/main" id="{5150A056-0B7A-DD4A-A38C-26A39DB94DE3}"/>
              </a:ext>
            </a:extLst>
          </p:cNvPr>
          <p:cNvSpPr>
            <a:spLocks noGrp="1"/>
          </p:cNvSpPr>
          <p:nvPr>
            <p:ph type="title" hasCustomPrompt="1"/>
          </p:nvPr>
        </p:nvSpPr>
        <p:spPr>
          <a:xfrm>
            <a:off x="606078" y="161605"/>
            <a:ext cx="9940253" cy="685801"/>
          </a:xfrm>
          <a:prstGeom prst="rect">
            <a:avLst/>
          </a:prstGeom>
        </p:spPr>
        <p:txBody>
          <a:bodyPr vert="horz" lIns="0" tIns="0" rIns="0" bIns="0" rtlCol="0" anchor="ctr">
            <a:normAutofit/>
          </a:bodyPr>
          <a:lstStyle/>
          <a:p>
            <a:r>
              <a:rPr kumimoji="1" lang="en-US" altLang="ja-JP" dirty="0"/>
              <a:t>Click to add title</a:t>
            </a:r>
            <a:endParaRPr kumimoji="1" lang="ja-JP" altLang="en-US"/>
          </a:p>
        </p:txBody>
      </p:sp>
      <p:sp>
        <p:nvSpPr>
          <p:cNvPr id="23" name="Rectangle 22">
            <a:extLst>
              <a:ext uri="{FF2B5EF4-FFF2-40B4-BE49-F238E27FC236}">
                <a16:creationId xmlns:a16="http://schemas.microsoft.com/office/drawing/2014/main" id="{C23BB5B0-EC38-C74E-9B7F-D8140E54C071}"/>
              </a:ext>
            </a:extLst>
          </p:cNvPr>
          <p:cNvSpPr/>
          <p:nvPr userDrawn="1"/>
        </p:nvSpPr>
        <p:spPr>
          <a:xfrm>
            <a:off x="308038" y="161606"/>
            <a:ext cx="54000" cy="68580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dirty="0">
              <a:solidFill>
                <a:schemeClr val="accent1"/>
              </a:solidFill>
            </a:endParaRPr>
          </a:p>
        </p:txBody>
      </p:sp>
      <p:sp>
        <p:nvSpPr>
          <p:cNvPr id="27" name="スライド番号プレースホルダ 5">
            <a:extLst>
              <a:ext uri="{FF2B5EF4-FFF2-40B4-BE49-F238E27FC236}">
                <a16:creationId xmlns:a16="http://schemas.microsoft.com/office/drawing/2014/main" id="{42B46CEA-C682-B846-A029-CD9FE12FF72A}"/>
              </a:ext>
            </a:extLst>
          </p:cNvPr>
          <p:cNvSpPr>
            <a:spLocks noGrp="1"/>
          </p:cNvSpPr>
          <p:nvPr>
            <p:ph type="sldNum" sz="quarter" idx="4"/>
          </p:nvPr>
        </p:nvSpPr>
        <p:spPr>
          <a:xfrm>
            <a:off x="311150" y="6523001"/>
            <a:ext cx="294928" cy="196131"/>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a:t>
            </a:fld>
            <a:endParaRPr lang="ja-JP" altLang="en-US"/>
          </a:p>
        </p:txBody>
      </p:sp>
      <p:sp>
        <p:nvSpPr>
          <p:cNvPr id="28" name="Text Placeholder 6">
            <a:extLst>
              <a:ext uri="{FF2B5EF4-FFF2-40B4-BE49-F238E27FC236}">
                <a16:creationId xmlns:a16="http://schemas.microsoft.com/office/drawing/2014/main" id="{FA0BC325-8F09-754C-A71C-82A8AF93AF41}"/>
              </a:ext>
            </a:extLst>
          </p:cNvPr>
          <p:cNvSpPr>
            <a:spLocks noGrp="1"/>
          </p:cNvSpPr>
          <p:nvPr>
            <p:ph type="body" sz="quarter" idx="16" hasCustomPrompt="1"/>
          </p:nvPr>
        </p:nvSpPr>
        <p:spPr>
          <a:xfrm>
            <a:off x="606078" y="6523001"/>
            <a:ext cx="6968348" cy="205613"/>
          </a:xfrm>
          <a:prstGeom prst="rect">
            <a:avLst/>
          </a:prstGeom>
        </p:spPr>
        <p:txBody>
          <a:bodyPr wrap="none" tIns="0" rIns="0" bIns="72000" numCol="1" anchor="ctr">
            <a:noAutofit/>
          </a:bodyPr>
          <a:lstStyle>
            <a:lvl1pPr marL="0" indent="0">
              <a:lnSpc>
                <a:spcPts val="1600"/>
              </a:lnSpc>
              <a:spcBef>
                <a:spcPts val="0"/>
              </a:spcBef>
              <a:spcAft>
                <a:spcPts val="600"/>
              </a:spcAft>
              <a:buFont typeface="Arial" panose="020B0604020202020204" pitchFamily="34" charset="0"/>
              <a:buNone/>
              <a:defRPr sz="800" b="0">
                <a:solidFill>
                  <a:schemeClr val="accent3"/>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dirty="0"/>
              <a:t>Private and confidential. For internal use only.</a:t>
            </a:r>
          </a:p>
        </p:txBody>
      </p:sp>
      <p:sp>
        <p:nvSpPr>
          <p:cNvPr id="29" name="Text Placeholder 2">
            <a:extLst>
              <a:ext uri="{FF2B5EF4-FFF2-40B4-BE49-F238E27FC236}">
                <a16:creationId xmlns:a16="http://schemas.microsoft.com/office/drawing/2014/main" id="{26121FE7-559E-0846-8166-1968C2ECA72F}"/>
              </a:ext>
            </a:extLst>
          </p:cNvPr>
          <p:cNvSpPr>
            <a:spLocks noGrp="1"/>
          </p:cNvSpPr>
          <p:nvPr>
            <p:ph type="body" sz="quarter" idx="20" hasCustomPrompt="1"/>
          </p:nvPr>
        </p:nvSpPr>
        <p:spPr>
          <a:xfrm>
            <a:off x="311151" y="1491373"/>
            <a:ext cx="5704886" cy="1464957"/>
          </a:xfrm>
        </p:spPr>
        <p:txBody>
          <a:bodyPr tIns="0" rIns="0" bIns="0" numCol="1" spcCol="126000">
            <a:noAutofit/>
          </a:bodyPr>
          <a:lstStyle>
            <a:lvl1pPr marL="0" indent="0">
              <a:lnSpc>
                <a:spcPct val="100000"/>
              </a:lnSpc>
              <a:spcBef>
                <a:spcPts val="0"/>
              </a:spcBef>
              <a:buNone/>
              <a:defRPr sz="1600" b="1"/>
            </a:lvl1pPr>
            <a:lvl2pPr marL="457068" indent="0">
              <a:buNone/>
              <a:defRPr sz="1800" b="1"/>
            </a:lvl2pPr>
            <a:lvl3pPr marL="914149" indent="0">
              <a:buNone/>
              <a:defRPr sz="1800" b="1"/>
            </a:lvl3pPr>
            <a:lvl4pPr marL="1371219" indent="0">
              <a:buNone/>
              <a:defRPr sz="1800" b="1"/>
            </a:lvl4pPr>
            <a:lvl5pPr marL="1828290" indent="0">
              <a:buNone/>
              <a:defRPr sz="1800" b="1"/>
            </a:lvl5pPr>
          </a:lstStyle>
          <a:p>
            <a:pPr lvl="0"/>
            <a:r>
              <a:rPr lang="en-US" dirty="0"/>
              <a:t>This is your Primary Text.</a:t>
            </a:r>
            <a:endParaRPr lang="en-JP" dirty="0"/>
          </a:p>
        </p:txBody>
      </p:sp>
      <p:sp>
        <p:nvSpPr>
          <p:cNvPr id="30" name="Text Placeholder 6">
            <a:extLst>
              <a:ext uri="{FF2B5EF4-FFF2-40B4-BE49-F238E27FC236}">
                <a16:creationId xmlns:a16="http://schemas.microsoft.com/office/drawing/2014/main" id="{981616AD-5FCE-F341-B307-479047B75A26}"/>
              </a:ext>
            </a:extLst>
          </p:cNvPr>
          <p:cNvSpPr>
            <a:spLocks noGrp="1"/>
          </p:cNvSpPr>
          <p:nvPr>
            <p:ph type="body" sz="quarter" idx="21" hasCustomPrompt="1"/>
          </p:nvPr>
        </p:nvSpPr>
        <p:spPr>
          <a:xfrm>
            <a:off x="311150" y="1093767"/>
            <a:ext cx="5704886" cy="272786"/>
          </a:xfrm>
        </p:spPr>
        <p:txBody>
          <a:bodyPr tIns="0" rIns="0" bIns="0" numCol="1">
            <a:noAutofit/>
          </a:bodyPr>
          <a:lstStyle>
            <a:lvl1pPr marL="0" indent="0">
              <a:lnSpc>
                <a:spcPct val="100000"/>
              </a:lnSpc>
              <a:spcBef>
                <a:spcPts val="0"/>
              </a:spcBef>
              <a:spcAft>
                <a:spcPts val="600"/>
              </a:spcAft>
              <a:buNone/>
              <a:defRPr sz="20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dirty="0"/>
              <a:t>This is your Primary Title</a:t>
            </a:r>
          </a:p>
        </p:txBody>
      </p:sp>
    </p:spTree>
    <p:extLst>
      <p:ext uri="{BB962C8B-B14F-4D97-AF65-F5344CB8AC3E}">
        <p14:creationId xmlns:p14="http://schemas.microsoft.com/office/powerpoint/2010/main" val="1393957046"/>
      </p:ext>
    </p:extLst>
  </p:cSld>
  <p:clrMapOvr>
    <a:masterClrMapping/>
  </p:clrMapOvr>
  <p:transition spd="slow">
    <p:push dir="u"/>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Advanced 1/2 Image (Full Bleed)">
    <p:spTree>
      <p:nvGrpSpPr>
        <p:cNvPr id="1" name=""/>
        <p:cNvGrpSpPr/>
        <p:nvPr/>
      </p:nvGrpSpPr>
      <p:grpSpPr>
        <a:xfrm>
          <a:off x="0" y="0"/>
          <a:ext cx="0" cy="0"/>
          <a:chOff x="0" y="0"/>
          <a:chExt cx="0" cy="0"/>
        </a:xfrm>
      </p:grpSpPr>
      <p:sp>
        <p:nvSpPr>
          <p:cNvPr id="13" name="Picture Placeholder 9">
            <a:extLst>
              <a:ext uri="{FF2B5EF4-FFF2-40B4-BE49-F238E27FC236}">
                <a16:creationId xmlns:a16="http://schemas.microsoft.com/office/drawing/2014/main" id="{DA0F537B-2380-C640-8119-936AD7786464}"/>
              </a:ext>
            </a:extLst>
          </p:cNvPr>
          <p:cNvSpPr>
            <a:spLocks noGrp="1"/>
          </p:cNvSpPr>
          <p:nvPr>
            <p:ph type="pic" sz="quarter" idx="18" hasCustomPrompt="1"/>
          </p:nvPr>
        </p:nvSpPr>
        <p:spPr>
          <a:xfrm>
            <a:off x="6185454" y="-5494"/>
            <a:ext cx="6024384" cy="6863494"/>
          </a:xfrm>
          <a:custGeom>
            <a:avLst/>
            <a:gdLst>
              <a:gd name="connsiteX0" fmla="*/ 0 w 10888662"/>
              <a:gd name="connsiteY0" fmla="*/ 579722 h 6442075"/>
              <a:gd name="connsiteX1" fmla="*/ 579722 w 10888662"/>
              <a:gd name="connsiteY1" fmla="*/ 0 h 6442075"/>
              <a:gd name="connsiteX2" fmla="*/ 10308940 w 10888662"/>
              <a:gd name="connsiteY2" fmla="*/ 0 h 6442075"/>
              <a:gd name="connsiteX3" fmla="*/ 10888662 w 10888662"/>
              <a:gd name="connsiteY3" fmla="*/ 579722 h 6442075"/>
              <a:gd name="connsiteX4" fmla="*/ 10888662 w 10888662"/>
              <a:gd name="connsiteY4" fmla="*/ 5862353 h 6442075"/>
              <a:gd name="connsiteX5" fmla="*/ 10308940 w 10888662"/>
              <a:gd name="connsiteY5" fmla="*/ 6442075 h 6442075"/>
              <a:gd name="connsiteX6" fmla="*/ 579722 w 10888662"/>
              <a:gd name="connsiteY6" fmla="*/ 6442075 h 6442075"/>
              <a:gd name="connsiteX7" fmla="*/ 0 w 10888662"/>
              <a:gd name="connsiteY7" fmla="*/ 5862353 h 6442075"/>
              <a:gd name="connsiteX8" fmla="*/ 0 w 10888662"/>
              <a:gd name="connsiteY8" fmla="*/ 579722 h 6442075"/>
              <a:gd name="connsiteX0" fmla="*/ 0 w 10888662"/>
              <a:gd name="connsiteY0" fmla="*/ 659657 h 6522010"/>
              <a:gd name="connsiteX1" fmla="*/ 10308940 w 10888662"/>
              <a:gd name="connsiteY1" fmla="*/ 79935 h 6522010"/>
              <a:gd name="connsiteX2" fmla="*/ 10888662 w 10888662"/>
              <a:gd name="connsiteY2" fmla="*/ 659657 h 6522010"/>
              <a:gd name="connsiteX3" fmla="*/ 10888662 w 10888662"/>
              <a:gd name="connsiteY3" fmla="*/ 5942288 h 6522010"/>
              <a:gd name="connsiteX4" fmla="*/ 10308940 w 10888662"/>
              <a:gd name="connsiteY4" fmla="*/ 6522010 h 6522010"/>
              <a:gd name="connsiteX5" fmla="*/ 579722 w 10888662"/>
              <a:gd name="connsiteY5" fmla="*/ 6522010 h 6522010"/>
              <a:gd name="connsiteX6" fmla="*/ 0 w 10888662"/>
              <a:gd name="connsiteY6" fmla="*/ 5942288 h 6522010"/>
              <a:gd name="connsiteX7" fmla="*/ 0 w 10888662"/>
              <a:gd name="connsiteY7" fmla="*/ 659657 h 6522010"/>
              <a:gd name="connsiteX0" fmla="*/ 0 w 10888662"/>
              <a:gd name="connsiteY0" fmla="*/ 579722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579722 h 6442075"/>
              <a:gd name="connsiteX0" fmla="*/ 0 w 10888662"/>
              <a:gd name="connsiteY0" fmla="*/ 129257 h 6569679"/>
              <a:gd name="connsiteX1" fmla="*/ 10308940 w 10888662"/>
              <a:gd name="connsiteY1" fmla="*/ 127604 h 6569679"/>
              <a:gd name="connsiteX2" fmla="*/ 10888662 w 10888662"/>
              <a:gd name="connsiteY2" fmla="*/ 707326 h 6569679"/>
              <a:gd name="connsiteX3" fmla="*/ 10888662 w 10888662"/>
              <a:gd name="connsiteY3" fmla="*/ 5989957 h 6569679"/>
              <a:gd name="connsiteX4" fmla="*/ 10308940 w 10888662"/>
              <a:gd name="connsiteY4" fmla="*/ 6569679 h 6569679"/>
              <a:gd name="connsiteX5" fmla="*/ 579722 w 10888662"/>
              <a:gd name="connsiteY5" fmla="*/ 6569679 h 6569679"/>
              <a:gd name="connsiteX6" fmla="*/ 0 w 10888662"/>
              <a:gd name="connsiteY6" fmla="*/ 5989957 h 6569679"/>
              <a:gd name="connsiteX7" fmla="*/ 0 w 10888662"/>
              <a:gd name="connsiteY7" fmla="*/ 129257 h 6569679"/>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9657299 w 10888662"/>
              <a:gd name="connsiteY4" fmla="*/ 55276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522010"/>
              <a:gd name="connsiteX1" fmla="*/ 10308940 w 10888662"/>
              <a:gd name="connsiteY1" fmla="*/ 0 h 6522010"/>
              <a:gd name="connsiteX2" fmla="*/ 10888662 w 10888662"/>
              <a:gd name="connsiteY2" fmla="*/ 579722 h 6522010"/>
              <a:gd name="connsiteX3" fmla="*/ 10888662 w 10888662"/>
              <a:gd name="connsiteY3" fmla="*/ 5862353 h 6522010"/>
              <a:gd name="connsiteX4" fmla="*/ 579722 w 10888662"/>
              <a:gd name="connsiteY4" fmla="*/ 6442075 h 6522010"/>
              <a:gd name="connsiteX5" fmla="*/ 0 w 10888662"/>
              <a:gd name="connsiteY5" fmla="*/ 5862353 h 6522010"/>
              <a:gd name="connsiteX6" fmla="*/ 0 w 10888662"/>
              <a:gd name="connsiteY6" fmla="*/ 1653 h 6522010"/>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579722 w 10888662"/>
              <a:gd name="connsiteY4" fmla="*/ 6442075 h 6442075"/>
              <a:gd name="connsiteX5" fmla="*/ 0 w 10888662"/>
              <a:gd name="connsiteY5" fmla="*/ 5862353 h 6442075"/>
              <a:gd name="connsiteX6" fmla="*/ 0 w 10888662"/>
              <a:gd name="connsiteY6" fmla="*/ 1653 h 6442075"/>
              <a:gd name="connsiteX0" fmla="*/ 0 w 10888662"/>
              <a:gd name="connsiteY0" fmla="*/ 1653 h 6585432"/>
              <a:gd name="connsiteX1" fmla="*/ 10308940 w 10888662"/>
              <a:gd name="connsiteY1" fmla="*/ 0 h 6585432"/>
              <a:gd name="connsiteX2" fmla="*/ 10888662 w 10888662"/>
              <a:gd name="connsiteY2" fmla="*/ 579722 h 6585432"/>
              <a:gd name="connsiteX3" fmla="*/ 10878151 w 10888662"/>
              <a:gd name="connsiteY3" fmla="*/ 6461442 h 6585432"/>
              <a:gd name="connsiteX4" fmla="*/ 579722 w 10888662"/>
              <a:gd name="connsiteY4" fmla="*/ 6442075 h 6585432"/>
              <a:gd name="connsiteX5" fmla="*/ 0 w 10888662"/>
              <a:gd name="connsiteY5" fmla="*/ 5862353 h 6585432"/>
              <a:gd name="connsiteX6" fmla="*/ 0 w 10888662"/>
              <a:gd name="connsiteY6" fmla="*/ 1653 h 6585432"/>
              <a:gd name="connsiteX0" fmla="*/ 0 w 10888662"/>
              <a:gd name="connsiteY0" fmla="*/ 1653 h 6577502"/>
              <a:gd name="connsiteX1" fmla="*/ 10308940 w 10888662"/>
              <a:gd name="connsiteY1" fmla="*/ 0 h 6577502"/>
              <a:gd name="connsiteX2" fmla="*/ 10888662 w 10888662"/>
              <a:gd name="connsiteY2" fmla="*/ 579722 h 6577502"/>
              <a:gd name="connsiteX3" fmla="*/ 10878151 w 10888662"/>
              <a:gd name="connsiteY3" fmla="*/ 6450932 h 6577502"/>
              <a:gd name="connsiteX4" fmla="*/ 579722 w 10888662"/>
              <a:gd name="connsiteY4" fmla="*/ 6442075 h 6577502"/>
              <a:gd name="connsiteX5" fmla="*/ 0 w 10888662"/>
              <a:gd name="connsiteY5" fmla="*/ 5862353 h 6577502"/>
              <a:gd name="connsiteX6" fmla="*/ 0 w 10888662"/>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0888662"/>
              <a:gd name="connsiteY0" fmla="*/ 1653 h 6450932"/>
              <a:gd name="connsiteX1" fmla="*/ 10308940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0999550"/>
              <a:gd name="connsiteY0" fmla="*/ 1653 h 6450932"/>
              <a:gd name="connsiteX1" fmla="*/ 10844968 w 10999550"/>
              <a:gd name="connsiteY1" fmla="*/ 0 h 6450932"/>
              <a:gd name="connsiteX2" fmla="*/ 10888662 w 10999550"/>
              <a:gd name="connsiteY2" fmla="*/ 579722 h 6450932"/>
              <a:gd name="connsiteX3" fmla="*/ 10878151 w 10999550"/>
              <a:gd name="connsiteY3" fmla="*/ 6450932 h 6450932"/>
              <a:gd name="connsiteX4" fmla="*/ 579722 w 10999550"/>
              <a:gd name="connsiteY4" fmla="*/ 6442075 h 6450932"/>
              <a:gd name="connsiteX5" fmla="*/ 0 w 10999550"/>
              <a:gd name="connsiteY5" fmla="*/ 5862353 h 6450932"/>
              <a:gd name="connsiteX6" fmla="*/ 0 w 10999550"/>
              <a:gd name="connsiteY6" fmla="*/ 1653 h 6450932"/>
              <a:gd name="connsiteX0" fmla="*/ 0 w 11022020"/>
              <a:gd name="connsiteY0" fmla="*/ 1653 h 6450932"/>
              <a:gd name="connsiteX1" fmla="*/ 10876499 w 11022020"/>
              <a:gd name="connsiteY1" fmla="*/ 0 h 6450932"/>
              <a:gd name="connsiteX2" fmla="*/ 10888662 w 11022020"/>
              <a:gd name="connsiteY2" fmla="*/ 579722 h 6450932"/>
              <a:gd name="connsiteX3" fmla="*/ 10878151 w 11022020"/>
              <a:gd name="connsiteY3" fmla="*/ 6450932 h 6450932"/>
              <a:gd name="connsiteX4" fmla="*/ 579722 w 11022020"/>
              <a:gd name="connsiteY4" fmla="*/ 6442075 h 6450932"/>
              <a:gd name="connsiteX5" fmla="*/ 0 w 11022020"/>
              <a:gd name="connsiteY5" fmla="*/ 5862353 h 6450932"/>
              <a:gd name="connsiteX6" fmla="*/ 0 w 11022020"/>
              <a:gd name="connsiteY6" fmla="*/ 1653 h 6450932"/>
              <a:gd name="connsiteX0" fmla="*/ 0 w 10888662"/>
              <a:gd name="connsiteY0" fmla="*/ 1653 h 6450932"/>
              <a:gd name="connsiteX1" fmla="*/ 10876499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2200990"/>
              <a:gd name="connsiteY0" fmla="*/ 1653 h 6450932"/>
              <a:gd name="connsiteX1" fmla="*/ 10876499 w 12200990"/>
              <a:gd name="connsiteY1" fmla="*/ 0 h 6450932"/>
              <a:gd name="connsiteX2" fmla="*/ 10878151 w 12200990"/>
              <a:gd name="connsiteY2" fmla="*/ 6450932 h 6450932"/>
              <a:gd name="connsiteX3" fmla="*/ 579722 w 12200990"/>
              <a:gd name="connsiteY3" fmla="*/ 6442075 h 6450932"/>
              <a:gd name="connsiteX4" fmla="*/ 0 w 12200990"/>
              <a:gd name="connsiteY4" fmla="*/ 5862353 h 6450932"/>
              <a:gd name="connsiteX5" fmla="*/ 0 w 12200990"/>
              <a:gd name="connsiteY5" fmla="*/ 1653 h 6450932"/>
              <a:gd name="connsiteX0" fmla="*/ 0 w 11640630"/>
              <a:gd name="connsiteY0" fmla="*/ 1653 h 6450932"/>
              <a:gd name="connsiteX1" fmla="*/ 10876499 w 11640630"/>
              <a:gd name="connsiteY1" fmla="*/ 0 h 6450932"/>
              <a:gd name="connsiteX2" fmla="*/ 10878151 w 11640630"/>
              <a:gd name="connsiteY2" fmla="*/ 6450932 h 6450932"/>
              <a:gd name="connsiteX3" fmla="*/ 579722 w 11640630"/>
              <a:gd name="connsiteY3" fmla="*/ 6442075 h 6450932"/>
              <a:gd name="connsiteX4" fmla="*/ 0 w 11640630"/>
              <a:gd name="connsiteY4" fmla="*/ 5862353 h 6450932"/>
              <a:gd name="connsiteX5" fmla="*/ 0 w 11640630"/>
              <a:gd name="connsiteY5" fmla="*/ 1653 h 6450932"/>
              <a:gd name="connsiteX0" fmla="*/ 0 w 10878151"/>
              <a:gd name="connsiteY0" fmla="*/ 1653 h 6450932"/>
              <a:gd name="connsiteX1" fmla="*/ 10876499 w 10878151"/>
              <a:gd name="connsiteY1" fmla="*/ 0 h 6450932"/>
              <a:gd name="connsiteX2" fmla="*/ 10878151 w 10878151"/>
              <a:gd name="connsiteY2" fmla="*/ 6450932 h 6450932"/>
              <a:gd name="connsiteX3" fmla="*/ 579722 w 10878151"/>
              <a:gd name="connsiteY3" fmla="*/ 6442075 h 6450932"/>
              <a:gd name="connsiteX4" fmla="*/ 0 w 10878151"/>
              <a:gd name="connsiteY4" fmla="*/ 5862353 h 6450932"/>
              <a:gd name="connsiteX5" fmla="*/ 0 w 10878151"/>
              <a:gd name="connsiteY5" fmla="*/ 1653 h 6450932"/>
              <a:gd name="connsiteX0" fmla="*/ 0 w 11843451"/>
              <a:gd name="connsiteY0" fmla="*/ 1653 h 6450932"/>
              <a:gd name="connsiteX1" fmla="*/ 11843451 w 11843451"/>
              <a:gd name="connsiteY1" fmla="*/ 0 h 6450932"/>
              <a:gd name="connsiteX2" fmla="*/ 10878151 w 11843451"/>
              <a:gd name="connsiteY2" fmla="*/ 6450932 h 6450932"/>
              <a:gd name="connsiteX3" fmla="*/ 579722 w 11843451"/>
              <a:gd name="connsiteY3" fmla="*/ 6442075 h 6450932"/>
              <a:gd name="connsiteX4" fmla="*/ 0 w 11843451"/>
              <a:gd name="connsiteY4" fmla="*/ 5862353 h 6450932"/>
              <a:gd name="connsiteX5" fmla="*/ 0 w 11843451"/>
              <a:gd name="connsiteY5" fmla="*/ 1653 h 6450932"/>
              <a:gd name="connsiteX0" fmla="*/ 0 w 11855613"/>
              <a:gd name="connsiteY0" fmla="*/ 1653 h 6450932"/>
              <a:gd name="connsiteX1" fmla="*/ 11843451 w 11855613"/>
              <a:gd name="connsiteY1" fmla="*/ 0 h 6450932"/>
              <a:gd name="connsiteX2" fmla="*/ 11855613 w 11855613"/>
              <a:gd name="connsiteY2" fmla="*/ 6450932 h 6450932"/>
              <a:gd name="connsiteX3" fmla="*/ 579722 w 11855613"/>
              <a:gd name="connsiteY3" fmla="*/ 6442075 h 6450932"/>
              <a:gd name="connsiteX4" fmla="*/ 0 w 11855613"/>
              <a:gd name="connsiteY4" fmla="*/ 5862353 h 6450932"/>
              <a:gd name="connsiteX5" fmla="*/ 0 w 11855613"/>
              <a:gd name="connsiteY5" fmla="*/ 1653 h 6450932"/>
              <a:gd name="connsiteX0" fmla="*/ 0 w 11864472"/>
              <a:gd name="connsiteY0" fmla="*/ 1653 h 6450932"/>
              <a:gd name="connsiteX1" fmla="*/ 11864472 w 11864472"/>
              <a:gd name="connsiteY1" fmla="*/ 0 h 6450932"/>
              <a:gd name="connsiteX2" fmla="*/ 11855613 w 11864472"/>
              <a:gd name="connsiteY2" fmla="*/ 6450932 h 6450932"/>
              <a:gd name="connsiteX3" fmla="*/ 579722 w 11864472"/>
              <a:gd name="connsiteY3" fmla="*/ 6442075 h 6450932"/>
              <a:gd name="connsiteX4" fmla="*/ 0 w 11864472"/>
              <a:gd name="connsiteY4" fmla="*/ 5862353 h 6450932"/>
              <a:gd name="connsiteX5" fmla="*/ 0 w 11864472"/>
              <a:gd name="connsiteY5" fmla="*/ 1653 h 6450932"/>
              <a:gd name="connsiteX0" fmla="*/ 0 w 11864472"/>
              <a:gd name="connsiteY0" fmla="*/ 1653 h 6442075"/>
              <a:gd name="connsiteX1" fmla="*/ 11864472 w 11864472"/>
              <a:gd name="connsiteY1" fmla="*/ 0 h 6442075"/>
              <a:gd name="connsiteX2" fmla="*/ 11855613 w 11864472"/>
              <a:gd name="connsiteY2" fmla="*/ 6440421 h 6442075"/>
              <a:gd name="connsiteX3" fmla="*/ 579722 w 11864472"/>
              <a:gd name="connsiteY3" fmla="*/ 6442075 h 6442075"/>
              <a:gd name="connsiteX4" fmla="*/ 0 w 11864472"/>
              <a:gd name="connsiteY4" fmla="*/ 5862353 h 6442075"/>
              <a:gd name="connsiteX5" fmla="*/ 0 w 11864472"/>
              <a:gd name="connsiteY5" fmla="*/ 1653 h 6442075"/>
              <a:gd name="connsiteX0" fmla="*/ 0 w 11855613"/>
              <a:gd name="connsiteY0" fmla="*/ 1653 h 6442075"/>
              <a:gd name="connsiteX1" fmla="*/ 8912928 w 11855613"/>
              <a:gd name="connsiteY1" fmla="*/ 0 h 6442075"/>
              <a:gd name="connsiteX2" fmla="*/ 11855613 w 11855613"/>
              <a:gd name="connsiteY2" fmla="*/ 6440421 h 6442075"/>
              <a:gd name="connsiteX3" fmla="*/ 579722 w 11855613"/>
              <a:gd name="connsiteY3" fmla="*/ 6442075 h 6442075"/>
              <a:gd name="connsiteX4" fmla="*/ 0 w 11855613"/>
              <a:gd name="connsiteY4" fmla="*/ 5862353 h 6442075"/>
              <a:gd name="connsiteX5" fmla="*/ 0 w 11855613"/>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74032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36077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1615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15642"/>
              <a:gd name="connsiteY0" fmla="*/ 1653 h 6442075"/>
              <a:gd name="connsiteX1" fmla="*/ 8912928 w 8915642"/>
              <a:gd name="connsiteY1" fmla="*/ 0 h 6442075"/>
              <a:gd name="connsiteX2" fmla="*/ 8915642 w 8915642"/>
              <a:gd name="connsiteY2" fmla="*/ 6440421 h 6442075"/>
              <a:gd name="connsiteX3" fmla="*/ 579722 w 8915642"/>
              <a:gd name="connsiteY3" fmla="*/ 6442075 h 6442075"/>
              <a:gd name="connsiteX4" fmla="*/ 0 w 8915642"/>
              <a:gd name="connsiteY4" fmla="*/ 5862353 h 6442075"/>
              <a:gd name="connsiteX5" fmla="*/ 0 w 8915642"/>
              <a:gd name="connsiteY5" fmla="*/ 1653 h 6442075"/>
              <a:gd name="connsiteX0" fmla="*/ 0 w 8915642"/>
              <a:gd name="connsiteY0" fmla="*/ 1 h 6633463"/>
              <a:gd name="connsiteX1" fmla="*/ 8912928 w 8915642"/>
              <a:gd name="connsiteY1" fmla="*/ 191388 h 6633463"/>
              <a:gd name="connsiteX2" fmla="*/ 8915642 w 8915642"/>
              <a:gd name="connsiteY2" fmla="*/ 6631809 h 6633463"/>
              <a:gd name="connsiteX3" fmla="*/ 579722 w 8915642"/>
              <a:gd name="connsiteY3" fmla="*/ 6633463 h 6633463"/>
              <a:gd name="connsiteX4" fmla="*/ 0 w 8915642"/>
              <a:gd name="connsiteY4" fmla="*/ 6053741 h 6633463"/>
              <a:gd name="connsiteX5" fmla="*/ 0 w 8915642"/>
              <a:gd name="connsiteY5" fmla="*/ 1 h 6633463"/>
              <a:gd name="connsiteX0" fmla="*/ 0 w 8933278"/>
              <a:gd name="connsiteY0" fmla="*/ 1653 h 6635115"/>
              <a:gd name="connsiteX1" fmla="*/ 8933248 w 8933278"/>
              <a:gd name="connsiteY1" fmla="*/ 0 h 6635115"/>
              <a:gd name="connsiteX2" fmla="*/ 8915642 w 8933278"/>
              <a:gd name="connsiteY2" fmla="*/ 6633461 h 6635115"/>
              <a:gd name="connsiteX3" fmla="*/ 579722 w 8933278"/>
              <a:gd name="connsiteY3" fmla="*/ 6635115 h 6635115"/>
              <a:gd name="connsiteX4" fmla="*/ 0 w 8933278"/>
              <a:gd name="connsiteY4" fmla="*/ 6055393 h 6635115"/>
              <a:gd name="connsiteX5" fmla="*/ 0 w 8933278"/>
              <a:gd name="connsiteY5" fmla="*/ 1653 h 6635115"/>
              <a:gd name="connsiteX0" fmla="*/ 0 w 8933323"/>
              <a:gd name="connsiteY0" fmla="*/ 1653 h 6645336"/>
              <a:gd name="connsiteX1" fmla="*/ 8933248 w 8933323"/>
              <a:gd name="connsiteY1" fmla="*/ 0 h 6645336"/>
              <a:gd name="connsiteX2" fmla="*/ 8927517 w 8933323"/>
              <a:gd name="connsiteY2" fmla="*/ 6645336 h 6645336"/>
              <a:gd name="connsiteX3" fmla="*/ 579722 w 8933323"/>
              <a:gd name="connsiteY3" fmla="*/ 6635115 h 6645336"/>
              <a:gd name="connsiteX4" fmla="*/ 0 w 8933323"/>
              <a:gd name="connsiteY4" fmla="*/ 6055393 h 6645336"/>
              <a:gd name="connsiteX5" fmla="*/ 0 w 8933323"/>
              <a:gd name="connsiteY5" fmla="*/ 1653 h 6645336"/>
              <a:gd name="connsiteX0" fmla="*/ 0 w 8927517"/>
              <a:gd name="connsiteY0" fmla="*/ 1653 h 6645336"/>
              <a:gd name="connsiteX1" fmla="*/ 7971347 w 8927517"/>
              <a:gd name="connsiteY1" fmla="*/ 0 h 6645336"/>
              <a:gd name="connsiteX2" fmla="*/ 8927517 w 8927517"/>
              <a:gd name="connsiteY2" fmla="*/ 6645336 h 6645336"/>
              <a:gd name="connsiteX3" fmla="*/ 579722 w 8927517"/>
              <a:gd name="connsiteY3" fmla="*/ 6635115 h 6645336"/>
              <a:gd name="connsiteX4" fmla="*/ 0 w 8927517"/>
              <a:gd name="connsiteY4" fmla="*/ 6055393 h 6645336"/>
              <a:gd name="connsiteX5" fmla="*/ 0 w 8927517"/>
              <a:gd name="connsiteY5" fmla="*/ 1653 h 6645336"/>
              <a:gd name="connsiteX0" fmla="*/ 0 w 7971422"/>
              <a:gd name="connsiteY0" fmla="*/ 1653 h 6645336"/>
              <a:gd name="connsiteX1" fmla="*/ 7971347 w 7971422"/>
              <a:gd name="connsiteY1" fmla="*/ 0 h 6645336"/>
              <a:gd name="connsiteX2" fmla="*/ 7965616 w 7971422"/>
              <a:gd name="connsiteY2" fmla="*/ 6645336 h 6645336"/>
              <a:gd name="connsiteX3" fmla="*/ 579722 w 7971422"/>
              <a:gd name="connsiteY3" fmla="*/ 6635115 h 6645336"/>
              <a:gd name="connsiteX4" fmla="*/ 0 w 7971422"/>
              <a:gd name="connsiteY4" fmla="*/ 6055393 h 6645336"/>
              <a:gd name="connsiteX5" fmla="*/ 0 w 7971422"/>
              <a:gd name="connsiteY5" fmla="*/ 1653 h 6645336"/>
              <a:gd name="connsiteX0" fmla="*/ 0 w 7971422"/>
              <a:gd name="connsiteY0" fmla="*/ 1301816 h 6645336"/>
              <a:gd name="connsiteX1" fmla="*/ 7971347 w 7971422"/>
              <a:gd name="connsiteY1" fmla="*/ 0 h 6645336"/>
              <a:gd name="connsiteX2" fmla="*/ 7965616 w 7971422"/>
              <a:gd name="connsiteY2" fmla="*/ 6645336 h 6645336"/>
              <a:gd name="connsiteX3" fmla="*/ 579722 w 7971422"/>
              <a:gd name="connsiteY3" fmla="*/ 6635115 h 6645336"/>
              <a:gd name="connsiteX4" fmla="*/ 0 w 7971422"/>
              <a:gd name="connsiteY4" fmla="*/ 6055393 h 6645336"/>
              <a:gd name="connsiteX5" fmla="*/ 0 w 7971422"/>
              <a:gd name="connsiteY5" fmla="*/ 1301816 h 6645336"/>
              <a:gd name="connsiteX0" fmla="*/ 0 w 7965616"/>
              <a:gd name="connsiteY0" fmla="*/ 1653 h 5345173"/>
              <a:gd name="connsiteX1" fmla="*/ 7957060 w 7965616"/>
              <a:gd name="connsiteY1" fmla="*/ 0 h 5345173"/>
              <a:gd name="connsiteX2" fmla="*/ 7965616 w 7965616"/>
              <a:gd name="connsiteY2" fmla="*/ 5345173 h 5345173"/>
              <a:gd name="connsiteX3" fmla="*/ 579722 w 7965616"/>
              <a:gd name="connsiteY3" fmla="*/ 5334952 h 5345173"/>
              <a:gd name="connsiteX4" fmla="*/ 0 w 7965616"/>
              <a:gd name="connsiteY4" fmla="*/ 4755230 h 5345173"/>
              <a:gd name="connsiteX5" fmla="*/ 0 w 7965616"/>
              <a:gd name="connsiteY5" fmla="*/ 1653 h 5345173"/>
              <a:gd name="connsiteX0" fmla="*/ 0 w 7971422"/>
              <a:gd name="connsiteY0" fmla="*/ 1653 h 5345173"/>
              <a:gd name="connsiteX1" fmla="*/ 7971347 w 7971422"/>
              <a:gd name="connsiteY1" fmla="*/ 0 h 5345173"/>
              <a:gd name="connsiteX2" fmla="*/ 7965616 w 7971422"/>
              <a:gd name="connsiteY2" fmla="*/ 5345173 h 5345173"/>
              <a:gd name="connsiteX3" fmla="*/ 579722 w 7971422"/>
              <a:gd name="connsiteY3" fmla="*/ 5334952 h 5345173"/>
              <a:gd name="connsiteX4" fmla="*/ 0 w 7971422"/>
              <a:gd name="connsiteY4" fmla="*/ 4755230 h 5345173"/>
              <a:gd name="connsiteX5" fmla="*/ 0 w 7971422"/>
              <a:gd name="connsiteY5" fmla="*/ 1653 h 5345173"/>
              <a:gd name="connsiteX0" fmla="*/ 0 w 7988356"/>
              <a:gd name="connsiteY0" fmla="*/ 187920 h 5345173"/>
              <a:gd name="connsiteX1" fmla="*/ 7988281 w 7988356"/>
              <a:gd name="connsiteY1" fmla="*/ 0 h 5345173"/>
              <a:gd name="connsiteX2" fmla="*/ 7982550 w 7988356"/>
              <a:gd name="connsiteY2" fmla="*/ 5345173 h 5345173"/>
              <a:gd name="connsiteX3" fmla="*/ 596656 w 7988356"/>
              <a:gd name="connsiteY3" fmla="*/ 5334952 h 5345173"/>
              <a:gd name="connsiteX4" fmla="*/ 16934 w 7988356"/>
              <a:gd name="connsiteY4" fmla="*/ 4755230 h 5345173"/>
              <a:gd name="connsiteX5" fmla="*/ 0 w 7988356"/>
              <a:gd name="connsiteY5" fmla="*/ 187920 h 5345173"/>
              <a:gd name="connsiteX0" fmla="*/ 0 w 7988356"/>
              <a:gd name="connsiteY0" fmla="*/ 210145 h 5345173"/>
              <a:gd name="connsiteX1" fmla="*/ 7988281 w 7988356"/>
              <a:gd name="connsiteY1" fmla="*/ 0 h 5345173"/>
              <a:gd name="connsiteX2" fmla="*/ 7982550 w 7988356"/>
              <a:gd name="connsiteY2" fmla="*/ 5345173 h 5345173"/>
              <a:gd name="connsiteX3" fmla="*/ 596656 w 7988356"/>
              <a:gd name="connsiteY3" fmla="*/ 5334952 h 5345173"/>
              <a:gd name="connsiteX4" fmla="*/ 16934 w 7988356"/>
              <a:gd name="connsiteY4" fmla="*/ 4755230 h 5345173"/>
              <a:gd name="connsiteX5" fmla="*/ 0 w 7988356"/>
              <a:gd name="connsiteY5" fmla="*/ 210145 h 5345173"/>
              <a:gd name="connsiteX0" fmla="*/ 0 w 7988356"/>
              <a:gd name="connsiteY0" fmla="*/ 0 h 5135028"/>
              <a:gd name="connsiteX1" fmla="*/ 7988281 w 7988356"/>
              <a:gd name="connsiteY1" fmla="*/ 7569 h 5135028"/>
              <a:gd name="connsiteX2" fmla="*/ 7982550 w 7988356"/>
              <a:gd name="connsiteY2" fmla="*/ 5135028 h 5135028"/>
              <a:gd name="connsiteX3" fmla="*/ 596656 w 7988356"/>
              <a:gd name="connsiteY3" fmla="*/ 5124807 h 5135028"/>
              <a:gd name="connsiteX4" fmla="*/ 16934 w 7988356"/>
              <a:gd name="connsiteY4" fmla="*/ 4545085 h 5135028"/>
              <a:gd name="connsiteX5" fmla="*/ 0 w 7988356"/>
              <a:gd name="connsiteY5" fmla="*/ 0 h 5135028"/>
              <a:gd name="connsiteX0" fmla="*/ 0 w 7982550"/>
              <a:gd name="connsiteY0" fmla="*/ 0 h 5135028"/>
              <a:gd name="connsiteX1" fmla="*/ 6028853 w 7982550"/>
              <a:gd name="connsiteY1" fmla="*/ 7569 h 5135028"/>
              <a:gd name="connsiteX2" fmla="*/ 7982550 w 7982550"/>
              <a:gd name="connsiteY2" fmla="*/ 5135028 h 5135028"/>
              <a:gd name="connsiteX3" fmla="*/ 596656 w 7982550"/>
              <a:gd name="connsiteY3" fmla="*/ 5124807 h 5135028"/>
              <a:gd name="connsiteX4" fmla="*/ 16934 w 7982550"/>
              <a:gd name="connsiteY4" fmla="*/ 4545085 h 5135028"/>
              <a:gd name="connsiteX5" fmla="*/ 0 w 7982550"/>
              <a:gd name="connsiteY5" fmla="*/ 0 h 5135028"/>
              <a:gd name="connsiteX0" fmla="*/ 0 w 6037636"/>
              <a:gd name="connsiteY0" fmla="*/ 0 h 5135028"/>
              <a:gd name="connsiteX1" fmla="*/ 6028853 w 6037636"/>
              <a:gd name="connsiteY1" fmla="*/ 7569 h 5135028"/>
              <a:gd name="connsiteX2" fmla="*/ 6037636 w 6037636"/>
              <a:gd name="connsiteY2" fmla="*/ 5135028 h 5135028"/>
              <a:gd name="connsiteX3" fmla="*/ 596656 w 6037636"/>
              <a:gd name="connsiteY3" fmla="*/ 5124807 h 5135028"/>
              <a:gd name="connsiteX4" fmla="*/ 16934 w 6037636"/>
              <a:gd name="connsiteY4" fmla="*/ 4545085 h 5135028"/>
              <a:gd name="connsiteX5" fmla="*/ 0 w 6037636"/>
              <a:gd name="connsiteY5" fmla="*/ 0 h 5135028"/>
              <a:gd name="connsiteX0" fmla="*/ 0 w 6024384"/>
              <a:gd name="connsiteY0" fmla="*/ 0 h 6857810"/>
              <a:gd name="connsiteX1" fmla="*/ 6015601 w 6024384"/>
              <a:gd name="connsiteY1" fmla="*/ 1730351 h 6857810"/>
              <a:gd name="connsiteX2" fmla="*/ 6024384 w 6024384"/>
              <a:gd name="connsiteY2" fmla="*/ 6857810 h 6857810"/>
              <a:gd name="connsiteX3" fmla="*/ 583404 w 6024384"/>
              <a:gd name="connsiteY3" fmla="*/ 6847589 h 6857810"/>
              <a:gd name="connsiteX4" fmla="*/ 3682 w 6024384"/>
              <a:gd name="connsiteY4" fmla="*/ 6267867 h 6857810"/>
              <a:gd name="connsiteX5" fmla="*/ 0 w 6024384"/>
              <a:gd name="connsiteY5" fmla="*/ 0 h 6857810"/>
              <a:gd name="connsiteX0" fmla="*/ 0 w 6024384"/>
              <a:gd name="connsiteY0" fmla="*/ 5684 h 6863494"/>
              <a:gd name="connsiteX1" fmla="*/ 6002349 w 6024384"/>
              <a:gd name="connsiteY1" fmla="*/ 0 h 6863494"/>
              <a:gd name="connsiteX2" fmla="*/ 6024384 w 6024384"/>
              <a:gd name="connsiteY2" fmla="*/ 6863494 h 6863494"/>
              <a:gd name="connsiteX3" fmla="*/ 583404 w 6024384"/>
              <a:gd name="connsiteY3" fmla="*/ 6853273 h 6863494"/>
              <a:gd name="connsiteX4" fmla="*/ 3682 w 6024384"/>
              <a:gd name="connsiteY4" fmla="*/ 6273551 h 6863494"/>
              <a:gd name="connsiteX5" fmla="*/ 0 w 6024384"/>
              <a:gd name="connsiteY5" fmla="*/ 5684 h 68634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024384" h="6863494">
                <a:moveTo>
                  <a:pt x="0" y="5684"/>
                </a:moveTo>
                <a:lnTo>
                  <a:pt x="6002349" y="0"/>
                </a:lnTo>
                <a:cubicBezTo>
                  <a:pt x="6003254" y="2146807"/>
                  <a:pt x="6023479" y="4716687"/>
                  <a:pt x="6024384" y="6863494"/>
                </a:cubicBezTo>
                <a:lnTo>
                  <a:pt x="583404" y="6853273"/>
                </a:lnTo>
                <a:cubicBezTo>
                  <a:pt x="263232" y="6853273"/>
                  <a:pt x="3682" y="6593723"/>
                  <a:pt x="3682" y="6273551"/>
                </a:cubicBezTo>
                <a:cubicBezTo>
                  <a:pt x="-1963" y="4751114"/>
                  <a:pt x="5645" y="1528121"/>
                  <a:pt x="0" y="5684"/>
                </a:cubicBezTo>
                <a:close/>
              </a:path>
            </a:pathLst>
          </a:custGeom>
          <a:noFill/>
        </p:spPr>
        <p:txBody>
          <a:bodyPr>
            <a:normAutofit/>
          </a:bodyPr>
          <a:lstStyle>
            <a:lvl1pPr marL="0" indent="0">
              <a:buNone/>
              <a:defRPr sz="1400">
                <a:solidFill>
                  <a:schemeClr val="tx1"/>
                </a:solidFill>
              </a:defRPr>
            </a:lvl1pPr>
          </a:lstStyle>
          <a:p>
            <a:r>
              <a:rPr lang="en-JP" dirty="0"/>
              <a:t>Insert Photo</a:t>
            </a:r>
          </a:p>
        </p:txBody>
      </p:sp>
      <p:sp>
        <p:nvSpPr>
          <p:cNvPr id="7" name="Text Placeholder 6">
            <a:extLst>
              <a:ext uri="{FF2B5EF4-FFF2-40B4-BE49-F238E27FC236}">
                <a16:creationId xmlns:a16="http://schemas.microsoft.com/office/drawing/2014/main" id="{65925D82-457F-D84D-B8DF-D8ADFD7E71DF}"/>
              </a:ext>
            </a:extLst>
          </p:cNvPr>
          <p:cNvSpPr>
            <a:spLocks noGrp="1"/>
          </p:cNvSpPr>
          <p:nvPr>
            <p:ph type="body" sz="quarter" idx="14" hasCustomPrompt="1"/>
          </p:nvPr>
        </p:nvSpPr>
        <p:spPr>
          <a:xfrm>
            <a:off x="311150" y="3178298"/>
            <a:ext cx="5708650" cy="272786"/>
          </a:xfrm>
          <a:prstGeom prst="rect">
            <a:avLst/>
          </a:prstGeom>
        </p:spPr>
        <p:txBody>
          <a:bodyPr tIns="0" rIns="0" bIns="0" numCol="1">
            <a:noAutofit/>
          </a:bodyPr>
          <a:lstStyle>
            <a:lvl1pPr marL="0" indent="0">
              <a:lnSpc>
                <a:spcPct val="100000"/>
              </a:lnSpc>
              <a:spcBef>
                <a:spcPts val="0"/>
              </a:spcBef>
              <a:spcAft>
                <a:spcPts val="600"/>
              </a:spcAft>
              <a:buNone/>
              <a:defRPr sz="18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dirty="0"/>
              <a:t>This is your Secondary Title</a:t>
            </a:r>
          </a:p>
        </p:txBody>
      </p:sp>
      <p:sp>
        <p:nvSpPr>
          <p:cNvPr id="12" name="Text Placeholder 6">
            <a:extLst>
              <a:ext uri="{FF2B5EF4-FFF2-40B4-BE49-F238E27FC236}">
                <a16:creationId xmlns:a16="http://schemas.microsoft.com/office/drawing/2014/main" id="{FD2406EE-A554-5348-AE6D-4D8B343E6201}"/>
              </a:ext>
            </a:extLst>
          </p:cNvPr>
          <p:cNvSpPr>
            <a:spLocks noGrp="1"/>
          </p:cNvSpPr>
          <p:nvPr>
            <p:ph type="body" sz="quarter" idx="15" hasCustomPrompt="1"/>
          </p:nvPr>
        </p:nvSpPr>
        <p:spPr>
          <a:xfrm>
            <a:off x="311150" y="3575904"/>
            <a:ext cx="5708650" cy="2859620"/>
          </a:xfrm>
          <a:prstGeom prst="rect">
            <a:avLst/>
          </a:prstGeom>
        </p:spPr>
        <p:txBody>
          <a:bodyPr tIns="0" rIns="0" bIns="0" numCol="1">
            <a:noAutofit/>
          </a:bodyPr>
          <a:lstStyle>
            <a:lvl1pPr marL="171450" indent="-171450">
              <a:lnSpc>
                <a:spcPct val="100000"/>
              </a:lnSpc>
              <a:spcBef>
                <a:spcPts val="0"/>
              </a:spcBef>
              <a:spcAft>
                <a:spcPts val="600"/>
              </a:spcAft>
              <a:buFont typeface="Arial" panose="020B0604020202020204" pitchFamily="34" charset="0"/>
              <a:buChar char="•"/>
              <a:defRPr sz="1400" b="0">
                <a:solidFill>
                  <a:schemeClr val="tx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dirty="0"/>
              <a:t>This is your Secondary text. </a:t>
            </a:r>
          </a:p>
        </p:txBody>
      </p:sp>
      <p:sp>
        <p:nvSpPr>
          <p:cNvPr id="17" name="タイトル プレースホルダ 1">
            <a:extLst>
              <a:ext uri="{FF2B5EF4-FFF2-40B4-BE49-F238E27FC236}">
                <a16:creationId xmlns:a16="http://schemas.microsoft.com/office/drawing/2014/main" id="{86D6FEA8-06E4-474A-8491-CD1DDAE7D0D7}"/>
              </a:ext>
            </a:extLst>
          </p:cNvPr>
          <p:cNvSpPr>
            <a:spLocks noGrp="1"/>
          </p:cNvSpPr>
          <p:nvPr>
            <p:ph type="title" hasCustomPrompt="1"/>
          </p:nvPr>
        </p:nvSpPr>
        <p:spPr>
          <a:xfrm>
            <a:off x="606079" y="161605"/>
            <a:ext cx="5413722" cy="685801"/>
          </a:xfrm>
          <a:prstGeom prst="rect">
            <a:avLst/>
          </a:prstGeom>
        </p:spPr>
        <p:txBody>
          <a:bodyPr vert="horz" lIns="0" tIns="0" rIns="0" bIns="0" rtlCol="0" anchor="ctr">
            <a:normAutofit/>
          </a:bodyPr>
          <a:lstStyle/>
          <a:p>
            <a:r>
              <a:rPr kumimoji="1" lang="en-US" altLang="ja-JP" dirty="0"/>
              <a:t>Click to add title</a:t>
            </a:r>
            <a:endParaRPr kumimoji="1" lang="ja-JP" altLang="en-US"/>
          </a:p>
        </p:txBody>
      </p:sp>
      <p:sp>
        <p:nvSpPr>
          <p:cNvPr id="18" name="Rectangle 17">
            <a:extLst>
              <a:ext uri="{FF2B5EF4-FFF2-40B4-BE49-F238E27FC236}">
                <a16:creationId xmlns:a16="http://schemas.microsoft.com/office/drawing/2014/main" id="{CEDBCF76-3461-2245-8BB1-FA50AE27F6CA}"/>
              </a:ext>
            </a:extLst>
          </p:cNvPr>
          <p:cNvSpPr/>
          <p:nvPr userDrawn="1"/>
        </p:nvSpPr>
        <p:spPr>
          <a:xfrm>
            <a:off x="308038" y="161606"/>
            <a:ext cx="54000" cy="68580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dirty="0">
              <a:solidFill>
                <a:schemeClr val="accent1"/>
              </a:solidFill>
            </a:endParaRPr>
          </a:p>
        </p:txBody>
      </p:sp>
      <p:sp>
        <p:nvSpPr>
          <p:cNvPr id="22" name="スライド番号プレースホルダ 5">
            <a:extLst>
              <a:ext uri="{FF2B5EF4-FFF2-40B4-BE49-F238E27FC236}">
                <a16:creationId xmlns:a16="http://schemas.microsoft.com/office/drawing/2014/main" id="{FB98B4FE-9AC1-D142-89B5-4D3791685BC1}"/>
              </a:ext>
            </a:extLst>
          </p:cNvPr>
          <p:cNvSpPr>
            <a:spLocks noGrp="1"/>
          </p:cNvSpPr>
          <p:nvPr>
            <p:ph type="sldNum" sz="quarter" idx="4"/>
          </p:nvPr>
        </p:nvSpPr>
        <p:spPr>
          <a:xfrm>
            <a:off x="311150" y="6523001"/>
            <a:ext cx="294928" cy="196131"/>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a:t>
            </a:fld>
            <a:endParaRPr lang="ja-JP" altLang="en-US"/>
          </a:p>
        </p:txBody>
      </p:sp>
      <p:sp>
        <p:nvSpPr>
          <p:cNvPr id="23" name="Text Placeholder 6">
            <a:extLst>
              <a:ext uri="{FF2B5EF4-FFF2-40B4-BE49-F238E27FC236}">
                <a16:creationId xmlns:a16="http://schemas.microsoft.com/office/drawing/2014/main" id="{7D5A74AA-F0D3-9243-967D-FEA6F7A20BC7}"/>
              </a:ext>
            </a:extLst>
          </p:cNvPr>
          <p:cNvSpPr>
            <a:spLocks noGrp="1"/>
          </p:cNvSpPr>
          <p:nvPr>
            <p:ph type="body" sz="quarter" idx="16" hasCustomPrompt="1"/>
          </p:nvPr>
        </p:nvSpPr>
        <p:spPr>
          <a:xfrm>
            <a:off x="606078" y="6523001"/>
            <a:ext cx="5413722" cy="205613"/>
          </a:xfrm>
          <a:prstGeom prst="rect">
            <a:avLst/>
          </a:prstGeom>
        </p:spPr>
        <p:txBody>
          <a:bodyPr wrap="none" tIns="0" rIns="0" bIns="72000" numCol="1" anchor="ctr">
            <a:noAutofit/>
          </a:bodyPr>
          <a:lstStyle>
            <a:lvl1pPr marL="0" indent="0">
              <a:lnSpc>
                <a:spcPts val="1600"/>
              </a:lnSpc>
              <a:spcBef>
                <a:spcPts val="0"/>
              </a:spcBef>
              <a:spcAft>
                <a:spcPts val="600"/>
              </a:spcAft>
              <a:buFont typeface="Arial" panose="020B0604020202020204" pitchFamily="34" charset="0"/>
              <a:buNone/>
              <a:defRPr sz="800" b="0">
                <a:solidFill>
                  <a:schemeClr val="accent3"/>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dirty="0"/>
              <a:t>Private and confidential. For internal use only.</a:t>
            </a:r>
          </a:p>
        </p:txBody>
      </p:sp>
      <p:sp>
        <p:nvSpPr>
          <p:cNvPr id="19" name="Text Placeholder 2">
            <a:extLst>
              <a:ext uri="{FF2B5EF4-FFF2-40B4-BE49-F238E27FC236}">
                <a16:creationId xmlns:a16="http://schemas.microsoft.com/office/drawing/2014/main" id="{D16C870C-B0F9-5A43-81FD-66BD75CC33C7}"/>
              </a:ext>
            </a:extLst>
          </p:cNvPr>
          <p:cNvSpPr>
            <a:spLocks noGrp="1"/>
          </p:cNvSpPr>
          <p:nvPr>
            <p:ph type="body" sz="quarter" idx="20" hasCustomPrompt="1"/>
          </p:nvPr>
        </p:nvSpPr>
        <p:spPr>
          <a:xfrm>
            <a:off x="311151" y="1491373"/>
            <a:ext cx="5704886" cy="1464957"/>
          </a:xfrm>
        </p:spPr>
        <p:txBody>
          <a:bodyPr tIns="0" rIns="0" bIns="0" numCol="1" spcCol="126000">
            <a:noAutofit/>
          </a:bodyPr>
          <a:lstStyle>
            <a:lvl1pPr marL="0" indent="0">
              <a:lnSpc>
                <a:spcPct val="100000"/>
              </a:lnSpc>
              <a:spcBef>
                <a:spcPts val="0"/>
              </a:spcBef>
              <a:buNone/>
              <a:defRPr sz="1600" b="1"/>
            </a:lvl1pPr>
            <a:lvl2pPr marL="457068" indent="0">
              <a:buNone/>
              <a:defRPr sz="1800" b="1"/>
            </a:lvl2pPr>
            <a:lvl3pPr marL="914149" indent="0">
              <a:buNone/>
              <a:defRPr sz="1800" b="1"/>
            </a:lvl3pPr>
            <a:lvl4pPr marL="1371219" indent="0">
              <a:buNone/>
              <a:defRPr sz="1800" b="1"/>
            </a:lvl4pPr>
            <a:lvl5pPr marL="1828290" indent="0">
              <a:buNone/>
              <a:defRPr sz="1800" b="1"/>
            </a:lvl5pPr>
          </a:lstStyle>
          <a:p>
            <a:pPr lvl="0"/>
            <a:r>
              <a:rPr lang="en-US" dirty="0"/>
              <a:t>This is your Primary Text.</a:t>
            </a:r>
            <a:endParaRPr lang="en-JP" dirty="0"/>
          </a:p>
        </p:txBody>
      </p:sp>
      <p:sp>
        <p:nvSpPr>
          <p:cNvPr id="20" name="Text Placeholder 6">
            <a:extLst>
              <a:ext uri="{FF2B5EF4-FFF2-40B4-BE49-F238E27FC236}">
                <a16:creationId xmlns:a16="http://schemas.microsoft.com/office/drawing/2014/main" id="{C64E591A-1A88-9244-AC81-5B42BFE347C0}"/>
              </a:ext>
            </a:extLst>
          </p:cNvPr>
          <p:cNvSpPr>
            <a:spLocks noGrp="1"/>
          </p:cNvSpPr>
          <p:nvPr>
            <p:ph type="body" sz="quarter" idx="21" hasCustomPrompt="1"/>
          </p:nvPr>
        </p:nvSpPr>
        <p:spPr>
          <a:xfrm>
            <a:off x="311150" y="1093767"/>
            <a:ext cx="5704886" cy="272786"/>
          </a:xfrm>
        </p:spPr>
        <p:txBody>
          <a:bodyPr tIns="0" rIns="0" bIns="0" numCol="1">
            <a:noAutofit/>
          </a:bodyPr>
          <a:lstStyle>
            <a:lvl1pPr marL="0" indent="0">
              <a:lnSpc>
                <a:spcPct val="100000"/>
              </a:lnSpc>
              <a:spcBef>
                <a:spcPts val="0"/>
              </a:spcBef>
              <a:spcAft>
                <a:spcPts val="600"/>
              </a:spcAft>
              <a:buNone/>
              <a:defRPr sz="20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dirty="0"/>
              <a:t>This is your Primary Title</a:t>
            </a:r>
          </a:p>
        </p:txBody>
      </p:sp>
    </p:spTree>
    <p:extLst>
      <p:ext uri="{BB962C8B-B14F-4D97-AF65-F5344CB8AC3E}">
        <p14:creationId xmlns:p14="http://schemas.microsoft.com/office/powerpoint/2010/main" val="3678310869"/>
      </p:ext>
    </p:extLst>
  </p:cSld>
  <p:clrMapOvr>
    <a:masterClrMapping/>
  </p:clrMapOvr>
  <p:transition spd="slow">
    <p:push dir="u"/>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Advanced 1/3 Image">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65925D82-457F-D84D-B8DF-D8ADFD7E71DF}"/>
              </a:ext>
            </a:extLst>
          </p:cNvPr>
          <p:cNvSpPr>
            <a:spLocks noGrp="1"/>
          </p:cNvSpPr>
          <p:nvPr>
            <p:ph type="body" sz="quarter" idx="14" hasCustomPrompt="1"/>
          </p:nvPr>
        </p:nvSpPr>
        <p:spPr>
          <a:xfrm>
            <a:off x="311150" y="3178298"/>
            <a:ext cx="7660042" cy="272786"/>
          </a:xfrm>
          <a:prstGeom prst="rect">
            <a:avLst/>
          </a:prstGeom>
        </p:spPr>
        <p:txBody>
          <a:bodyPr tIns="0" rIns="0" bIns="0" numCol="1">
            <a:noAutofit/>
          </a:bodyPr>
          <a:lstStyle>
            <a:lvl1pPr marL="0" indent="0">
              <a:lnSpc>
                <a:spcPct val="100000"/>
              </a:lnSpc>
              <a:spcBef>
                <a:spcPts val="0"/>
              </a:spcBef>
              <a:spcAft>
                <a:spcPts val="600"/>
              </a:spcAft>
              <a:buNone/>
              <a:defRPr sz="18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dirty="0"/>
              <a:t>This is your Secondary Title</a:t>
            </a:r>
          </a:p>
        </p:txBody>
      </p:sp>
      <p:sp>
        <p:nvSpPr>
          <p:cNvPr id="12" name="Text Placeholder 6">
            <a:extLst>
              <a:ext uri="{FF2B5EF4-FFF2-40B4-BE49-F238E27FC236}">
                <a16:creationId xmlns:a16="http://schemas.microsoft.com/office/drawing/2014/main" id="{FD2406EE-A554-5348-AE6D-4D8B343E6201}"/>
              </a:ext>
            </a:extLst>
          </p:cNvPr>
          <p:cNvSpPr>
            <a:spLocks noGrp="1"/>
          </p:cNvSpPr>
          <p:nvPr>
            <p:ph type="body" sz="quarter" idx="15" hasCustomPrompt="1"/>
          </p:nvPr>
        </p:nvSpPr>
        <p:spPr>
          <a:xfrm>
            <a:off x="311149" y="3575904"/>
            <a:ext cx="7663807" cy="2859621"/>
          </a:xfrm>
          <a:prstGeom prst="rect">
            <a:avLst/>
          </a:prstGeom>
        </p:spPr>
        <p:txBody>
          <a:bodyPr tIns="0" rIns="0" bIns="0" numCol="2" spcCol="126000">
            <a:noAutofit/>
          </a:bodyPr>
          <a:lstStyle>
            <a:lvl1pPr marL="171450" indent="-171450">
              <a:lnSpc>
                <a:spcPct val="100000"/>
              </a:lnSpc>
              <a:spcBef>
                <a:spcPts val="0"/>
              </a:spcBef>
              <a:spcAft>
                <a:spcPts val="600"/>
              </a:spcAft>
              <a:buFont typeface="Arial" panose="020B0604020202020204" pitchFamily="34" charset="0"/>
              <a:buChar char="•"/>
              <a:defRPr sz="1400" b="0">
                <a:solidFill>
                  <a:schemeClr val="tx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dirty="0"/>
              <a:t>This is your Secondary text.</a:t>
            </a:r>
          </a:p>
        </p:txBody>
      </p:sp>
      <p:sp>
        <p:nvSpPr>
          <p:cNvPr id="11" name="Picture Placeholder 9">
            <a:extLst>
              <a:ext uri="{FF2B5EF4-FFF2-40B4-BE49-F238E27FC236}">
                <a16:creationId xmlns:a16="http://schemas.microsoft.com/office/drawing/2014/main" id="{B54C5EE8-C42D-B549-B4D4-C0F00D68A42B}"/>
              </a:ext>
            </a:extLst>
          </p:cNvPr>
          <p:cNvSpPr>
            <a:spLocks noGrp="1"/>
          </p:cNvSpPr>
          <p:nvPr>
            <p:ph type="pic" sz="quarter" idx="18" hasCustomPrompt="1"/>
          </p:nvPr>
        </p:nvSpPr>
        <p:spPr>
          <a:xfrm>
            <a:off x="8136961" y="1093767"/>
            <a:ext cx="4069500" cy="5331536"/>
          </a:xfrm>
          <a:custGeom>
            <a:avLst/>
            <a:gdLst>
              <a:gd name="connsiteX0" fmla="*/ 0 w 10888662"/>
              <a:gd name="connsiteY0" fmla="*/ 579722 h 6442075"/>
              <a:gd name="connsiteX1" fmla="*/ 579722 w 10888662"/>
              <a:gd name="connsiteY1" fmla="*/ 0 h 6442075"/>
              <a:gd name="connsiteX2" fmla="*/ 10308940 w 10888662"/>
              <a:gd name="connsiteY2" fmla="*/ 0 h 6442075"/>
              <a:gd name="connsiteX3" fmla="*/ 10888662 w 10888662"/>
              <a:gd name="connsiteY3" fmla="*/ 579722 h 6442075"/>
              <a:gd name="connsiteX4" fmla="*/ 10888662 w 10888662"/>
              <a:gd name="connsiteY4" fmla="*/ 5862353 h 6442075"/>
              <a:gd name="connsiteX5" fmla="*/ 10308940 w 10888662"/>
              <a:gd name="connsiteY5" fmla="*/ 6442075 h 6442075"/>
              <a:gd name="connsiteX6" fmla="*/ 579722 w 10888662"/>
              <a:gd name="connsiteY6" fmla="*/ 6442075 h 6442075"/>
              <a:gd name="connsiteX7" fmla="*/ 0 w 10888662"/>
              <a:gd name="connsiteY7" fmla="*/ 5862353 h 6442075"/>
              <a:gd name="connsiteX8" fmla="*/ 0 w 10888662"/>
              <a:gd name="connsiteY8" fmla="*/ 579722 h 6442075"/>
              <a:gd name="connsiteX0" fmla="*/ 0 w 10888662"/>
              <a:gd name="connsiteY0" fmla="*/ 659657 h 6522010"/>
              <a:gd name="connsiteX1" fmla="*/ 10308940 w 10888662"/>
              <a:gd name="connsiteY1" fmla="*/ 79935 h 6522010"/>
              <a:gd name="connsiteX2" fmla="*/ 10888662 w 10888662"/>
              <a:gd name="connsiteY2" fmla="*/ 659657 h 6522010"/>
              <a:gd name="connsiteX3" fmla="*/ 10888662 w 10888662"/>
              <a:gd name="connsiteY3" fmla="*/ 5942288 h 6522010"/>
              <a:gd name="connsiteX4" fmla="*/ 10308940 w 10888662"/>
              <a:gd name="connsiteY4" fmla="*/ 6522010 h 6522010"/>
              <a:gd name="connsiteX5" fmla="*/ 579722 w 10888662"/>
              <a:gd name="connsiteY5" fmla="*/ 6522010 h 6522010"/>
              <a:gd name="connsiteX6" fmla="*/ 0 w 10888662"/>
              <a:gd name="connsiteY6" fmla="*/ 5942288 h 6522010"/>
              <a:gd name="connsiteX7" fmla="*/ 0 w 10888662"/>
              <a:gd name="connsiteY7" fmla="*/ 659657 h 6522010"/>
              <a:gd name="connsiteX0" fmla="*/ 0 w 10888662"/>
              <a:gd name="connsiteY0" fmla="*/ 579722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579722 h 6442075"/>
              <a:gd name="connsiteX0" fmla="*/ 0 w 10888662"/>
              <a:gd name="connsiteY0" fmla="*/ 129257 h 6569679"/>
              <a:gd name="connsiteX1" fmla="*/ 10308940 w 10888662"/>
              <a:gd name="connsiteY1" fmla="*/ 127604 h 6569679"/>
              <a:gd name="connsiteX2" fmla="*/ 10888662 w 10888662"/>
              <a:gd name="connsiteY2" fmla="*/ 707326 h 6569679"/>
              <a:gd name="connsiteX3" fmla="*/ 10888662 w 10888662"/>
              <a:gd name="connsiteY3" fmla="*/ 5989957 h 6569679"/>
              <a:gd name="connsiteX4" fmla="*/ 10308940 w 10888662"/>
              <a:gd name="connsiteY4" fmla="*/ 6569679 h 6569679"/>
              <a:gd name="connsiteX5" fmla="*/ 579722 w 10888662"/>
              <a:gd name="connsiteY5" fmla="*/ 6569679 h 6569679"/>
              <a:gd name="connsiteX6" fmla="*/ 0 w 10888662"/>
              <a:gd name="connsiteY6" fmla="*/ 5989957 h 6569679"/>
              <a:gd name="connsiteX7" fmla="*/ 0 w 10888662"/>
              <a:gd name="connsiteY7" fmla="*/ 129257 h 6569679"/>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9657299 w 10888662"/>
              <a:gd name="connsiteY4" fmla="*/ 55276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522010"/>
              <a:gd name="connsiteX1" fmla="*/ 10308940 w 10888662"/>
              <a:gd name="connsiteY1" fmla="*/ 0 h 6522010"/>
              <a:gd name="connsiteX2" fmla="*/ 10888662 w 10888662"/>
              <a:gd name="connsiteY2" fmla="*/ 579722 h 6522010"/>
              <a:gd name="connsiteX3" fmla="*/ 10888662 w 10888662"/>
              <a:gd name="connsiteY3" fmla="*/ 5862353 h 6522010"/>
              <a:gd name="connsiteX4" fmla="*/ 579722 w 10888662"/>
              <a:gd name="connsiteY4" fmla="*/ 6442075 h 6522010"/>
              <a:gd name="connsiteX5" fmla="*/ 0 w 10888662"/>
              <a:gd name="connsiteY5" fmla="*/ 5862353 h 6522010"/>
              <a:gd name="connsiteX6" fmla="*/ 0 w 10888662"/>
              <a:gd name="connsiteY6" fmla="*/ 1653 h 6522010"/>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579722 w 10888662"/>
              <a:gd name="connsiteY4" fmla="*/ 6442075 h 6442075"/>
              <a:gd name="connsiteX5" fmla="*/ 0 w 10888662"/>
              <a:gd name="connsiteY5" fmla="*/ 5862353 h 6442075"/>
              <a:gd name="connsiteX6" fmla="*/ 0 w 10888662"/>
              <a:gd name="connsiteY6" fmla="*/ 1653 h 6442075"/>
              <a:gd name="connsiteX0" fmla="*/ 0 w 10888662"/>
              <a:gd name="connsiteY0" fmla="*/ 1653 h 6585432"/>
              <a:gd name="connsiteX1" fmla="*/ 10308940 w 10888662"/>
              <a:gd name="connsiteY1" fmla="*/ 0 h 6585432"/>
              <a:gd name="connsiteX2" fmla="*/ 10888662 w 10888662"/>
              <a:gd name="connsiteY2" fmla="*/ 579722 h 6585432"/>
              <a:gd name="connsiteX3" fmla="*/ 10878151 w 10888662"/>
              <a:gd name="connsiteY3" fmla="*/ 6461442 h 6585432"/>
              <a:gd name="connsiteX4" fmla="*/ 579722 w 10888662"/>
              <a:gd name="connsiteY4" fmla="*/ 6442075 h 6585432"/>
              <a:gd name="connsiteX5" fmla="*/ 0 w 10888662"/>
              <a:gd name="connsiteY5" fmla="*/ 5862353 h 6585432"/>
              <a:gd name="connsiteX6" fmla="*/ 0 w 10888662"/>
              <a:gd name="connsiteY6" fmla="*/ 1653 h 6585432"/>
              <a:gd name="connsiteX0" fmla="*/ 0 w 10888662"/>
              <a:gd name="connsiteY0" fmla="*/ 1653 h 6577502"/>
              <a:gd name="connsiteX1" fmla="*/ 10308940 w 10888662"/>
              <a:gd name="connsiteY1" fmla="*/ 0 h 6577502"/>
              <a:gd name="connsiteX2" fmla="*/ 10888662 w 10888662"/>
              <a:gd name="connsiteY2" fmla="*/ 579722 h 6577502"/>
              <a:gd name="connsiteX3" fmla="*/ 10878151 w 10888662"/>
              <a:gd name="connsiteY3" fmla="*/ 6450932 h 6577502"/>
              <a:gd name="connsiteX4" fmla="*/ 579722 w 10888662"/>
              <a:gd name="connsiteY4" fmla="*/ 6442075 h 6577502"/>
              <a:gd name="connsiteX5" fmla="*/ 0 w 10888662"/>
              <a:gd name="connsiteY5" fmla="*/ 5862353 h 6577502"/>
              <a:gd name="connsiteX6" fmla="*/ 0 w 10888662"/>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0888662"/>
              <a:gd name="connsiteY0" fmla="*/ 1653 h 6450932"/>
              <a:gd name="connsiteX1" fmla="*/ 10308940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0999550"/>
              <a:gd name="connsiteY0" fmla="*/ 1653 h 6450932"/>
              <a:gd name="connsiteX1" fmla="*/ 10844968 w 10999550"/>
              <a:gd name="connsiteY1" fmla="*/ 0 h 6450932"/>
              <a:gd name="connsiteX2" fmla="*/ 10888662 w 10999550"/>
              <a:gd name="connsiteY2" fmla="*/ 579722 h 6450932"/>
              <a:gd name="connsiteX3" fmla="*/ 10878151 w 10999550"/>
              <a:gd name="connsiteY3" fmla="*/ 6450932 h 6450932"/>
              <a:gd name="connsiteX4" fmla="*/ 579722 w 10999550"/>
              <a:gd name="connsiteY4" fmla="*/ 6442075 h 6450932"/>
              <a:gd name="connsiteX5" fmla="*/ 0 w 10999550"/>
              <a:gd name="connsiteY5" fmla="*/ 5862353 h 6450932"/>
              <a:gd name="connsiteX6" fmla="*/ 0 w 10999550"/>
              <a:gd name="connsiteY6" fmla="*/ 1653 h 6450932"/>
              <a:gd name="connsiteX0" fmla="*/ 0 w 11022020"/>
              <a:gd name="connsiteY0" fmla="*/ 1653 h 6450932"/>
              <a:gd name="connsiteX1" fmla="*/ 10876499 w 11022020"/>
              <a:gd name="connsiteY1" fmla="*/ 0 h 6450932"/>
              <a:gd name="connsiteX2" fmla="*/ 10888662 w 11022020"/>
              <a:gd name="connsiteY2" fmla="*/ 579722 h 6450932"/>
              <a:gd name="connsiteX3" fmla="*/ 10878151 w 11022020"/>
              <a:gd name="connsiteY3" fmla="*/ 6450932 h 6450932"/>
              <a:gd name="connsiteX4" fmla="*/ 579722 w 11022020"/>
              <a:gd name="connsiteY4" fmla="*/ 6442075 h 6450932"/>
              <a:gd name="connsiteX5" fmla="*/ 0 w 11022020"/>
              <a:gd name="connsiteY5" fmla="*/ 5862353 h 6450932"/>
              <a:gd name="connsiteX6" fmla="*/ 0 w 11022020"/>
              <a:gd name="connsiteY6" fmla="*/ 1653 h 6450932"/>
              <a:gd name="connsiteX0" fmla="*/ 0 w 10888662"/>
              <a:gd name="connsiteY0" fmla="*/ 1653 h 6450932"/>
              <a:gd name="connsiteX1" fmla="*/ 10876499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2200990"/>
              <a:gd name="connsiteY0" fmla="*/ 1653 h 6450932"/>
              <a:gd name="connsiteX1" fmla="*/ 10876499 w 12200990"/>
              <a:gd name="connsiteY1" fmla="*/ 0 h 6450932"/>
              <a:gd name="connsiteX2" fmla="*/ 10878151 w 12200990"/>
              <a:gd name="connsiteY2" fmla="*/ 6450932 h 6450932"/>
              <a:gd name="connsiteX3" fmla="*/ 579722 w 12200990"/>
              <a:gd name="connsiteY3" fmla="*/ 6442075 h 6450932"/>
              <a:gd name="connsiteX4" fmla="*/ 0 w 12200990"/>
              <a:gd name="connsiteY4" fmla="*/ 5862353 h 6450932"/>
              <a:gd name="connsiteX5" fmla="*/ 0 w 12200990"/>
              <a:gd name="connsiteY5" fmla="*/ 1653 h 6450932"/>
              <a:gd name="connsiteX0" fmla="*/ 0 w 11640630"/>
              <a:gd name="connsiteY0" fmla="*/ 1653 h 6450932"/>
              <a:gd name="connsiteX1" fmla="*/ 10876499 w 11640630"/>
              <a:gd name="connsiteY1" fmla="*/ 0 h 6450932"/>
              <a:gd name="connsiteX2" fmla="*/ 10878151 w 11640630"/>
              <a:gd name="connsiteY2" fmla="*/ 6450932 h 6450932"/>
              <a:gd name="connsiteX3" fmla="*/ 579722 w 11640630"/>
              <a:gd name="connsiteY3" fmla="*/ 6442075 h 6450932"/>
              <a:gd name="connsiteX4" fmla="*/ 0 w 11640630"/>
              <a:gd name="connsiteY4" fmla="*/ 5862353 h 6450932"/>
              <a:gd name="connsiteX5" fmla="*/ 0 w 11640630"/>
              <a:gd name="connsiteY5" fmla="*/ 1653 h 6450932"/>
              <a:gd name="connsiteX0" fmla="*/ 0 w 10878151"/>
              <a:gd name="connsiteY0" fmla="*/ 1653 h 6450932"/>
              <a:gd name="connsiteX1" fmla="*/ 10876499 w 10878151"/>
              <a:gd name="connsiteY1" fmla="*/ 0 h 6450932"/>
              <a:gd name="connsiteX2" fmla="*/ 10878151 w 10878151"/>
              <a:gd name="connsiteY2" fmla="*/ 6450932 h 6450932"/>
              <a:gd name="connsiteX3" fmla="*/ 579722 w 10878151"/>
              <a:gd name="connsiteY3" fmla="*/ 6442075 h 6450932"/>
              <a:gd name="connsiteX4" fmla="*/ 0 w 10878151"/>
              <a:gd name="connsiteY4" fmla="*/ 5862353 h 6450932"/>
              <a:gd name="connsiteX5" fmla="*/ 0 w 10878151"/>
              <a:gd name="connsiteY5" fmla="*/ 1653 h 6450932"/>
              <a:gd name="connsiteX0" fmla="*/ 0 w 11843451"/>
              <a:gd name="connsiteY0" fmla="*/ 1653 h 6450932"/>
              <a:gd name="connsiteX1" fmla="*/ 11843451 w 11843451"/>
              <a:gd name="connsiteY1" fmla="*/ 0 h 6450932"/>
              <a:gd name="connsiteX2" fmla="*/ 10878151 w 11843451"/>
              <a:gd name="connsiteY2" fmla="*/ 6450932 h 6450932"/>
              <a:gd name="connsiteX3" fmla="*/ 579722 w 11843451"/>
              <a:gd name="connsiteY3" fmla="*/ 6442075 h 6450932"/>
              <a:gd name="connsiteX4" fmla="*/ 0 w 11843451"/>
              <a:gd name="connsiteY4" fmla="*/ 5862353 h 6450932"/>
              <a:gd name="connsiteX5" fmla="*/ 0 w 11843451"/>
              <a:gd name="connsiteY5" fmla="*/ 1653 h 6450932"/>
              <a:gd name="connsiteX0" fmla="*/ 0 w 11855613"/>
              <a:gd name="connsiteY0" fmla="*/ 1653 h 6450932"/>
              <a:gd name="connsiteX1" fmla="*/ 11843451 w 11855613"/>
              <a:gd name="connsiteY1" fmla="*/ 0 h 6450932"/>
              <a:gd name="connsiteX2" fmla="*/ 11855613 w 11855613"/>
              <a:gd name="connsiteY2" fmla="*/ 6450932 h 6450932"/>
              <a:gd name="connsiteX3" fmla="*/ 579722 w 11855613"/>
              <a:gd name="connsiteY3" fmla="*/ 6442075 h 6450932"/>
              <a:gd name="connsiteX4" fmla="*/ 0 w 11855613"/>
              <a:gd name="connsiteY4" fmla="*/ 5862353 h 6450932"/>
              <a:gd name="connsiteX5" fmla="*/ 0 w 11855613"/>
              <a:gd name="connsiteY5" fmla="*/ 1653 h 6450932"/>
              <a:gd name="connsiteX0" fmla="*/ 0 w 11864472"/>
              <a:gd name="connsiteY0" fmla="*/ 1653 h 6450932"/>
              <a:gd name="connsiteX1" fmla="*/ 11864472 w 11864472"/>
              <a:gd name="connsiteY1" fmla="*/ 0 h 6450932"/>
              <a:gd name="connsiteX2" fmla="*/ 11855613 w 11864472"/>
              <a:gd name="connsiteY2" fmla="*/ 6450932 h 6450932"/>
              <a:gd name="connsiteX3" fmla="*/ 579722 w 11864472"/>
              <a:gd name="connsiteY3" fmla="*/ 6442075 h 6450932"/>
              <a:gd name="connsiteX4" fmla="*/ 0 w 11864472"/>
              <a:gd name="connsiteY4" fmla="*/ 5862353 h 6450932"/>
              <a:gd name="connsiteX5" fmla="*/ 0 w 11864472"/>
              <a:gd name="connsiteY5" fmla="*/ 1653 h 6450932"/>
              <a:gd name="connsiteX0" fmla="*/ 0 w 11864472"/>
              <a:gd name="connsiteY0" fmla="*/ 1653 h 6442075"/>
              <a:gd name="connsiteX1" fmla="*/ 11864472 w 11864472"/>
              <a:gd name="connsiteY1" fmla="*/ 0 h 6442075"/>
              <a:gd name="connsiteX2" fmla="*/ 11855613 w 11864472"/>
              <a:gd name="connsiteY2" fmla="*/ 6440421 h 6442075"/>
              <a:gd name="connsiteX3" fmla="*/ 579722 w 11864472"/>
              <a:gd name="connsiteY3" fmla="*/ 6442075 h 6442075"/>
              <a:gd name="connsiteX4" fmla="*/ 0 w 11864472"/>
              <a:gd name="connsiteY4" fmla="*/ 5862353 h 6442075"/>
              <a:gd name="connsiteX5" fmla="*/ 0 w 11864472"/>
              <a:gd name="connsiteY5" fmla="*/ 1653 h 6442075"/>
              <a:gd name="connsiteX0" fmla="*/ 0 w 11855613"/>
              <a:gd name="connsiteY0" fmla="*/ 1653 h 6442075"/>
              <a:gd name="connsiteX1" fmla="*/ 8912928 w 11855613"/>
              <a:gd name="connsiteY1" fmla="*/ 0 h 6442075"/>
              <a:gd name="connsiteX2" fmla="*/ 11855613 w 11855613"/>
              <a:gd name="connsiteY2" fmla="*/ 6440421 h 6442075"/>
              <a:gd name="connsiteX3" fmla="*/ 579722 w 11855613"/>
              <a:gd name="connsiteY3" fmla="*/ 6442075 h 6442075"/>
              <a:gd name="connsiteX4" fmla="*/ 0 w 11855613"/>
              <a:gd name="connsiteY4" fmla="*/ 5862353 h 6442075"/>
              <a:gd name="connsiteX5" fmla="*/ 0 w 11855613"/>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74032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36077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1615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15642"/>
              <a:gd name="connsiteY0" fmla="*/ 1653 h 6442075"/>
              <a:gd name="connsiteX1" fmla="*/ 8912928 w 8915642"/>
              <a:gd name="connsiteY1" fmla="*/ 0 h 6442075"/>
              <a:gd name="connsiteX2" fmla="*/ 8915642 w 8915642"/>
              <a:gd name="connsiteY2" fmla="*/ 6440421 h 6442075"/>
              <a:gd name="connsiteX3" fmla="*/ 579722 w 8915642"/>
              <a:gd name="connsiteY3" fmla="*/ 6442075 h 6442075"/>
              <a:gd name="connsiteX4" fmla="*/ 0 w 8915642"/>
              <a:gd name="connsiteY4" fmla="*/ 5862353 h 6442075"/>
              <a:gd name="connsiteX5" fmla="*/ 0 w 8915642"/>
              <a:gd name="connsiteY5" fmla="*/ 1653 h 6442075"/>
              <a:gd name="connsiteX0" fmla="*/ 0 w 8915642"/>
              <a:gd name="connsiteY0" fmla="*/ 1 h 6633463"/>
              <a:gd name="connsiteX1" fmla="*/ 8912928 w 8915642"/>
              <a:gd name="connsiteY1" fmla="*/ 191388 h 6633463"/>
              <a:gd name="connsiteX2" fmla="*/ 8915642 w 8915642"/>
              <a:gd name="connsiteY2" fmla="*/ 6631809 h 6633463"/>
              <a:gd name="connsiteX3" fmla="*/ 579722 w 8915642"/>
              <a:gd name="connsiteY3" fmla="*/ 6633463 h 6633463"/>
              <a:gd name="connsiteX4" fmla="*/ 0 w 8915642"/>
              <a:gd name="connsiteY4" fmla="*/ 6053741 h 6633463"/>
              <a:gd name="connsiteX5" fmla="*/ 0 w 8915642"/>
              <a:gd name="connsiteY5" fmla="*/ 1 h 6633463"/>
              <a:gd name="connsiteX0" fmla="*/ 0 w 8933278"/>
              <a:gd name="connsiteY0" fmla="*/ 1653 h 6635115"/>
              <a:gd name="connsiteX1" fmla="*/ 8933248 w 8933278"/>
              <a:gd name="connsiteY1" fmla="*/ 0 h 6635115"/>
              <a:gd name="connsiteX2" fmla="*/ 8915642 w 8933278"/>
              <a:gd name="connsiteY2" fmla="*/ 6633461 h 6635115"/>
              <a:gd name="connsiteX3" fmla="*/ 579722 w 8933278"/>
              <a:gd name="connsiteY3" fmla="*/ 6635115 h 6635115"/>
              <a:gd name="connsiteX4" fmla="*/ 0 w 8933278"/>
              <a:gd name="connsiteY4" fmla="*/ 6055393 h 6635115"/>
              <a:gd name="connsiteX5" fmla="*/ 0 w 8933278"/>
              <a:gd name="connsiteY5" fmla="*/ 1653 h 6635115"/>
              <a:gd name="connsiteX0" fmla="*/ 0 w 8933323"/>
              <a:gd name="connsiteY0" fmla="*/ 1653 h 6645336"/>
              <a:gd name="connsiteX1" fmla="*/ 8933248 w 8933323"/>
              <a:gd name="connsiteY1" fmla="*/ 0 h 6645336"/>
              <a:gd name="connsiteX2" fmla="*/ 8927517 w 8933323"/>
              <a:gd name="connsiteY2" fmla="*/ 6645336 h 6645336"/>
              <a:gd name="connsiteX3" fmla="*/ 579722 w 8933323"/>
              <a:gd name="connsiteY3" fmla="*/ 6635115 h 6645336"/>
              <a:gd name="connsiteX4" fmla="*/ 0 w 8933323"/>
              <a:gd name="connsiteY4" fmla="*/ 6055393 h 6645336"/>
              <a:gd name="connsiteX5" fmla="*/ 0 w 8933323"/>
              <a:gd name="connsiteY5" fmla="*/ 1653 h 6645336"/>
              <a:gd name="connsiteX0" fmla="*/ 0 w 8927517"/>
              <a:gd name="connsiteY0" fmla="*/ 1653 h 6645336"/>
              <a:gd name="connsiteX1" fmla="*/ 7971347 w 8927517"/>
              <a:gd name="connsiteY1" fmla="*/ 0 h 6645336"/>
              <a:gd name="connsiteX2" fmla="*/ 8927517 w 8927517"/>
              <a:gd name="connsiteY2" fmla="*/ 6645336 h 6645336"/>
              <a:gd name="connsiteX3" fmla="*/ 579722 w 8927517"/>
              <a:gd name="connsiteY3" fmla="*/ 6635115 h 6645336"/>
              <a:gd name="connsiteX4" fmla="*/ 0 w 8927517"/>
              <a:gd name="connsiteY4" fmla="*/ 6055393 h 6645336"/>
              <a:gd name="connsiteX5" fmla="*/ 0 w 8927517"/>
              <a:gd name="connsiteY5" fmla="*/ 1653 h 6645336"/>
              <a:gd name="connsiteX0" fmla="*/ 0 w 7971422"/>
              <a:gd name="connsiteY0" fmla="*/ 1653 h 6645336"/>
              <a:gd name="connsiteX1" fmla="*/ 7971347 w 7971422"/>
              <a:gd name="connsiteY1" fmla="*/ 0 h 6645336"/>
              <a:gd name="connsiteX2" fmla="*/ 7965616 w 7971422"/>
              <a:gd name="connsiteY2" fmla="*/ 6645336 h 6645336"/>
              <a:gd name="connsiteX3" fmla="*/ 579722 w 7971422"/>
              <a:gd name="connsiteY3" fmla="*/ 6635115 h 6645336"/>
              <a:gd name="connsiteX4" fmla="*/ 0 w 7971422"/>
              <a:gd name="connsiteY4" fmla="*/ 6055393 h 6645336"/>
              <a:gd name="connsiteX5" fmla="*/ 0 w 7971422"/>
              <a:gd name="connsiteY5" fmla="*/ 1653 h 6645336"/>
              <a:gd name="connsiteX0" fmla="*/ 0 w 7971422"/>
              <a:gd name="connsiteY0" fmla="*/ 1301816 h 6645336"/>
              <a:gd name="connsiteX1" fmla="*/ 7971347 w 7971422"/>
              <a:gd name="connsiteY1" fmla="*/ 0 h 6645336"/>
              <a:gd name="connsiteX2" fmla="*/ 7965616 w 7971422"/>
              <a:gd name="connsiteY2" fmla="*/ 6645336 h 6645336"/>
              <a:gd name="connsiteX3" fmla="*/ 579722 w 7971422"/>
              <a:gd name="connsiteY3" fmla="*/ 6635115 h 6645336"/>
              <a:gd name="connsiteX4" fmla="*/ 0 w 7971422"/>
              <a:gd name="connsiteY4" fmla="*/ 6055393 h 6645336"/>
              <a:gd name="connsiteX5" fmla="*/ 0 w 7971422"/>
              <a:gd name="connsiteY5" fmla="*/ 1301816 h 6645336"/>
              <a:gd name="connsiteX0" fmla="*/ 0 w 7965616"/>
              <a:gd name="connsiteY0" fmla="*/ 1653 h 5345173"/>
              <a:gd name="connsiteX1" fmla="*/ 7957060 w 7965616"/>
              <a:gd name="connsiteY1" fmla="*/ 0 h 5345173"/>
              <a:gd name="connsiteX2" fmla="*/ 7965616 w 7965616"/>
              <a:gd name="connsiteY2" fmla="*/ 5345173 h 5345173"/>
              <a:gd name="connsiteX3" fmla="*/ 579722 w 7965616"/>
              <a:gd name="connsiteY3" fmla="*/ 5334952 h 5345173"/>
              <a:gd name="connsiteX4" fmla="*/ 0 w 7965616"/>
              <a:gd name="connsiteY4" fmla="*/ 4755230 h 5345173"/>
              <a:gd name="connsiteX5" fmla="*/ 0 w 7965616"/>
              <a:gd name="connsiteY5" fmla="*/ 1653 h 5345173"/>
              <a:gd name="connsiteX0" fmla="*/ 0 w 7971422"/>
              <a:gd name="connsiteY0" fmla="*/ 1653 h 5345173"/>
              <a:gd name="connsiteX1" fmla="*/ 7971347 w 7971422"/>
              <a:gd name="connsiteY1" fmla="*/ 0 h 5345173"/>
              <a:gd name="connsiteX2" fmla="*/ 7965616 w 7971422"/>
              <a:gd name="connsiteY2" fmla="*/ 5345173 h 5345173"/>
              <a:gd name="connsiteX3" fmla="*/ 579722 w 7971422"/>
              <a:gd name="connsiteY3" fmla="*/ 5334952 h 5345173"/>
              <a:gd name="connsiteX4" fmla="*/ 0 w 7971422"/>
              <a:gd name="connsiteY4" fmla="*/ 4755230 h 5345173"/>
              <a:gd name="connsiteX5" fmla="*/ 0 w 7971422"/>
              <a:gd name="connsiteY5" fmla="*/ 1653 h 5345173"/>
              <a:gd name="connsiteX0" fmla="*/ 0 w 7988356"/>
              <a:gd name="connsiteY0" fmla="*/ 187920 h 5345173"/>
              <a:gd name="connsiteX1" fmla="*/ 7988281 w 7988356"/>
              <a:gd name="connsiteY1" fmla="*/ 0 h 5345173"/>
              <a:gd name="connsiteX2" fmla="*/ 7982550 w 7988356"/>
              <a:gd name="connsiteY2" fmla="*/ 5345173 h 5345173"/>
              <a:gd name="connsiteX3" fmla="*/ 596656 w 7988356"/>
              <a:gd name="connsiteY3" fmla="*/ 5334952 h 5345173"/>
              <a:gd name="connsiteX4" fmla="*/ 16934 w 7988356"/>
              <a:gd name="connsiteY4" fmla="*/ 4755230 h 5345173"/>
              <a:gd name="connsiteX5" fmla="*/ 0 w 7988356"/>
              <a:gd name="connsiteY5" fmla="*/ 187920 h 5345173"/>
              <a:gd name="connsiteX0" fmla="*/ 0 w 7988356"/>
              <a:gd name="connsiteY0" fmla="*/ 210145 h 5345173"/>
              <a:gd name="connsiteX1" fmla="*/ 7988281 w 7988356"/>
              <a:gd name="connsiteY1" fmla="*/ 0 h 5345173"/>
              <a:gd name="connsiteX2" fmla="*/ 7982550 w 7988356"/>
              <a:gd name="connsiteY2" fmla="*/ 5345173 h 5345173"/>
              <a:gd name="connsiteX3" fmla="*/ 596656 w 7988356"/>
              <a:gd name="connsiteY3" fmla="*/ 5334952 h 5345173"/>
              <a:gd name="connsiteX4" fmla="*/ 16934 w 7988356"/>
              <a:gd name="connsiteY4" fmla="*/ 4755230 h 5345173"/>
              <a:gd name="connsiteX5" fmla="*/ 0 w 7988356"/>
              <a:gd name="connsiteY5" fmla="*/ 210145 h 5345173"/>
              <a:gd name="connsiteX0" fmla="*/ 0 w 7988356"/>
              <a:gd name="connsiteY0" fmla="*/ 0 h 5135028"/>
              <a:gd name="connsiteX1" fmla="*/ 7988281 w 7988356"/>
              <a:gd name="connsiteY1" fmla="*/ 7569 h 5135028"/>
              <a:gd name="connsiteX2" fmla="*/ 7982550 w 7988356"/>
              <a:gd name="connsiteY2" fmla="*/ 5135028 h 5135028"/>
              <a:gd name="connsiteX3" fmla="*/ 596656 w 7988356"/>
              <a:gd name="connsiteY3" fmla="*/ 5124807 h 5135028"/>
              <a:gd name="connsiteX4" fmla="*/ 16934 w 7988356"/>
              <a:gd name="connsiteY4" fmla="*/ 4545085 h 5135028"/>
              <a:gd name="connsiteX5" fmla="*/ 0 w 7988356"/>
              <a:gd name="connsiteY5" fmla="*/ 0 h 5135028"/>
              <a:gd name="connsiteX0" fmla="*/ 0 w 7982550"/>
              <a:gd name="connsiteY0" fmla="*/ 0 h 5135028"/>
              <a:gd name="connsiteX1" fmla="*/ 6028853 w 7982550"/>
              <a:gd name="connsiteY1" fmla="*/ 7569 h 5135028"/>
              <a:gd name="connsiteX2" fmla="*/ 7982550 w 7982550"/>
              <a:gd name="connsiteY2" fmla="*/ 5135028 h 5135028"/>
              <a:gd name="connsiteX3" fmla="*/ 596656 w 7982550"/>
              <a:gd name="connsiteY3" fmla="*/ 5124807 h 5135028"/>
              <a:gd name="connsiteX4" fmla="*/ 16934 w 7982550"/>
              <a:gd name="connsiteY4" fmla="*/ 4545085 h 5135028"/>
              <a:gd name="connsiteX5" fmla="*/ 0 w 7982550"/>
              <a:gd name="connsiteY5" fmla="*/ 0 h 5135028"/>
              <a:gd name="connsiteX0" fmla="*/ 0 w 6037636"/>
              <a:gd name="connsiteY0" fmla="*/ 0 h 5135028"/>
              <a:gd name="connsiteX1" fmla="*/ 6028853 w 6037636"/>
              <a:gd name="connsiteY1" fmla="*/ 7569 h 5135028"/>
              <a:gd name="connsiteX2" fmla="*/ 6037636 w 6037636"/>
              <a:gd name="connsiteY2" fmla="*/ 5135028 h 5135028"/>
              <a:gd name="connsiteX3" fmla="*/ 596656 w 6037636"/>
              <a:gd name="connsiteY3" fmla="*/ 5124807 h 5135028"/>
              <a:gd name="connsiteX4" fmla="*/ 16934 w 6037636"/>
              <a:gd name="connsiteY4" fmla="*/ 4545085 h 5135028"/>
              <a:gd name="connsiteX5" fmla="*/ 0 w 6037636"/>
              <a:gd name="connsiteY5" fmla="*/ 0 h 5135028"/>
              <a:gd name="connsiteX0" fmla="*/ 0 w 6028853"/>
              <a:gd name="connsiteY0" fmla="*/ 0 h 5124807"/>
              <a:gd name="connsiteX1" fmla="*/ 6028853 w 6028853"/>
              <a:gd name="connsiteY1" fmla="*/ 7569 h 5124807"/>
              <a:gd name="connsiteX2" fmla="*/ 4063693 w 6028853"/>
              <a:gd name="connsiteY2" fmla="*/ 5105999 h 5124807"/>
              <a:gd name="connsiteX3" fmla="*/ 596656 w 6028853"/>
              <a:gd name="connsiteY3" fmla="*/ 5124807 h 5124807"/>
              <a:gd name="connsiteX4" fmla="*/ 16934 w 6028853"/>
              <a:gd name="connsiteY4" fmla="*/ 4545085 h 5124807"/>
              <a:gd name="connsiteX5" fmla="*/ 0 w 6028853"/>
              <a:gd name="connsiteY5" fmla="*/ 0 h 5124807"/>
              <a:gd name="connsiteX0" fmla="*/ 0 w 4069500"/>
              <a:gd name="connsiteY0" fmla="*/ 0 h 5124807"/>
              <a:gd name="connsiteX1" fmla="*/ 4069425 w 4069500"/>
              <a:gd name="connsiteY1" fmla="*/ 7569 h 5124807"/>
              <a:gd name="connsiteX2" fmla="*/ 4063693 w 4069500"/>
              <a:gd name="connsiteY2" fmla="*/ 5105999 h 5124807"/>
              <a:gd name="connsiteX3" fmla="*/ 596656 w 4069500"/>
              <a:gd name="connsiteY3" fmla="*/ 5124807 h 5124807"/>
              <a:gd name="connsiteX4" fmla="*/ 16934 w 4069500"/>
              <a:gd name="connsiteY4" fmla="*/ 4545085 h 5124807"/>
              <a:gd name="connsiteX5" fmla="*/ 0 w 4069500"/>
              <a:gd name="connsiteY5" fmla="*/ 0 h 5124807"/>
              <a:gd name="connsiteX0" fmla="*/ 0 w 4069500"/>
              <a:gd name="connsiteY0" fmla="*/ 6946 h 5131753"/>
              <a:gd name="connsiteX1" fmla="*/ 4069425 w 4069500"/>
              <a:gd name="connsiteY1" fmla="*/ 0 h 5131753"/>
              <a:gd name="connsiteX2" fmla="*/ 4063693 w 4069500"/>
              <a:gd name="connsiteY2" fmla="*/ 5112945 h 5131753"/>
              <a:gd name="connsiteX3" fmla="*/ 596656 w 4069500"/>
              <a:gd name="connsiteY3" fmla="*/ 5131753 h 5131753"/>
              <a:gd name="connsiteX4" fmla="*/ 16934 w 4069500"/>
              <a:gd name="connsiteY4" fmla="*/ 4552031 h 5131753"/>
              <a:gd name="connsiteX5" fmla="*/ 0 w 4069500"/>
              <a:gd name="connsiteY5" fmla="*/ 6946 h 51317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069500" h="5131753">
                <a:moveTo>
                  <a:pt x="0" y="6946"/>
                </a:moveTo>
                <a:lnTo>
                  <a:pt x="4069425" y="0"/>
                </a:lnTo>
                <a:cubicBezTo>
                  <a:pt x="4070330" y="2146807"/>
                  <a:pt x="4062788" y="2966138"/>
                  <a:pt x="4063693" y="5112945"/>
                </a:cubicBezTo>
                <a:lnTo>
                  <a:pt x="596656" y="5131753"/>
                </a:lnTo>
                <a:cubicBezTo>
                  <a:pt x="276484" y="5131753"/>
                  <a:pt x="16934" y="4872203"/>
                  <a:pt x="16934" y="4552031"/>
                </a:cubicBezTo>
                <a:cubicBezTo>
                  <a:pt x="11289" y="3029594"/>
                  <a:pt x="5645" y="1529383"/>
                  <a:pt x="0" y="6946"/>
                </a:cubicBezTo>
                <a:close/>
              </a:path>
            </a:pathLst>
          </a:custGeom>
          <a:noFill/>
        </p:spPr>
        <p:txBody>
          <a:bodyPr>
            <a:normAutofit/>
          </a:bodyPr>
          <a:lstStyle>
            <a:lvl1pPr marL="0" indent="0">
              <a:buNone/>
              <a:defRPr sz="1400">
                <a:solidFill>
                  <a:schemeClr val="tx1"/>
                </a:solidFill>
              </a:defRPr>
            </a:lvl1pPr>
          </a:lstStyle>
          <a:p>
            <a:r>
              <a:rPr lang="en-JP" dirty="0"/>
              <a:t>Insert Photo</a:t>
            </a:r>
          </a:p>
        </p:txBody>
      </p:sp>
      <p:pic>
        <p:nvPicPr>
          <p:cNvPr id="14" name="Picture 13" descr="Takeda">
            <a:extLst>
              <a:ext uri="{FF2B5EF4-FFF2-40B4-BE49-F238E27FC236}">
                <a16:creationId xmlns:a16="http://schemas.microsoft.com/office/drawing/2014/main" id="{334C6D4B-D00D-0346-BC97-8DCE371C280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546331" y="-1615"/>
            <a:ext cx="1696232" cy="940780"/>
          </a:xfrm>
          <a:prstGeom prst="rect">
            <a:avLst/>
          </a:prstGeom>
        </p:spPr>
      </p:pic>
      <p:sp>
        <p:nvSpPr>
          <p:cNvPr id="17" name="タイトル プレースホルダ 1">
            <a:extLst>
              <a:ext uri="{FF2B5EF4-FFF2-40B4-BE49-F238E27FC236}">
                <a16:creationId xmlns:a16="http://schemas.microsoft.com/office/drawing/2014/main" id="{CCEDFD04-9A53-9241-851E-1D01DC555ACC}"/>
              </a:ext>
            </a:extLst>
          </p:cNvPr>
          <p:cNvSpPr>
            <a:spLocks noGrp="1"/>
          </p:cNvSpPr>
          <p:nvPr>
            <p:ph type="title" hasCustomPrompt="1"/>
          </p:nvPr>
        </p:nvSpPr>
        <p:spPr>
          <a:xfrm>
            <a:off x="606078" y="161605"/>
            <a:ext cx="9940253" cy="685801"/>
          </a:xfrm>
          <a:prstGeom prst="rect">
            <a:avLst/>
          </a:prstGeom>
        </p:spPr>
        <p:txBody>
          <a:bodyPr vert="horz" lIns="0" tIns="0" rIns="0" bIns="0" rtlCol="0" anchor="ctr">
            <a:normAutofit/>
          </a:bodyPr>
          <a:lstStyle/>
          <a:p>
            <a:r>
              <a:rPr kumimoji="1" lang="en-US" altLang="ja-JP" dirty="0"/>
              <a:t>Click to add title</a:t>
            </a:r>
            <a:endParaRPr kumimoji="1" lang="ja-JP" altLang="en-US"/>
          </a:p>
        </p:txBody>
      </p:sp>
      <p:sp>
        <p:nvSpPr>
          <p:cNvPr id="20" name="Footer Placeholder 8">
            <a:extLst>
              <a:ext uri="{FF2B5EF4-FFF2-40B4-BE49-F238E27FC236}">
                <a16:creationId xmlns:a16="http://schemas.microsoft.com/office/drawing/2014/main" id="{1E1D8887-7EAE-1A40-9285-7C632FEAA8BF}"/>
              </a:ext>
            </a:extLst>
          </p:cNvPr>
          <p:cNvSpPr>
            <a:spLocks noGrp="1"/>
          </p:cNvSpPr>
          <p:nvPr>
            <p:ph type="ftr" sz="quarter" idx="3"/>
          </p:nvPr>
        </p:nvSpPr>
        <p:spPr>
          <a:xfrm>
            <a:off x="7766050" y="6523001"/>
            <a:ext cx="4114800" cy="196131"/>
          </a:xfrm>
          <a:prstGeom prst="rect">
            <a:avLst/>
          </a:prstGeom>
        </p:spPr>
        <p:txBody>
          <a:bodyPr vert="horz" lIns="91440" tIns="45720" rIns="0" bIns="45720" rtlCol="0" anchor="ctr"/>
          <a:lstStyle>
            <a:lvl1pPr algn="r">
              <a:defRPr sz="800" b="1" spc="100" baseline="0">
                <a:solidFill>
                  <a:schemeClr val="tx1"/>
                </a:solidFill>
              </a:defRPr>
            </a:lvl1pPr>
          </a:lstStyle>
          <a:p>
            <a:r>
              <a:rPr lang="en-JP" dirty="0"/>
              <a:t> </a:t>
            </a:r>
          </a:p>
        </p:txBody>
      </p:sp>
      <p:sp>
        <p:nvSpPr>
          <p:cNvPr id="23" name="Rectangle 22">
            <a:extLst>
              <a:ext uri="{FF2B5EF4-FFF2-40B4-BE49-F238E27FC236}">
                <a16:creationId xmlns:a16="http://schemas.microsoft.com/office/drawing/2014/main" id="{365B3EBD-E4F5-8E40-B07A-C04F3B1E7F2C}"/>
              </a:ext>
            </a:extLst>
          </p:cNvPr>
          <p:cNvSpPr/>
          <p:nvPr userDrawn="1"/>
        </p:nvSpPr>
        <p:spPr>
          <a:xfrm>
            <a:off x="308038" y="161606"/>
            <a:ext cx="54000" cy="68580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dirty="0">
              <a:solidFill>
                <a:schemeClr val="accent1"/>
              </a:solidFill>
            </a:endParaRPr>
          </a:p>
        </p:txBody>
      </p:sp>
      <p:sp>
        <p:nvSpPr>
          <p:cNvPr id="26" name="スライド番号プレースホルダ 5">
            <a:extLst>
              <a:ext uri="{FF2B5EF4-FFF2-40B4-BE49-F238E27FC236}">
                <a16:creationId xmlns:a16="http://schemas.microsoft.com/office/drawing/2014/main" id="{3D5D14EF-A351-224D-8142-E1BEE44BBC99}"/>
              </a:ext>
            </a:extLst>
          </p:cNvPr>
          <p:cNvSpPr>
            <a:spLocks noGrp="1"/>
          </p:cNvSpPr>
          <p:nvPr>
            <p:ph type="sldNum" sz="quarter" idx="4"/>
          </p:nvPr>
        </p:nvSpPr>
        <p:spPr>
          <a:xfrm>
            <a:off x="311150" y="6523001"/>
            <a:ext cx="294928" cy="196131"/>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a:t>
            </a:fld>
            <a:endParaRPr lang="ja-JP" altLang="en-US"/>
          </a:p>
        </p:txBody>
      </p:sp>
      <p:sp>
        <p:nvSpPr>
          <p:cNvPr id="27" name="Text Placeholder 6">
            <a:extLst>
              <a:ext uri="{FF2B5EF4-FFF2-40B4-BE49-F238E27FC236}">
                <a16:creationId xmlns:a16="http://schemas.microsoft.com/office/drawing/2014/main" id="{4D0A49B6-0BCC-C545-BF97-504B63062FEC}"/>
              </a:ext>
            </a:extLst>
          </p:cNvPr>
          <p:cNvSpPr>
            <a:spLocks noGrp="1"/>
          </p:cNvSpPr>
          <p:nvPr>
            <p:ph type="body" sz="quarter" idx="16" hasCustomPrompt="1"/>
          </p:nvPr>
        </p:nvSpPr>
        <p:spPr>
          <a:xfrm>
            <a:off x="606078" y="6523001"/>
            <a:ext cx="6968348" cy="205613"/>
          </a:xfrm>
          <a:prstGeom prst="rect">
            <a:avLst/>
          </a:prstGeom>
        </p:spPr>
        <p:txBody>
          <a:bodyPr wrap="none" tIns="0" rIns="0" bIns="72000" numCol="1" anchor="ctr">
            <a:noAutofit/>
          </a:bodyPr>
          <a:lstStyle>
            <a:lvl1pPr marL="0" indent="0">
              <a:lnSpc>
                <a:spcPts val="1600"/>
              </a:lnSpc>
              <a:spcBef>
                <a:spcPts val="0"/>
              </a:spcBef>
              <a:spcAft>
                <a:spcPts val="600"/>
              </a:spcAft>
              <a:buFont typeface="Arial" panose="020B0604020202020204" pitchFamily="34" charset="0"/>
              <a:buNone/>
              <a:defRPr sz="800" b="0">
                <a:solidFill>
                  <a:schemeClr val="accent3"/>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dirty="0"/>
              <a:t>Private and confidential. For internal use only.</a:t>
            </a:r>
          </a:p>
        </p:txBody>
      </p:sp>
      <p:sp>
        <p:nvSpPr>
          <p:cNvPr id="15" name="Text Placeholder 2">
            <a:extLst>
              <a:ext uri="{FF2B5EF4-FFF2-40B4-BE49-F238E27FC236}">
                <a16:creationId xmlns:a16="http://schemas.microsoft.com/office/drawing/2014/main" id="{D82FCE78-36AB-904B-98A8-CE3FFB1555E3}"/>
              </a:ext>
            </a:extLst>
          </p:cNvPr>
          <p:cNvSpPr>
            <a:spLocks noGrp="1"/>
          </p:cNvSpPr>
          <p:nvPr>
            <p:ph type="body" sz="quarter" idx="20" hasCustomPrompt="1"/>
          </p:nvPr>
        </p:nvSpPr>
        <p:spPr>
          <a:xfrm>
            <a:off x="311150" y="1491373"/>
            <a:ext cx="7660041" cy="1464957"/>
          </a:xfrm>
        </p:spPr>
        <p:txBody>
          <a:bodyPr tIns="0" rIns="0" bIns="0" numCol="1" spcCol="126000">
            <a:noAutofit/>
          </a:bodyPr>
          <a:lstStyle>
            <a:lvl1pPr marL="0" indent="0">
              <a:lnSpc>
                <a:spcPct val="100000"/>
              </a:lnSpc>
              <a:spcBef>
                <a:spcPts val="0"/>
              </a:spcBef>
              <a:buNone/>
              <a:defRPr sz="1600" b="1"/>
            </a:lvl1pPr>
            <a:lvl2pPr marL="457068" indent="0">
              <a:buNone/>
              <a:defRPr sz="1800" b="1"/>
            </a:lvl2pPr>
            <a:lvl3pPr marL="914149" indent="0">
              <a:buNone/>
              <a:defRPr sz="1800" b="1"/>
            </a:lvl3pPr>
            <a:lvl4pPr marL="1371219" indent="0">
              <a:buNone/>
              <a:defRPr sz="1800" b="1"/>
            </a:lvl4pPr>
            <a:lvl5pPr marL="1828290" indent="0">
              <a:buNone/>
              <a:defRPr sz="1800" b="1"/>
            </a:lvl5pPr>
          </a:lstStyle>
          <a:p>
            <a:pPr lvl="0"/>
            <a:r>
              <a:rPr lang="en-US" dirty="0"/>
              <a:t>This is your Primary Text.</a:t>
            </a:r>
            <a:endParaRPr lang="en-JP" dirty="0"/>
          </a:p>
        </p:txBody>
      </p:sp>
      <p:sp>
        <p:nvSpPr>
          <p:cNvPr id="18" name="Text Placeholder 6">
            <a:extLst>
              <a:ext uri="{FF2B5EF4-FFF2-40B4-BE49-F238E27FC236}">
                <a16:creationId xmlns:a16="http://schemas.microsoft.com/office/drawing/2014/main" id="{72ECF95F-F25E-8248-A0F3-BB1749A1B406}"/>
              </a:ext>
            </a:extLst>
          </p:cNvPr>
          <p:cNvSpPr>
            <a:spLocks noGrp="1"/>
          </p:cNvSpPr>
          <p:nvPr>
            <p:ph type="body" sz="quarter" idx="21" hasCustomPrompt="1"/>
          </p:nvPr>
        </p:nvSpPr>
        <p:spPr>
          <a:xfrm>
            <a:off x="311149" y="1093767"/>
            <a:ext cx="7660041" cy="272786"/>
          </a:xfrm>
        </p:spPr>
        <p:txBody>
          <a:bodyPr tIns="0" rIns="0" bIns="0" numCol="1">
            <a:noAutofit/>
          </a:bodyPr>
          <a:lstStyle>
            <a:lvl1pPr marL="0" indent="0">
              <a:lnSpc>
                <a:spcPct val="100000"/>
              </a:lnSpc>
              <a:spcBef>
                <a:spcPts val="0"/>
              </a:spcBef>
              <a:spcAft>
                <a:spcPts val="600"/>
              </a:spcAft>
              <a:buNone/>
              <a:defRPr sz="20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dirty="0"/>
              <a:t>This is your Primary Title</a:t>
            </a:r>
          </a:p>
        </p:txBody>
      </p:sp>
    </p:spTree>
    <p:extLst>
      <p:ext uri="{BB962C8B-B14F-4D97-AF65-F5344CB8AC3E}">
        <p14:creationId xmlns:p14="http://schemas.microsoft.com/office/powerpoint/2010/main" val="551311237"/>
      </p:ext>
    </p:extLst>
  </p:cSld>
  <p:clrMapOvr>
    <a:masterClrMapping/>
  </p:clrMapOvr>
  <p:transition spd="slow">
    <p:push dir="u"/>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Advanced 1/3 Image (Full Bleed)">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65925D82-457F-D84D-B8DF-D8ADFD7E71DF}"/>
              </a:ext>
            </a:extLst>
          </p:cNvPr>
          <p:cNvSpPr>
            <a:spLocks noGrp="1"/>
          </p:cNvSpPr>
          <p:nvPr>
            <p:ph type="body" sz="quarter" idx="14" hasCustomPrompt="1"/>
          </p:nvPr>
        </p:nvSpPr>
        <p:spPr>
          <a:xfrm>
            <a:off x="311150" y="3178298"/>
            <a:ext cx="5708650" cy="272786"/>
          </a:xfrm>
          <a:prstGeom prst="rect">
            <a:avLst/>
          </a:prstGeom>
        </p:spPr>
        <p:txBody>
          <a:bodyPr tIns="0" rIns="0" bIns="0" numCol="1">
            <a:noAutofit/>
          </a:bodyPr>
          <a:lstStyle>
            <a:lvl1pPr marL="0" indent="0">
              <a:lnSpc>
                <a:spcPct val="100000"/>
              </a:lnSpc>
              <a:spcBef>
                <a:spcPts val="0"/>
              </a:spcBef>
              <a:spcAft>
                <a:spcPts val="600"/>
              </a:spcAft>
              <a:buNone/>
              <a:defRPr sz="18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dirty="0"/>
              <a:t>This is your Secondary Title</a:t>
            </a:r>
          </a:p>
        </p:txBody>
      </p:sp>
      <p:sp>
        <p:nvSpPr>
          <p:cNvPr id="12" name="Text Placeholder 6">
            <a:extLst>
              <a:ext uri="{FF2B5EF4-FFF2-40B4-BE49-F238E27FC236}">
                <a16:creationId xmlns:a16="http://schemas.microsoft.com/office/drawing/2014/main" id="{FD2406EE-A554-5348-AE6D-4D8B343E6201}"/>
              </a:ext>
            </a:extLst>
          </p:cNvPr>
          <p:cNvSpPr>
            <a:spLocks noGrp="1"/>
          </p:cNvSpPr>
          <p:nvPr>
            <p:ph type="body" sz="quarter" idx="15" hasCustomPrompt="1"/>
          </p:nvPr>
        </p:nvSpPr>
        <p:spPr>
          <a:xfrm>
            <a:off x="311149" y="3575904"/>
            <a:ext cx="7663807" cy="2859621"/>
          </a:xfrm>
          <a:prstGeom prst="rect">
            <a:avLst/>
          </a:prstGeom>
        </p:spPr>
        <p:txBody>
          <a:bodyPr tIns="0" rIns="0" bIns="0" numCol="2" spcCol="126000">
            <a:noAutofit/>
          </a:bodyPr>
          <a:lstStyle>
            <a:lvl1pPr marL="171450" indent="-171450">
              <a:lnSpc>
                <a:spcPct val="100000"/>
              </a:lnSpc>
              <a:spcBef>
                <a:spcPts val="0"/>
              </a:spcBef>
              <a:spcAft>
                <a:spcPts val="600"/>
              </a:spcAft>
              <a:buFont typeface="Arial" panose="020B0604020202020204" pitchFamily="34" charset="0"/>
              <a:buChar char="•"/>
              <a:defRPr sz="1400" b="0">
                <a:solidFill>
                  <a:schemeClr val="tx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dirty="0"/>
              <a:t>This is your Secondary text.</a:t>
            </a:r>
          </a:p>
        </p:txBody>
      </p:sp>
      <p:sp>
        <p:nvSpPr>
          <p:cNvPr id="11" name="Picture Placeholder 9">
            <a:extLst>
              <a:ext uri="{FF2B5EF4-FFF2-40B4-BE49-F238E27FC236}">
                <a16:creationId xmlns:a16="http://schemas.microsoft.com/office/drawing/2014/main" id="{B54C5EE8-C42D-B549-B4D4-C0F00D68A42B}"/>
              </a:ext>
            </a:extLst>
          </p:cNvPr>
          <p:cNvSpPr>
            <a:spLocks noGrp="1"/>
          </p:cNvSpPr>
          <p:nvPr>
            <p:ph type="pic" sz="quarter" idx="18" hasCustomPrompt="1"/>
          </p:nvPr>
        </p:nvSpPr>
        <p:spPr>
          <a:xfrm>
            <a:off x="8123708" y="-1378"/>
            <a:ext cx="4076946" cy="6860842"/>
          </a:xfrm>
          <a:custGeom>
            <a:avLst/>
            <a:gdLst>
              <a:gd name="connsiteX0" fmla="*/ 0 w 10888662"/>
              <a:gd name="connsiteY0" fmla="*/ 579722 h 6442075"/>
              <a:gd name="connsiteX1" fmla="*/ 579722 w 10888662"/>
              <a:gd name="connsiteY1" fmla="*/ 0 h 6442075"/>
              <a:gd name="connsiteX2" fmla="*/ 10308940 w 10888662"/>
              <a:gd name="connsiteY2" fmla="*/ 0 h 6442075"/>
              <a:gd name="connsiteX3" fmla="*/ 10888662 w 10888662"/>
              <a:gd name="connsiteY3" fmla="*/ 579722 h 6442075"/>
              <a:gd name="connsiteX4" fmla="*/ 10888662 w 10888662"/>
              <a:gd name="connsiteY4" fmla="*/ 5862353 h 6442075"/>
              <a:gd name="connsiteX5" fmla="*/ 10308940 w 10888662"/>
              <a:gd name="connsiteY5" fmla="*/ 6442075 h 6442075"/>
              <a:gd name="connsiteX6" fmla="*/ 579722 w 10888662"/>
              <a:gd name="connsiteY6" fmla="*/ 6442075 h 6442075"/>
              <a:gd name="connsiteX7" fmla="*/ 0 w 10888662"/>
              <a:gd name="connsiteY7" fmla="*/ 5862353 h 6442075"/>
              <a:gd name="connsiteX8" fmla="*/ 0 w 10888662"/>
              <a:gd name="connsiteY8" fmla="*/ 579722 h 6442075"/>
              <a:gd name="connsiteX0" fmla="*/ 0 w 10888662"/>
              <a:gd name="connsiteY0" fmla="*/ 659657 h 6522010"/>
              <a:gd name="connsiteX1" fmla="*/ 10308940 w 10888662"/>
              <a:gd name="connsiteY1" fmla="*/ 79935 h 6522010"/>
              <a:gd name="connsiteX2" fmla="*/ 10888662 w 10888662"/>
              <a:gd name="connsiteY2" fmla="*/ 659657 h 6522010"/>
              <a:gd name="connsiteX3" fmla="*/ 10888662 w 10888662"/>
              <a:gd name="connsiteY3" fmla="*/ 5942288 h 6522010"/>
              <a:gd name="connsiteX4" fmla="*/ 10308940 w 10888662"/>
              <a:gd name="connsiteY4" fmla="*/ 6522010 h 6522010"/>
              <a:gd name="connsiteX5" fmla="*/ 579722 w 10888662"/>
              <a:gd name="connsiteY5" fmla="*/ 6522010 h 6522010"/>
              <a:gd name="connsiteX6" fmla="*/ 0 w 10888662"/>
              <a:gd name="connsiteY6" fmla="*/ 5942288 h 6522010"/>
              <a:gd name="connsiteX7" fmla="*/ 0 w 10888662"/>
              <a:gd name="connsiteY7" fmla="*/ 659657 h 6522010"/>
              <a:gd name="connsiteX0" fmla="*/ 0 w 10888662"/>
              <a:gd name="connsiteY0" fmla="*/ 579722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579722 h 6442075"/>
              <a:gd name="connsiteX0" fmla="*/ 0 w 10888662"/>
              <a:gd name="connsiteY0" fmla="*/ 129257 h 6569679"/>
              <a:gd name="connsiteX1" fmla="*/ 10308940 w 10888662"/>
              <a:gd name="connsiteY1" fmla="*/ 127604 h 6569679"/>
              <a:gd name="connsiteX2" fmla="*/ 10888662 w 10888662"/>
              <a:gd name="connsiteY2" fmla="*/ 707326 h 6569679"/>
              <a:gd name="connsiteX3" fmla="*/ 10888662 w 10888662"/>
              <a:gd name="connsiteY3" fmla="*/ 5989957 h 6569679"/>
              <a:gd name="connsiteX4" fmla="*/ 10308940 w 10888662"/>
              <a:gd name="connsiteY4" fmla="*/ 6569679 h 6569679"/>
              <a:gd name="connsiteX5" fmla="*/ 579722 w 10888662"/>
              <a:gd name="connsiteY5" fmla="*/ 6569679 h 6569679"/>
              <a:gd name="connsiteX6" fmla="*/ 0 w 10888662"/>
              <a:gd name="connsiteY6" fmla="*/ 5989957 h 6569679"/>
              <a:gd name="connsiteX7" fmla="*/ 0 w 10888662"/>
              <a:gd name="connsiteY7" fmla="*/ 129257 h 6569679"/>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9657299 w 10888662"/>
              <a:gd name="connsiteY4" fmla="*/ 55276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522010"/>
              <a:gd name="connsiteX1" fmla="*/ 10308940 w 10888662"/>
              <a:gd name="connsiteY1" fmla="*/ 0 h 6522010"/>
              <a:gd name="connsiteX2" fmla="*/ 10888662 w 10888662"/>
              <a:gd name="connsiteY2" fmla="*/ 579722 h 6522010"/>
              <a:gd name="connsiteX3" fmla="*/ 10888662 w 10888662"/>
              <a:gd name="connsiteY3" fmla="*/ 5862353 h 6522010"/>
              <a:gd name="connsiteX4" fmla="*/ 579722 w 10888662"/>
              <a:gd name="connsiteY4" fmla="*/ 6442075 h 6522010"/>
              <a:gd name="connsiteX5" fmla="*/ 0 w 10888662"/>
              <a:gd name="connsiteY5" fmla="*/ 5862353 h 6522010"/>
              <a:gd name="connsiteX6" fmla="*/ 0 w 10888662"/>
              <a:gd name="connsiteY6" fmla="*/ 1653 h 6522010"/>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579722 w 10888662"/>
              <a:gd name="connsiteY4" fmla="*/ 6442075 h 6442075"/>
              <a:gd name="connsiteX5" fmla="*/ 0 w 10888662"/>
              <a:gd name="connsiteY5" fmla="*/ 5862353 h 6442075"/>
              <a:gd name="connsiteX6" fmla="*/ 0 w 10888662"/>
              <a:gd name="connsiteY6" fmla="*/ 1653 h 6442075"/>
              <a:gd name="connsiteX0" fmla="*/ 0 w 10888662"/>
              <a:gd name="connsiteY0" fmla="*/ 1653 h 6585432"/>
              <a:gd name="connsiteX1" fmla="*/ 10308940 w 10888662"/>
              <a:gd name="connsiteY1" fmla="*/ 0 h 6585432"/>
              <a:gd name="connsiteX2" fmla="*/ 10888662 w 10888662"/>
              <a:gd name="connsiteY2" fmla="*/ 579722 h 6585432"/>
              <a:gd name="connsiteX3" fmla="*/ 10878151 w 10888662"/>
              <a:gd name="connsiteY3" fmla="*/ 6461442 h 6585432"/>
              <a:gd name="connsiteX4" fmla="*/ 579722 w 10888662"/>
              <a:gd name="connsiteY4" fmla="*/ 6442075 h 6585432"/>
              <a:gd name="connsiteX5" fmla="*/ 0 w 10888662"/>
              <a:gd name="connsiteY5" fmla="*/ 5862353 h 6585432"/>
              <a:gd name="connsiteX6" fmla="*/ 0 w 10888662"/>
              <a:gd name="connsiteY6" fmla="*/ 1653 h 6585432"/>
              <a:gd name="connsiteX0" fmla="*/ 0 w 10888662"/>
              <a:gd name="connsiteY0" fmla="*/ 1653 h 6577502"/>
              <a:gd name="connsiteX1" fmla="*/ 10308940 w 10888662"/>
              <a:gd name="connsiteY1" fmla="*/ 0 h 6577502"/>
              <a:gd name="connsiteX2" fmla="*/ 10888662 w 10888662"/>
              <a:gd name="connsiteY2" fmla="*/ 579722 h 6577502"/>
              <a:gd name="connsiteX3" fmla="*/ 10878151 w 10888662"/>
              <a:gd name="connsiteY3" fmla="*/ 6450932 h 6577502"/>
              <a:gd name="connsiteX4" fmla="*/ 579722 w 10888662"/>
              <a:gd name="connsiteY4" fmla="*/ 6442075 h 6577502"/>
              <a:gd name="connsiteX5" fmla="*/ 0 w 10888662"/>
              <a:gd name="connsiteY5" fmla="*/ 5862353 h 6577502"/>
              <a:gd name="connsiteX6" fmla="*/ 0 w 10888662"/>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0888662"/>
              <a:gd name="connsiteY0" fmla="*/ 1653 h 6450932"/>
              <a:gd name="connsiteX1" fmla="*/ 10308940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0999550"/>
              <a:gd name="connsiteY0" fmla="*/ 1653 h 6450932"/>
              <a:gd name="connsiteX1" fmla="*/ 10844968 w 10999550"/>
              <a:gd name="connsiteY1" fmla="*/ 0 h 6450932"/>
              <a:gd name="connsiteX2" fmla="*/ 10888662 w 10999550"/>
              <a:gd name="connsiteY2" fmla="*/ 579722 h 6450932"/>
              <a:gd name="connsiteX3" fmla="*/ 10878151 w 10999550"/>
              <a:gd name="connsiteY3" fmla="*/ 6450932 h 6450932"/>
              <a:gd name="connsiteX4" fmla="*/ 579722 w 10999550"/>
              <a:gd name="connsiteY4" fmla="*/ 6442075 h 6450932"/>
              <a:gd name="connsiteX5" fmla="*/ 0 w 10999550"/>
              <a:gd name="connsiteY5" fmla="*/ 5862353 h 6450932"/>
              <a:gd name="connsiteX6" fmla="*/ 0 w 10999550"/>
              <a:gd name="connsiteY6" fmla="*/ 1653 h 6450932"/>
              <a:gd name="connsiteX0" fmla="*/ 0 w 11022020"/>
              <a:gd name="connsiteY0" fmla="*/ 1653 h 6450932"/>
              <a:gd name="connsiteX1" fmla="*/ 10876499 w 11022020"/>
              <a:gd name="connsiteY1" fmla="*/ 0 h 6450932"/>
              <a:gd name="connsiteX2" fmla="*/ 10888662 w 11022020"/>
              <a:gd name="connsiteY2" fmla="*/ 579722 h 6450932"/>
              <a:gd name="connsiteX3" fmla="*/ 10878151 w 11022020"/>
              <a:gd name="connsiteY3" fmla="*/ 6450932 h 6450932"/>
              <a:gd name="connsiteX4" fmla="*/ 579722 w 11022020"/>
              <a:gd name="connsiteY4" fmla="*/ 6442075 h 6450932"/>
              <a:gd name="connsiteX5" fmla="*/ 0 w 11022020"/>
              <a:gd name="connsiteY5" fmla="*/ 5862353 h 6450932"/>
              <a:gd name="connsiteX6" fmla="*/ 0 w 11022020"/>
              <a:gd name="connsiteY6" fmla="*/ 1653 h 6450932"/>
              <a:gd name="connsiteX0" fmla="*/ 0 w 10888662"/>
              <a:gd name="connsiteY0" fmla="*/ 1653 h 6450932"/>
              <a:gd name="connsiteX1" fmla="*/ 10876499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2200990"/>
              <a:gd name="connsiteY0" fmla="*/ 1653 h 6450932"/>
              <a:gd name="connsiteX1" fmla="*/ 10876499 w 12200990"/>
              <a:gd name="connsiteY1" fmla="*/ 0 h 6450932"/>
              <a:gd name="connsiteX2" fmla="*/ 10878151 w 12200990"/>
              <a:gd name="connsiteY2" fmla="*/ 6450932 h 6450932"/>
              <a:gd name="connsiteX3" fmla="*/ 579722 w 12200990"/>
              <a:gd name="connsiteY3" fmla="*/ 6442075 h 6450932"/>
              <a:gd name="connsiteX4" fmla="*/ 0 w 12200990"/>
              <a:gd name="connsiteY4" fmla="*/ 5862353 h 6450932"/>
              <a:gd name="connsiteX5" fmla="*/ 0 w 12200990"/>
              <a:gd name="connsiteY5" fmla="*/ 1653 h 6450932"/>
              <a:gd name="connsiteX0" fmla="*/ 0 w 11640630"/>
              <a:gd name="connsiteY0" fmla="*/ 1653 h 6450932"/>
              <a:gd name="connsiteX1" fmla="*/ 10876499 w 11640630"/>
              <a:gd name="connsiteY1" fmla="*/ 0 h 6450932"/>
              <a:gd name="connsiteX2" fmla="*/ 10878151 w 11640630"/>
              <a:gd name="connsiteY2" fmla="*/ 6450932 h 6450932"/>
              <a:gd name="connsiteX3" fmla="*/ 579722 w 11640630"/>
              <a:gd name="connsiteY3" fmla="*/ 6442075 h 6450932"/>
              <a:gd name="connsiteX4" fmla="*/ 0 w 11640630"/>
              <a:gd name="connsiteY4" fmla="*/ 5862353 h 6450932"/>
              <a:gd name="connsiteX5" fmla="*/ 0 w 11640630"/>
              <a:gd name="connsiteY5" fmla="*/ 1653 h 6450932"/>
              <a:gd name="connsiteX0" fmla="*/ 0 w 10878151"/>
              <a:gd name="connsiteY0" fmla="*/ 1653 h 6450932"/>
              <a:gd name="connsiteX1" fmla="*/ 10876499 w 10878151"/>
              <a:gd name="connsiteY1" fmla="*/ 0 h 6450932"/>
              <a:gd name="connsiteX2" fmla="*/ 10878151 w 10878151"/>
              <a:gd name="connsiteY2" fmla="*/ 6450932 h 6450932"/>
              <a:gd name="connsiteX3" fmla="*/ 579722 w 10878151"/>
              <a:gd name="connsiteY3" fmla="*/ 6442075 h 6450932"/>
              <a:gd name="connsiteX4" fmla="*/ 0 w 10878151"/>
              <a:gd name="connsiteY4" fmla="*/ 5862353 h 6450932"/>
              <a:gd name="connsiteX5" fmla="*/ 0 w 10878151"/>
              <a:gd name="connsiteY5" fmla="*/ 1653 h 6450932"/>
              <a:gd name="connsiteX0" fmla="*/ 0 w 11843451"/>
              <a:gd name="connsiteY0" fmla="*/ 1653 h 6450932"/>
              <a:gd name="connsiteX1" fmla="*/ 11843451 w 11843451"/>
              <a:gd name="connsiteY1" fmla="*/ 0 h 6450932"/>
              <a:gd name="connsiteX2" fmla="*/ 10878151 w 11843451"/>
              <a:gd name="connsiteY2" fmla="*/ 6450932 h 6450932"/>
              <a:gd name="connsiteX3" fmla="*/ 579722 w 11843451"/>
              <a:gd name="connsiteY3" fmla="*/ 6442075 h 6450932"/>
              <a:gd name="connsiteX4" fmla="*/ 0 w 11843451"/>
              <a:gd name="connsiteY4" fmla="*/ 5862353 h 6450932"/>
              <a:gd name="connsiteX5" fmla="*/ 0 w 11843451"/>
              <a:gd name="connsiteY5" fmla="*/ 1653 h 6450932"/>
              <a:gd name="connsiteX0" fmla="*/ 0 w 11855613"/>
              <a:gd name="connsiteY0" fmla="*/ 1653 h 6450932"/>
              <a:gd name="connsiteX1" fmla="*/ 11843451 w 11855613"/>
              <a:gd name="connsiteY1" fmla="*/ 0 h 6450932"/>
              <a:gd name="connsiteX2" fmla="*/ 11855613 w 11855613"/>
              <a:gd name="connsiteY2" fmla="*/ 6450932 h 6450932"/>
              <a:gd name="connsiteX3" fmla="*/ 579722 w 11855613"/>
              <a:gd name="connsiteY3" fmla="*/ 6442075 h 6450932"/>
              <a:gd name="connsiteX4" fmla="*/ 0 w 11855613"/>
              <a:gd name="connsiteY4" fmla="*/ 5862353 h 6450932"/>
              <a:gd name="connsiteX5" fmla="*/ 0 w 11855613"/>
              <a:gd name="connsiteY5" fmla="*/ 1653 h 6450932"/>
              <a:gd name="connsiteX0" fmla="*/ 0 w 11864472"/>
              <a:gd name="connsiteY0" fmla="*/ 1653 h 6450932"/>
              <a:gd name="connsiteX1" fmla="*/ 11864472 w 11864472"/>
              <a:gd name="connsiteY1" fmla="*/ 0 h 6450932"/>
              <a:gd name="connsiteX2" fmla="*/ 11855613 w 11864472"/>
              <a:gd name="connsiteY2" fmla="*/ 6450932 h 6450932"/>
              <a:gd name="connsiteX3" fmla="*/ 579722 w 11864472"/>
              <a:gd name="connsiteY3" fmla="*/ 6442075 h 6450932"/>
              <a:gd name="connsiteX4" fmla="*/ 0 w 11864472"/>
              <a:gd name="connsiteY4" fmla="*/ 5862353 h 6450932"/>
              <a:gd name="connsiteX5" fmla="*/ 0 w 11864472"/>
              <a:gd name="connsiteY5" fmla="*/ 1653 h 6450932"/>
              <a:gd name="connsiteX0" fmla="*/ 0 w 11864472"/>
              <a:gd name="connsiteY0" fmla="*/ 1653 h 6442075"/>
              <a:gd name="connsiteX1" fmla="*/ 11864472 w 11864472"/>
              <a:gd name="connsiteY1" fmla="*/ 0 h 6442075"/>
              <a:gd name="connsiteX2" fmla="*/ 11855613 w 11864472"/>
              <a:gd name="connsiteY2" fmla="*/ 6440421 h 6442075"/>
              <a:gd name="connsiteX3" fmla="*/ 579722 w 11864472"/>
              <a:gd name="connsiteY3" fmla="*/ 6442075 h 6442075"/>
              <a:gd name="connsiteX4" fmla="*/ 0 w 11864472"/>
              <a:gd name="connsiteY4" fmla="*/ 5862353 h 6442075"/>
              <a:gd name="connsiteX5" fmla="*/ 0 w 11864472"/>
              <a:gd name="connsiteY5" fmla="*/ 1653 h 6442075"/>
              <a:gd name="connsiteX0" fmla="*/ 0 w 11855613"/>
              <a:gd name="connsiteY0" fmla="*/ 1653 h 6442075"/>
              <a:gd name="connsiteX1" fmla="*/ 8912928 w 11855613"/>
              <a:gd name="connsiteY1" fmla="*/ 0 h 6442075"/>
              <a:gd name="connsiteX2" fmla="*/ 11855613 w 11855613"/>
              <a:gd name="connsiteY2" fmla="*/ 6440421 h 6442075"/>
              <a:gd name="connsiteX3" fmla="*/ 579722 w 11855613"/>
              <a:gd name="connsiteY3" fmla="*/ 6442075 h 6442075"/>
              <a:gd name="connsiteX4" fmla="*/ 0 w 11855613"/>
              <a:gd name="connsiteY4" fmla="*/ 5862353 h 6442075"/>
              <a:gd name="connsiteX5" fmla="*/ 0 w 11855613"/>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74032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36077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1615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15642"/>
              <a:gd name="connsiteY0" fmla="*/ 1653 h 6442075"/>
              <a:gd name="connsiteX1" fmla="*/ 8912928 w 8915642"/>
              <a:gd name="connsiteY1" fmla="*/ 0 h 6442075"/>
              <a:gd name="connsiteX2" fmla="*/ 8915642 w 8915642"/>
              <a:gd name="connsiteY2" fmla="*/ 6440421 h 6442075"/>
              <a:gd name="connsiteX3" fmla="*/ 579722 w 8915642"/>
              <a:gd name="connsiteY3" fmla="*/ 6442075 h 6442075"/>
              <a:gd name="connsiteX4" fmla="*/ 0 w 8915642"/>
              <a:gd name="connsiteY4" fmla="*/ 5862353 h 6442075"/>
              <a:gd name="connsiteX5" fmla="*/ 0 w 8915642"/>
              <a:gd name="connsiteY5" fmla="*/ 1653 h 6442075"/>
              <a:gd name="connsiteX0" fmla="*/ 0 w 8915642"/>
              <a:gd name="connsiteY0" fmla="*/ 1 h 6633463"/>
              <a:gd name="connsiteX1" fmla="*/ 8912928 w 8915642"/>
              <a:gd name="connsiteY1" fmla="*/ 191388 h 6633463"/>
              <a:gd name="connsiteX2" fmla="*/ 8915642 w 8915642"/>
              <a:gd name="connsiteY2" fmla="*/ 6631809 h 6633463"/>
              <a:gd name="connsiteX3" fmla="*/ 579722 w 8915642"/>
              <a:gd name="connsiteY3" fmla="*/ 6633463 h 6633463"/>
              <a:gd name="connsiteX4" fmla="*/ 0 w 8915642"/>
              <a:gd name="connsiteY4" fmla="*/ 6053741 h 6633463"/>
              <a:gd name="connsiteX5" fmla="*/ 0 w 8915642"/>
              <a:gd name="connsiteY5" fmla="*/ 1 h 6633463"/>
              <a:gd name="connsiteX0" fmla="*/ 0 w 8933278"/>
              <a:gd name="connsiteY0" fmla="*/ 1653 h 6635115"/>
              <a:gd name="connsiteX1" fmla="*/ 8933248 w 8933278"/>
              <a:gd name="connsiteY1" fmla="*/ 0 h 6635115"/>
              <a:gd name="connsiteX2" fmla="*/ 8915642 w 8933278"/>
              <a:gd name="connsiteY2" fmla="*/ 6633461 h 6635115"/>
              <a:gd name="connsiteX3" fmla="*/ 579722 w 8933278"/>
              <a:gd name="connsiteY3" fmla="*/ 6635115 h 6635115"/>
              <a:gd name="connsiteX4" fmla="*/ 0 w 8933278"/>
              <a:gd name="connsiteY4" fmla="*/ 6055393 h 6635115"/>
              <a:gd name="connsiteX5" fmla="*/ 0 w 8933278"/>
              <a:gd name="connsiteY5" fmla="*/ 1653 h 6635115"/>
              <a:gd name="connsiteX0" fmla="*/ 0 w 8933323"/>
              <a:gd name="connsiteY0" fmla="*/ 1653 h 6645336"/>
              <a:gd name="connsiteX1" fmla="*/ 8933248 w 8933323"/>
              <a:gd name="connsiteY1" fmla="*/ 0 h 6645336"/>
              <a:gd name="connsiteX2" fmla="*/ 8927517 w 8933323"/>
              <a:gd name="connsiteY2" fmla="*/ 6645336 h 6645336"/>
              <a:gd name="connsiteX3" fmla="*/ 579722 w 8933323"/>
              <a:gd name="connsiteY3" fmla="*/ 6635115 h 6645336"/>
              <a:gd name="connsiteX4" fmla="*/ 0 w 8933323"/>
              <a:gd name="connsiteY4" fmla="*/ 6055393 h 6645336"/>
              <a:gd name="connsiteX5" fmla="*/ 0 w 8933323"/>
              <a:gd name="connsiteY5" fmla="*/ 1653 h 6645336"/>
              <a:gd name="connsiteX0" fmla="*/ 0 w 8927517"/>
              <a:gd name="connsiteY0" fmla="*/ 1653 h 6645336"/>
              <a:gd name="connsiteX1" fmla="*/ 7971347 w 8927517"/>
              <a:gd name="connsiteY1" fmla="*/ 0 h 6645336"/>
              <a:gd name="connsiteX2" fmla="*/ 8927517 w 8927517"/>
              <a:gd name="connsiteY2" fmla="*/ 6645336 h 6645336"/>
              <a:gd name="connsiteX3" fmla="*/ 579722 w 8927517"/>
              <a:gd name="connsiteY3" fmla="*/ 6635115 h 6645336"/>
              <a:gd name="connsiteX4" fmla="*/ 0 w 8927517"/>
              <a:gd name="connsiteY4" fmla="*/ 6055393 h 6645336"/>
              <a:gd name="connsiteX5" fmla="*/ 0 w 8927517"/>
              <a:gd name="connsiteY5" fmla="*/ 1653 h 6645336"/>
              <a:gd name="connsiteX0" fmla="*/ 0 w 7971422"/>
              <a:gd name="connsiteY0" fmla="*/ 1653 h 6645336"/>
              <a:gd name="connsiteX1" fmla="*/ 7971347 w 7971422"/>
              <a:gd name="connsiteY1" fmla="*/ 0 h 6645336"/>
              <a:gd name="connsiteX2" fmla="*/ 7965616 w 7971422"/>
              <a:gd name="connsiteY2" fmla="*/ 6645336 h 6645336"/>
              <a:gd name="connsiteX3" fmla="*/ 579722 w 7971422"/>
              <a:gd name="connsiteY3" fmla="*/ 6635115 h 6645336"/>
              <a:gd name="connsiteX4" fmla="*/ 0 w 7971422"/>
              <a:gd name="connsiteY4" fmla="*/ 6055393 h 6645336"/>
              <a:gd name="connsiteX5" fmla="*/ 0 w 7971422"/>
              <a:gd name="connsiteY5" fmla="*/ 1653 h 6645336"/>
              <a:gd name="connsiteX0" fmla="*/ 0 w 7971422"/>
              <a:gd name="connsiteY0" fmla="*/ 1301816 h 6645336"/>
              <a:gd name="connsiteX1" fmla="*/ 7971347 w 7971422"/>
              <a:gd name="connsiteY1" fmla="*/ 0 h 6645336"/>
              <a:gd name="connsiteX2" fmla="*/ 7965616 w 7971422"/>
              <a:gd name="connsiteY2" fmla="*/ 6645336 h 6645336"/>
              <a:gd name="connsiteX3" fmla="*/ 579722 w 7971422"/>
              <a:gd name="connsiteY3" fmla="*/ 6635115 h 6645336"/>
              <a:gd name="connsiteX4" fmla="*/ 0 w 7971422"/>
              <a:gd name="connsiteY4" fmla="*/ 6055393 h 6645336"/>
              <a:gd name="connsiteX5" fmla="*/ 0 w 7971422"/>
              <a:gd name="connsiteY5" fmla="*/ 1301816 h 6645336"/>
              <a:gd name="connsiteX0" fmla="*/ 0 w 7965616"/>
              <a:gd name="connsiteY0" fmla="*/ 1653 h 5345173"/>
              <a:gd name="connsiteX1" fmla="*/ 7957060 w 7965616"/>
              <a:gd name="connsiteY1" fmla="*/ 0 h 5345173"/>
              <a:gd name="connsiteX2" fmla="*/ 7965616 w 7965616"/>
              <a:gd name="connsiteY2" fmla="*/ 5345173 h 5345173"/>
              <a:gd name="connsiteX3" fmla="*/ 579722 w 7965616"/>
              <a:gd name="connsiteY3" fmla="*/ 5334952 h 5345173"/>
              <a:gd name="connsiteX4" fmla="*/ 0 w 7965616"/>
              <a:gd name="connsiteY4" fmla="*/ 4755230 h 5345173"/>
              <a:gd name="connsiteX5" fmla="*/ 0 w 7965616"/>
              <a:gd name="connsiteY5" fmla="*/ 1653 h 5345173"/>
              <a:gd name="connsiteX0" fmla="*/ 0 w 7971422"/>
              <a:gd name="connsiteY0" fmla="*/ 1653 h 5345173"/>
              <a:gd name="connsiteX1" fmla="*/ 7971347 w 7971422"/>
              <a:gd name="connsiteY1" fmla="*/ 0 h 5345173"/>
              <a:gd name="connsiteX2" fmla="*/ 7965616 w 7971422"/>
              <a:gd name="connsiteY2" fmla="*/ 5345173 h 5345173"/>
              <a:gd name="connsiteX3" fmla="*/ 579722 w 7971422"/>
              <a:gd name="connsiteY3" fmla="*/ 5334952 h 5345173"/>
              <a:gd name="connsiteX4" fmla="*/ 0 w 7971422"/>
              <a:gd name="connsiteY4" fmla="*/ 4755230 h 5345173"/>
              <a:gd name="connsiteX5" fmla="*/ 0 w 7971422"/>
              <a:gd name="connsiteY5" fmla="*/ 1653 h 5345173"/>
              <a:gd name="connsiteX0" fmla="*/ 0 w 7988356"/>
              <a:gd name="connsiteY0" fmla="*/ 187920 h 5345173"/>
              <a:gd name="connsiteX1" fmla="*/ 7988281 w 7988356"/>
              <a:gd name="connsiteY1" fmla="*/ 0 h 5345173"/>
              <a:gd name="connsiteX2" fmla="*/ 7982550 w 7988356"/>
              <a:gd name="connsiteY2" fmla="*/ 5345173 h 5345173"/>
              <a:gd name="connsiteX3" fmla="*/ 596656 w 7988356"/>
              <a:gd name="connsiteY3" fmla="*/ 5334952 h 5345173"/>
              <a:gd name="connsiteX4" fmla="*/ 16934 w 7988356"/>
              <a:gd name="connsiteY4" fmla="*/ 4755230 h 5345173"/>
              <a:gd name="connsiteX5" fmla="*/ 0 w 7988356"/>
              <a:gd name="connsiteY5" fmla="*/ 187920 h 5345173"/>
              <a:gd name="connsiteX0" fmla="*/ 0 w 7988356"/>
              <a:gd name="connsiteY0" fmla="*/ 210145 h 5345173"/>
              <a:gd name="connsiteX1" fmla="*/ 7988281 w 7988356"/>
              <a:gd name="connsiteY1" fmla="*/ 0 h 5345173"/>
              <a:gd name="connsiteX2" fmla="*/ 7982550 w 7988356"/>
              <a:gd name="connsiteY2" fmla="*/ 5345173 h 5345173"/>
              <a:gd name="connsiteX3" fmla="*/ 596656 w 7988356"/>
              <a:gd name="connsiteY3" fmla="*/ 5334952 h 5345173"/>
              <a:gd name="connsiteX4" fmla="*/ 16934 w 7988356"/>
              <a:gd name="connsiteY4" fmla="*/ 4755230 h 5345173"/>
              <a:gd name="connsiteX5" fmla="*/ 0 w 7988356"/>
              <a:gd name="connsiteY5" fmla="*/ 210145 h 5345173"/>
              <a:gd name="connsiteX0" fmla="*/ 0 w 7988356"/>
              <a:gd name="connsiteY0" fmla="*/ 0 h 5135028"/>
              <a:gd name="connsiteX1" fmla="*/ 7988281 w 7988356"/>
              <a:gd name="connsiteY1" fmla="*/ 7569 h 5135028"/>
              <a:gd name="connsiteX2" fmla="*/ 7982550 w 7988356"/>
              <a:gd name="connsiteY2" fmla="*/ 5135028 h 5135028"/>
              <a:gd name="connsiteX3" fmla="*/ 596656 w 7988356"/>
              <a:gd name="connsiteY3" fmla="*/ 5124807 h 5135028"/>
              <a:gd name="connsiteX4" fmla="*/ 16934 w 7988356"/>
              <a:gd name="connsiteY4" fmla="*/ 4545085 h 5135028"/>
              <a:gd name="connsiteX5" fmla="*/ 0 w 7988356"/>
              <a:gd name="connsiteY5" fmla="*/ 0 h 5135028"/>
              <a:gd name="connsiteX0" fmla="*/ 0 w 7982550"/>
              <a:gd name="connsiteY0" fmla="*/ 0 h 5135028"/>
              <a:gd name="connsiteX1" fmla="*/ 6028853 w 7982550"/>
              <a:gd name="connsiteY1" fmla="*/ 7569 h 5135028"/>
              <a:gd name="connsiteX2" fmla="*/ 7982550 w 7982550"/>
              <a:gd name="connsiteY2" fmla="*/ 5135028 h 5135028"/>
              <a:gd name="connsiteX3" fmla="*/ 596656 w 7982550"/>
              <a:gd name="connsiteY3" fmla="*/ 5124807 h 5135028"/>
              <a:gd name="connsiteX4" fmla="*/ 16934 w 7982550"/>
              <a:gd name="connsiteY4" fmla="*/ 4545085 h 5135028"/>
              <a:gd name="connsiteX5" fmla="*/ 0 w 7982550"/>
              <a:gd name="connsiteY5" fmla="*/ 0 h 5135028"/>
              <a:gd name="connsiteX0" fmla="*/ 0 w 6037636"/>
              <a:gd name="connsiteY0" fmla="*/ 0 h 5135028"/>
              <a:gd name="connsiteX1" fmla="*/ 6028853 w 6037636"/>
              <a:gd name="connsiteY1" fmla="*/ 7569 h 5135028"/>
              <a:gd name="connsiteX2" fmla="*/ 6037636 w 6037636"/>
              <a:gd name="connsiteY2" fmla="*/ 5135028 h 5135028"/>
              <a:gd name="connsiteX3" fmla="*/ 596656 w 6037636"/>
              <a:gd name="connsiteY3" fmla="*/ 5124807 h 5135028"/>
              <a:gd name="connsiteX4" fmla="*/ 16934 w 6037636"/>
              <a:gd name="connsiteY4" fmla="*/ 4545085 h 5135028"/>
              <a:gd name="connsiteX5" fmla="*/ 0 w 6037636"/>
              <a:gd name="connsiteY5" fmla="*/ 0 h 5135028"/>
              <a:gd name="connsiteX0" fmla="*/ 0 w 6028853"/>
              <a:gd name="connsiteY0" fmla="*/ 0 h 5124807"/>
              <a:gd name="connsiteX1" fmla="*/ 6028853 w 6028853"/>
              <a:gd name="connsiteY1" fmla="*/ 7569 h 5124807"/>
              <a:gd name="connsiteX2" fmla="*/ 4063693 w 6028853"/>
              <a:gd name="connsiteY2" fmla="*/ 5105999 h 5124807"/>
              <a:gd name="connsiteX3" fmla="*/ 596656 w 6028853"/>
              <a:gd name="connsiteY3" fmla="*/ 5124807 h 5124807"/>
              <a:gd name="connsiteX4" fmla="*/ 16934 w 6028853"/>
              <a:gd name="connsiteY4" fmla="*/ 4545085 h 5124807"/>
              <a:gd name="connsiteX5" fmla="*/ 0 w 6028853"/>
              <a:gd name="connsiteY5" fmla="*/ 0 h 5124807"/>
              <a:gd name="connsiteX0" fmla="*/ 0 w 4069500"/>
              <a:gd name="connsiteY0" fmla="*/ 0 h 5124807"/>
              <a:gd name="connsiteX1" fmla="*/ 4069425 w 4069500"/>
              <a:gd name="connsiteY1" fmla="*/ 7569 h 5124807"/>
              <a:gd name="connsiteX2" fmla="*/ 4063693 w 4069500"/>
              <a:gd name="connsiteY2" fmla="*/ 5105999 h 5124807"/>
              <a:gd name="connsiteX3" fmla="*/ 596656 w 4069500"/>
              <a:gd name="connsiteY3" fmla="*/ 5124807 h 5124807"/>
              <a:gd name="connsiteX4" fmla="*/ 16934 w 4069500"/>
              <a:gd name="connsiteY4" fmla="*/ 4545085 h 5124807"/>
              <a:gd name="connsiteX5" fmla="*/ 0 w 4069500"/>
              <a:gd name="connsiteY5" fmla="*/ 0 h 5124807"/>
              <a:gd name="connsiteX0" fmla="*/ 0 w 4069500"/>
              <a:gd name="connsiteY0" fmla="*/ 6946 h 5131753"/>
              <a:gd name="connsiteX1" fmla="*/ 4069425 w 4069500"/>
              <a:gd name="connsiteY1" fmla="*/ 0 h 5131753"/>
              <a:gd name="connsiteX2" fmla="*/ 4063693 w 4069500"/>
              <a:gd name="connsiteY2" fmla="*/ 5112945 h 5131753"/>
              <a:gd name="connsiteX3" fmla="*/ 596656 w 4069500"/>
              <a:gd name="connsiteY3" fmla="*/ 5131753 h 5131753"/>
              <a:gd name="connsiteX4" fmla="*/ 16934 w 4069500"/>
              <a:gd name="connsiteY4" fmla="*/ 4552031 h 5131753"/>
              <a:gd name="connsiteX5" fmla="*/ 0 w 4069500"/>
              <a:gd name="connsiteY5" fmla="*/ 6946 h 5131753"/>
              <a:gd name="connsiteX0" fmla="*/ 0 w 4082753"/>
              <a:gd name="connsiteY0" fmla="*/ 2 h 6874096"/>
              <a:gd name="connsiteX1" fmla="*/ 4082678 w 4082753"/>
              <a:gd name="connsiteY1" fmla="*/ 1742343 h 6874096"/>
              <a:gd name="connsiteX2" fmla="*/ 4076946 w 4082753"/>
              <a:gd name="connsiteY2" fmla="*/ 6855288 h 6874096"/>
              <a:gd name="connsiteX3" fmla="*/ 609909 w 4082753"/>
              <a:gd name="connsiteY3" fmla="*/ 6874096 h 6874096"/>
              <a:gd name="connsiteX4" fmla="*/ 30187 w 4082753"/>
              <a:gd name="connsiteY4" fmla="*/ 6294374 h 6874096"/>
              <a:gd name="connsiteX5" fmla="*/ 0 w 4082753"/>
              <a:gd name="connsiteY5" fmla="*/ 2 h 6874096"/>
              <a:gd name="connsiteX0" fmla="*/ 0 w 4095958"/>
              <a:gd name="connsiteY0" fmla="*/ 6946 h 6881040"/>
              <a:gd name="connsiteX1" fmla="*/ 4095930 w 4095958"/>
              <a:gd name="connsiteY1" fmla="*/ 0 h 6881040"/>
              <a:gd name="connsiteX2" fmla="*/ 4076946 w 4095958"/>
              <a:gd name="connsiteY2" fmla="*/ 6862232 h 6881040"/>
              <a:gd name="connsiteX3" fmla="*/ 609909 w 4095958"/>
              <a:gd name="connsiteY3" fmla="*/ 6881040 h 6881040"/>
              <a:gd name="connsiteX4" fmla="*/ 30187 w 4095958"/>
              <a:gd name="connsiteY4" fmla="*/ 6301318 h 6881040"/>
              <a:gd name="connsiteX5" fmla="*/ 0 w 4095958"/>
              <a:gd name="connsiteY5" fmla="*/ 6946 h 6881040"/>
              <a:gd name="connsiteX0" fmla="*/ 0 w 4076946"/>
              <a:gd name="connsiteY0" fmla="*/ 0 h 6874094"/>
              <a:gd name="connsiteX1" fmla="*/ 3870643 w 4076946"/>
              <a:gd name="connsiteY1" fmla="*/ 191837 h 6874094"/>
              <a:gd name="connsiteX2" fmla="*/ 4076946 w 4076946"/>
              <a:gd name="connsiteY2" fmla="*/ 6855286 h 6874094"/>
              <a:gd name="connsiteX3" fmla="*/ 609909 w 4076946"/>
              <a:gd name="connsiteY3" fmla="*/ 6874094 h 6874094"/>
              <a:gd name="connsiteX4" fmla="*/ 30187 w 4076946"/>
              <a:gd name="connsiteY4" fmla="*/ 6294372 h 6874094"/>
              <a:gd name="connsiteX5" fmla="*/ 0 w 4076946"/>
              <a:gd name="connsiteY5" fmla="*/ 0 h 6874094"/>
              <a:gd name="connsiteX0" fmla="*/ 0 w 4076946"/>
              <a:gd name="connsiteY0" fmla="*/ 0 h 6874094"/>
              <a:gd name="connsiteX1" fmla="*/ 4069426 w 4076946"/>
              <a:gd name="connsiteY1" fmla="*/ 19559 h 6874094"/>
              <a:gd name="connsiteX2" fmla="*/ 4076946 w 4076946"/>
              <a:gd name="connsiteY2" fmla="*/ 6855286 h 6874094"/>
              <a:gd name="connsiteX3" fmla="*/ 609909 w 4076946"/>
              <a:gd name="connsiteY3" fmla="*/ 6874094 h 6874094"/>
              <a:gd name="connsiteX4" fmla="*/ 30187 w 4076946"/>
              <a:gd name="connsiteY4" fmla="*/ 6294372 h 6874094"/>
              <a:gd name="connsiteX5" fmla="*/ 0 w 4076946"/>
              <a:gd name="connsiteY5" fmla="*/ 0 h 6874094"/>
              <a:gd name="connsiteX0" fmla="*/ 0 w 4076946"/>
              <a:gd name="connsiteY0" fmla="*/ 99710 h 6854535"/>
              <a:gd name="connsiteX1" fmla="*/ 4069426 w 4076946"/>
              <a:gd name="connsiteY1" fmla="*/ 0 h 6854535"/>
              <a:gd name="connsiteX2" fmla="*/ 4076946 w 4076946"/>
              <a:gd name="connsiteY2" fmla="*/ 6835727 h 6854535"/>
              <a:gd name="connsiteX3" fmla="*/ 609909 w 4076946"/>
              <a:gd name="connsiteY3" fmla="*/ 6854535 h 6854535"/>
              <a:gd name="connsiteX4" fmla="*/ 30187 w 4076946"/>
              <a:gd name="connsiteY4" fmla="*/ 6274813 h 6854535"/>
              <a:gd name="connsiteX5" fmla="*/ 0 w 4076946"/>
              <a:gd name="connsiteY5" fmla="*/ 99710 h 6854535"/>
              <a:gd name="connsiteX0" fmla="*/ 0 w 4076946"/>
              <a:gd name="connsiteY0" fmla="*/ 0 h 6860842"/>
              <a:gd name="connsiteX1" fmla="*/ 4069426 w 4076946"/>
              <a:gd name="connsiteY1" fmla="*/ 6307 h 6860842"/>
              <a:gd name="connsiteX2" fmla="*/ 4076946 w 4076946"/>
              <a:gd name="connsiteY2" fmla="*/ 6842034 h 6860842"/>
              <a:gd name="connsiteX3" fmla="*/ 609909 w 4076946"/>
              <a:gd name="connsiteY3" fmla="*/ 6860842 h 6860842"/>
              <a:gd name="connsiteX4" fmla="*/ 30187 w 4076946"/>
              <a:gd name="connsiteY4" fmla="*/ 6281120 h 6860842"/>
              <a:gd name="connsiteX5" fmla="*/ 0 w 4076946"/>
              <a:gd name="connsiteY5" fmla="*/ 0 h 68608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076946" h="6860842">
                <a:moveTo>
                  <a:pt x="0" y="0"/>
                </a:moveTo>
                <a:lnTo>
                  <a:pt x="4069426" y="6307"/>
                </a:lnTo>
                <a:cubicBezTo>
                  <a:pt x="4070331" y="2153114"/>
                  <a:pt x="4076041" y="4695227"/>
                  <a:pt x="4076946" y="6842034"/>
                </a:cubicBezTo>
                <a:lnTo>
                  <a:pt x="609909" y="6860842"/>
                </a:lnTo>
                <a:cubicBezTo>
                  <a:pt x="289737" y="6860842"/>
                  <a:pt x="30187" y="6601292"/>
                  <a:pt x="30187" y="6281120"/>
                </a:cubicBezTo>
                <a:cubicBezTo>
                  <a:pt x="24542" y="4758683"/>
                  <a:pt x="5645" y="1522437"/>
                  <a:pt x="0" y="0"/>
                </a:cubicBezTo>
                <a:close/>
              </a:path>
            </a:pathLst>
          </a:custGeom>
          <a:noFill/>
        </p:spPr>
        <p:txBody>
          <a:bodyPr>
            <a:normAutofit/>
          </a:bodyPr>
          <a:lstStyle>
            <a:lvl1pPr marL="0" indent="0">
              <a:buNone/>
              <a:defRPr sz="1400">
                <a:solidFill>
                  <a:schemeClr val="tx1"/>
                </a:solidFill>
              </a:defRPr>
            </a:lvl1pPr>
          </a:lstStyle>
          <a:p>
            <a:r>
              <a:rPr lang="en-JP" dirty="0"/>
              <a:t>Insert Photo</a:t>
            </a:r>
          </a:p>
        </p:txBody>
      </p:sp>
      <p:sp>
        <p:nvSpPr>
          <p:cNvPr id="17" name="タイトル プレースホルダ 1">
            <a:extLst>
              <a:ext uri="{FF2B5EF4-FFF2-40B4-BE49-F238E27FC236}">
                <a16:creationId xmlns:a16="http://schemas.microsoft.com/office/drawing/2014/main" id="{6FB24DD6-99CB-CE43-A787-C9F60DC95F8F}"/>
              </a:ext>
            </a:extLst>
          </p:cNvPr>
          <p:cNvSpPr>
            <a:spLocks noGrp="1"/>
          </p:cNvSpPr>
          <p:nvPr>
            <p:ph type="title" hasCustomPrompt="1"/>
          </p:nvPr>
        </p:nvSpPr>
        <p:spPr>
          <a:xfrm>
            <a:off x="606079" y="161605"/>
            <a:ext cx="7368878" cy="685801"/>
          </a:xfrm>
          <a:prstGeom prst="rect">
            <a:avLst/>
          </a:prstGeom>
        </p:spPr>
        <p:txBody>
          <a:bodyPr vert="horz" lIns="0" tIns="0" rIns="0" bIns="0" rtlCol="0" anchor="ctr">
            <a:normAutofit/>
          </a:bodyPr>
          <a:lstStyle/>
          <a:p>
            <a:r>
              <a:rPr kumimoji="1" lang="en-US" altLang="ja-JP" dirty="0"/>
              <a:t>Click to add title</a:t>
            </a:r>
            <a:endParaRPr kumimoji="1" lang="ja-JP" altLang="en-US"/>
          </a:p>
        </p:txBody>
      </p:sp>
      <p:sp>
        <p:nvSpPr>
          <p:cNvPr id="18" name="Rectangle 17">
            <a:extLst>
              <a:ext uri="{FF2B5EF4-FFF2-40B4-BE49-F238E27FC236}">
                <a16:creationId xmlns:a16="http://schemas.microsoft.com/office/drawing/2014/main" id="{77130E5B-E573-584B-8C83-F8409492B14B}"/>
              </a:ext>
            </a:extLst>
          </p:cNvPr>
          <p:cNvSpPr/>
          <p:nvPr userDrawn="1"/>
        </p:nvSpPr>
        <p:spPr>
          <a:xfrm>
            <a:off x="308038" y="161606"/>
            <a:ext cx="54000" cy="68580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dirty="0">
              <a:solidFill>
                <a:schemeClr val="accent1"/>
              </a:solidFill>
            </a:endParaRPr>
          </a:p>
        </p:txBody>
      </p:sp>
      <p:sp>
        <p:nvSpPr>
          <p:cNvPr id="21" name="スライド番号プレースホルダ 5">
            <a:extLst>
              <a:ext uri="{FF2B5EF4-FFF2-40B4-BE49-F238E27FC236}">
                <a16:creationId xmlns:a16="http://schemas.microsoft.com/office/drawing/2014/main" id="{C55CC856-2ADD-F44F-96B6-03734457CCF1}"/>
              </a:ext>
            </a:extLst>
          </p:cNvPr>
          <p:cNvSpPr>
            <a:spLocks noGrp="1"/>
          </p:cNvSpPr>
          <p:nvPr>
            <p:ph type="sldNum" sz="quarter" idx="4"/>
          </p:nvPr>
        </p:nvSpPr>
        <p:spPr>
          <a:xfrm>
            <a:off x="311150" y="6523001"/>
            <a:ext cx="294928" cy="196131"/>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a:t>
            </a:fld>
            <a:endParaRPr lang="ja-JP" altLang="en-US"/>
          </a:p>
        </p:txBody>
      </p:sp>
      <p:sp>
        <p:nvSpPr>
          <p:cNvPr id="22" name="Text Placeholder 6">
            <a:extLst>
              <a:ext uri="{FF2B5EF4-FFF2-40B4-BE49-F238E27FC236}">
                <a16:creationId xmlns:a16="http://schemas.microsoft.com/office/drawing/2014/main" id="{DB94AACD-56D4-F146-AFC0-5CBE6630C5AA}"/>
              </a:ext>
            </a:extLst>
          </p:cNvPr>
          <p:cNvSpPr>
            <a:spLocks noGrp="1"/>
          </p:cNvSpPr>
          <p:nvPr>
            <p:ph type="body" sz="quarter" idx="16" hasCustomPrompt="1"/>
          </p:nvPr>
        </p:nvSpPr>
        <p:spPr>
          <a:xfrm>
            <a:off x="606078" y="6523001"/>
            <a:ext cx="6968348" cy="205613"/>
          </a:xfrm>
          <a:prstGeom prst="rect">
            <a:avLst/>
          </a:prstGeom>
        </p:spPr>
        <p:txBody>
          <a:bodyPr wrap="none" tIns="0" rIns="0" bIns="72000" numCol="1" anchor="ctr">
            <a:noAutofit/>
          </a:bodyPr>
          <a:lstStyle>
            <a:lvl1pPr marL="0" indent="0">
              <a:lnSpc>
                <a:spcPts val="1600"/>
              </a:lnSpc>
              <a:spcBef>
                <a:spcPts val="0"/>
              </a:spcBef>
              <a:spcAft>
                <a:spcPts val="600"/>
              </a:spcAft>
              <a:buFont typeface="Arial" panose="020B0604020202020204" pitchFamily="34" charset="0"/>
              <a:buNone/>
              <a:defRPr sz="800" b="0">
                <a:solidFill>
                  <a:schemeClr val="accent3"/>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dirty="0"/>
              <a:t>Private and confidential. For internal use only.</a:t>
            </a:r>
          </a:p>
        </p:txBody>
      </p:sp>
      <p:sp>
        <p:nvSpPr>
          <p:cNvPr id="19" name="Text Placeholder 2">
            <a:extLst>
              <a:ext uri="{FF2B5EF4-FFF2-40B4-BE49-F238E27FC236}">
                <a16:creationId xmlns:a16="http://schemas.microsoft.com/office/drawing/2014/main" id="{73A8AA34-7C7D-A24F-AF24-5158DD2AB0ED}"/>
              </a:ext>
            </a:extLst>
          </p:cNvPr>
          <p:cNvSpPr>
            <a:spLocks noGrp="1"/>
          </p:cNvSpPr>
          <p:nvPr>
            <p:ph type="body" sz="quarter" idx="20" hasCustomPrompt="1"/>
          </p:nvPr>
        </p:nvSpPr>
        <p:spPr>
          <a:xfrm>
            <a:off x="311151" y="1491373"/>
            <a:ext cx="7660042" cy="1464957"/>
          </a:xfrm>
        </p:spPr>
        <p:txBody>
          <a:bodyPr tIns="0" rIns="0" bIns="0" numCol="1" spcCol="126000">
            <a:noAutofit/>
          </a:bodyPr>
          <a:lstStyle>
            <a:lvl1pPr marL="0" indent="0">
              <a:lnSpc>
                <a:spcPct val="100000"/>
              </a:lnSpc>
              <a:spcBef>
                <a:spcPts val="0"/>
              </a:spcBef>
              <a:buNone/>
              <a:defRPr sz="1600" b="1"/>
            </a:lvl1pPr>
            <a:lvl2pPr marL="457068" indent="0">
              <a:buNone/>
              <a:defRPr sz="1800" b="1"/>
            </a:lvl2pPr>
            <a:lvl3pPr marL="914149" indent="0">
              <a:buNone/>
              <a:defRPr sz="1800" b="1"/>
            </a:lvl3pPr>
            <a:lvl4pPr marL="1371219" indent="0">
              <a:buNone/>
              <a:defRPr sz="1800" b="1"/>
            </a:lvl4pPr>
            <a:lvl5pPr marL="1828290" indent="0">
              <a:buNone/>
              <a:defRPr sz="1800" b="1"/>
            </a:lvl5pPr>
          </a:lstStyle>
          <a:p>
            <a:pPr lvl="0"/>
            <a:r>
              <a:rPr lang="en-US" dirty="0"/>
              <a:t>This is your Primary Text.</a:t>
            </a:r>
            <a:endParaRPr lang="en-JP" dirty="0"/>
          </a:p>
        </p:txBody>
      </p:sp>
      <p:sp>
        <p:nvSpPr>
          <p:cNvPr id="20" name="Text Placeholder 6">
            <a:extLst>
              <a:ext uri="{FF2B5EF4-FFF2-40B4-BE49-F238E27FC236}">
                <a16:creationId xmlns:a16="http://schemas.microsoft.com/office/drawing/2014/main" id="{8F4B55CE-CF3E-7E44-A66A-599621CA5C5F}"/>
              </a:ext>
            </a:extLst>
          </p:cNvPr>
          <p:cNvSpPr>
            <a:spLocks noGrp="1"/>
          </p:cNvSpPr>
          <p:nvPr>
            <p:ph type="body" sz="quarter" idx="21" hasCustomPrompt="1"/>
          </p:nvPr>
        </p:nvSpPr>
        <p:spPr>
          <a:xfrm>
            <a:off x="311150" y="1093767"/>
            <a:ext cx="7660042" cy="272786"/>
          </a:xfrm>
        </p:spPr>
        <p:txBody>
          <a:bodyPr tIns="0" rIns="0" bIns="0" numCol="1">
            <a:noAutofit/>
          </a:bodyPr>
          <a:lstStyle>
            <a:lvl1pPr marL="0" indent="0">
              <a:lnSpc>
                <a:spcPct val="100000"/>
              </a:lnSpc>
              <a:spcBef>
                <a:spcPts val="0"/>
              </a:spcBef>
              <a:spcAft>
                <a:spcPts val="600"/>
              </a:spcAft>
              <a:buNone/>
              <a:defRPr sz="20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dirty="0"/>
              <a:t>This is your Primary Title</a:t>
            </a:r>
          </a:p>
        </p:txBody>
      </p:sp>
    </p:spTree>
    <p:extLst>
      <p:ext uri="{BB962C8B-B14F-4D97-AF65-F5344CB8AC3E}">
        <p14:creationId xmlns:p14="http://schemas.microsoft.com/office/powerpoint/2010/main" val="2890663235"/>
      </p:ext>
    </p:extLst>
  </p:cSld>
  <p:clrMapOvr>
    <a:masterClrMapping/>
  </p:clrMapOvr>
  <p:transition spd="slow">
    <p:push dir="u"/>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Advanced Image 4-Column">
    <p:spTree>
      <p:nvGrpSpPr>
        <p:cNvPr id="1" name=""/>
        <p:cNvGrpSpPr/>
        <p:nvPr/>
      </p:nvGrpSpPr>
      <p:grpSpPr>
        <a:xfrm>
          <a:off x="0" y="0"/>
          <a:ext cx="0" cy="0"/>
          <a:chOff x="0" y="0"/>
          <a:chExt cx="0" cy="0"/>
        </a:xfrm>
      </p:grpSpPr>
      <p:sp>
        <p:nvSpPr>
          <p:cNvPr id="22" name="Picture Placeholder 9">
            <a:extLst>
              <a:ext uri="{FF2B5EF4-FFF2-40B4-BE49-F238E27FC236}">
                <a16:creationId xmlns:a16="http://schemas.microsoft.com/office/drawing/2014/main" id="{21DF8897-54F9-C24F-8261-0C5418827A6D}"/>
              </a:ext>
            </a:extLst>
          </p:cNvPr>
          <p:cNvSpPr>
            <a:spLocks noGrp="1"/>
          </p:cNvSpPr>
          <p:nvPr>
            <p:ph type="pic" sz="quarter" idx="10" hasCustomPrompt="1"/>
          </p:nvPr>
        </p:nvSpPr>
        <p:spPr>
          <a:xfrm>
            <a:off x="9110737" y="3076286"/>
            <a:ext cx="2772041" cy="3138969"/>
          </a:xfrm>
          <a:custGeom>
            <a:avLst/>
            <a:gdLst>
              <a:gd name="connsiteX0" fmla="*/ 0 w 10888662"/>
              <a:gd name="connsiteY0" fmla="*/ 579722 h 6442075"/>
              <a:gd name="connsiteX1" fmla="*/ 579722 w 10888662"/>
              <a:gd name="connsiteY1" fmla="*/ 0 h 6442075"/>
              <a:gd name="connsiteX2" fmla="*/ 10308940 w 10888662"/>
              <a:gd name="connsiteY2" fmla="*/ 0 h 6442075"/>
              <a:gd name="connsiteX3" fmla="*/ 10888662 w 10888662"/>
              <a:gd name="connsiteY3" fmla="*/ 579722 h 6442075"/>
              <a:gd name="connsiteX4" fmla="*/ 10888662 w 10888662"/>
              <a:gd name="connsiteY4" fmla="*/ 5862353 h 6442075"/>
              <a:gd name="connsiteX5" fmla="*/ 10308940 w 10888662"/>
              <a:gd name="connsiteY5" fmla="*/ 6442075 h 6442075"/>
              <a:gd name="connsiteX6" fmla="*/ 579722 w 10888662"/>
              <a:gd name="connsiteY6" fmla="*/ 6442075 h 6442075"/>
              <a:gd name="connsiteX7" fmla="*/ 0 w 10888662"/>
              <a:gd name="connsiteY7" fmla="*/ 5862353 h 6442075"/>
              <a:gd name="connsiteX8" fmla="*/ 0 w 10888662"/>
              <a:gd name="connsiteY8" fmla="*/ 579722 h 6442075"/>
              <a:gd name="connsiteX0" fmla="*/ 0 w 10888662"/>
              <a:gd name="connsiteY0" fmla="*/ 659657 h 6522010"/>
              <a:gd name="connsiteX1" fmla="*/ 10308940 w 10888662"/>
              <a:gd name="connsiteY1" fmla="*/ 79935 h 6522010"/>
              <a:gd name="connsiteX2" fmla="*/ 10888662 w 10888662"/>
              <a:gd name="connsiteY2" fmla="*/ 659657 h 6522010"/>
              <a:gd name="connsiteX3" fmla="*/ 10888662 w 10888662"/>
              <a:gd name="connsiteY3" fmla="*/ 5942288 h 6522010"/>
              <a:gd name="connsiteX4" fmla="*/ 10308940 w 10888662"/>
              <a:gd name="connsiteY4" fmla="*/ 6522010 h 6522010"/>
              <a:gd name="connsiteX5" fmla="*/ 579722 w 10888662"/>
              <a:gd name="connsiteY5" fmla="*/ 6522010 h 6522010"/>
              <a:gd name="connsiteX6" fmla="*/ 0 w 10888662"/>
              <a:gd name="connsiteY6" fmla="*/ 5942288 h 6522010"/>
              <a:gd name="connsiteX7" fmla="*/ 0 w 10888662"/>
              <a:gd name="connsiteY7" fmla="*/ 659657 h 6522010"/>
              <a:gd name="connsiteX0" fmla="*/ 0 w 10888662"/>
              <a:gd name="connsiteY0" fmla="*/ 579722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579722 h 6442075"/>
              <a:gd name="connsiteX0" fmla="*/ 0 w 10888662"/>
              <a:gd name="connsiteY0" fmla="*/ 129257 h 6569679"/>
              <a:gd name="connsiteX1" fmla="*/ 10308940 w 10888662"/>
              <a:gd name="connsiteY1" fmla="*/ 127604 h 6569679"/>
              <a:gd name="connsiteX2" fmla="*/ 10888662 w 10888662"/>
              <a:gd name="connsiteY2" fmla="*/ 707326 h 6569679"/>
              <a:gd name="connsiteX3" fmla="*/ 10888662 w 10888662"/>
              <a:gd name="connsiteY3" fmla="*/ 5989957 h 6569679"/>
              <a:gd name="connsiteX4" fmla="*/ 10308940 w 10888662"/>
              <a:gd name="connsiteY4" fmla="*/ 6569679 h 6569679"/>
              <a:gd name="connsiteX5" fmla="*/ 579722 w 10888662"/>
              <a:gd name="connsiteY5" fmla="*/ 6569679 h 6569679"/>
              <a:gd name="connsiteX6" fmla="*/ 0 w 10888662"/>
              <a:gd name="connsiteY6" fmla="*/ 5989957 h 6569679"/>
              <a:gd name="connsiteX7" fmla="*/ 0 w 10888662"/>
              <a:gd name="connsiteY7" fmla="*/ 129257 h 6569679"/>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9657299 w 10888662"/>
              <a:gd name="connsiteY4" fmla="*/ 55276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522010"/>
              <a:gd name="connsiteX1" fmla="*/ 10308940 w 10888662"/>
              <a:gd name="connsiteY1" fmla="*/ 0 h 6522010"/>
              <a:gd name="connsiteX2" fmla="*/ 10888662 w 10888662"/>
              <a:gd name="connsiteY2" fmla="*/ 579722 h 6522010"/>
              <a:gd name="connsiteX3" fmla="*/ 10888662 w 10888662"/>
              <a:gd name="connsiteY3" fmla="*/ 5862353 h 6522010"/>
              <a:gd name="connsiteX4" fmla="*/ 579722 w 10888662"/>
              <a:gd name="connsiteY4" fmla="*/ 6442075 h 6522010"/>
              <a:gd name="connsiteX5" fmla="*/ 0 w 10888662"/>
              <a:gd name="connsiteY5" fmla="*/ 5862353 h 6522010"/>
              <a:gd name="connsiteX6" fmla="*/ 0 w 10888662"/>
              <a:gd name="connsiteY6" fmla="*/ 1653 h 6522010"/>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579722 w 10888662"/>
              <a:gd name="connsiteY4" fmla="*/ 6442075 h 6442075"/>
              <a:gd name="connsiteX5" fmla="*/ 0 w 10888662"/>
              <a:gd name="connsiteY5" fmla="*/ 5862353 h 6442075"/>
              <a:gd name="connsiteX6" fmla="*/ 0 w 10888662"/>
              <a:gd name="connsiteY6" fmla="*/ 1653 h 6442075"/>
              <a:gd name="connsiteX0" fmla="*/ 0 w 10888662"/>
              <a:gd name="connsiteY0" fmla="*/ 1653 h 6585432"/>
              <a:gd name="connsiteX1" fmla="*/ 10308940 w 10888662"/>
              <a:gd name="connsiteY1" fmla="*/ 0 h 6585432"/>
              <a:gd name="connsiteX2" fmla="*/ 10888662 w 10888662"/>
              <a:gd name="connsiteY2" fmla="*/ 579722 h 6585432"/>
              <a:gd name="connsiteX3" fmla="*/ 10878151 w 10888662"/>
              <a:gd name="connsiteY3" fmla="*/ 6461442 h 6585432"/>
              <a:gd name="connsiteX4" fmla="*/ 579722 w 10888662"/>
              <a:gd name="connsiteY4" fmla="*/ 6442075 h 6585432"/>
              <a:gd name="connsiteX5" fmla="*/ 0 w 10888662"/>
              <a:gd name="connsiteY5" fmla="*/ 5862353 h 6585432"/>
              <a:gd name="connsiteX6" fmla="*/ 0 w 10888662"/>
              <a:gd name="connsiteY6" fmla="*/ 1653 h 6585432"/>
              <a:gd name="connsiteX0" fmla="*/ 0 w 10888662"/>
              <a:gd name="connsiteY0" fmla="*/ 1653 h 6577502"/>
              <a:gd name="connsiteX1" fmla="*/ 10308940 w 10888662"/>
              <a:gd name="connsiteY1" fmla="*/ 0 h 6577502"/>
              <a:gd name="connsiteX2" fmla="*/ 10888662 w 10888662"/>
              <a:gd name="connsiteY2" fmla="*/ 579722 h 6577502"/>
              <a:gd name="connsiteX3" fmla="*/ 10878151 w 10888662"/>
              <a:gd name="connsiteY3" fmla="*/ 6450932 h 6577502"/>
              <a:gd name="connsiteX4" fmla="*/ 579722 w 10888662"/>
              <a:gd name="connsiteY4" fmla="*/ 6442075 h 6577502"/>
              <a:gd name="connsiteX5" fmla="*/ 0 w 10888662"/>
              <a:gd name="connsiteY5" fmla="*/ 5862353 h 6577502"/>
              <a:gd name="connsiteX6" fmla="*/ 0 w 10888662"/>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0888662"/>
              <a:gd name="connsiteY0" fmla="*/ 1653 h 6450932"/>
              <a:gd name="connsiteX1" fmla="*/ 10308940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0999550"/>
              <a:gd name="connsiteY0" fmla="*/ 1653 h 6450932"/>
              <a:gd name="connsiteX1" fmla="*/ 10844968 w 10999550"/>
              <a:gd name="connsiteY1" fmla="*/ 0 h 6450932"/>
              <a:gd name="connsiteX2" fmla="*/ 10888662 w 10999550"/>
              <a:gd name="connsiteY2" fmla="*/ 579722 h 6450932"/>
              <a:gd name="connsiteX3" fmla="*/ 10878151 w 10999550"/>
              <a:gd name="connsiteY3" fmla="*/ 6450932 h 6450932"/>
              <a:gd name="connsiteX4" fmla="*/ 579722 w 10999550"/>
              <a:gd name="connsiteY4" fmla="*/ 6442075 h 6450932"/>
              <a:gd name="connsiteX5" fmla="*/ 0 w 10999550"/>
              <a:gd name="connsiteY5" fmla="*/ 5862353 h 6450932"/>
              <a:gd name="connsiteX6" fmla="*/ 0 w 10999550"/>
              <a:gd name="connsiteY6" fmla="*/ 1653 h 6450932"/>
              <a:gd name="connsiteX0" fmla="*/ 0 w 11022020"/>
              <a:gd name="connsiteY0" fmla="*/ 1653 h 6450932"/>
              <a:gd name="connsiteX1" fmla="*/ 10876499 w 11022020"/>
              <a:gd name="connsiteY1" fmla="*/ 0 h 6450932"/>
              <a:gd name="connsiteX2" fmla="*/ 10888662 w 11022020"/>
              <a:gd name="connsiteY2" fmla="*/ 579722 h 6450932"/>
              <a:gd name="connsiteX3" fmla="*/ 10878151 w 11022020"/>
              <a:gd name="connsiteY3" fmla="*/ 6450932 h 6450932"/>
              <a:gd name="connsiteX4" fmla="*/ 579722 w 11022020"/>
              <a:gd name="connsiteY4" fmla="*/ 6442075 h 6450932"/>
              <a:gd name="connsiteX5" fmla="*/ 0 w 11022020"/>
              <a:gd name="connsiteY5" fmla="*/ 5862353 h 6450932"/>
              <a:gd name="connsiteX6" fmla="*/ 0 w 11022020"/>
              <a:gd name="connsiteY6" fmla="*/ 1653 h 6450932"/>
              <a:gd name="connsiteX0" fmla="*/ 0 w 10888662"/>
              <a:gd name="connsiteY0" fmla="*/ 1653 h 6450932"/>
              <a:gd name="connsiteX1" fmla="*/ 10876499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2200990"/>
              <a:gd name="connsiteY0" fmla="*/ 1653 h 6450932"/>
              <a:gd name="connsiteX1" fmla="*/ 10876499 w 12200990"/>
              <a:gd name="connsiteY1" fmla="*/ 0 h 6450932"/>
              <a:gd name="connsiteX2" fmla="*/ 10878151 w 12200990"/>
              <a:gd name="connsiteY2" fmla="*/ 6450932 h 6450932"/>
              <a:gd name="connsiteX3" fmla="*/ 579722 w 12200990"/>
              <a:gd name="connsiteY3" fmla="*/ 6442075 h 6450932"/>
              <a:gd name="connsiteX4" fmla="*/ 0 w 12200990"/>
              <a:gd name="connsiteY4" fmla="*/ 5862353 h 6450932"/>
              <a:gd name="connsiteX5" fmla="*/ 0 w 12200990"/>
              <a:gd name="connsiteY5" fmla="*/ 1653 h 6450932"/>
              <a:gd name="connsiteX0" fmla="*/ 0 w 11640630"/>
              <a:gd name="connsiteY0" fmla="*/ 1653 h 6450932"/>
              <a:gd name="connsiteX1" fmla="*/ 10876499 w 11640630"/>
              <a:gd name="connsiteY1" fmla="*/ 0 h 6450932"/>
              <a:gd name="connsiteX2" fmla="*/ 10878151 w 11640630"/>
              <a:gd name="connsiteY2" fmla="*/ 6450932 h 6450932"/>
              <a:gd name="connsiteX3" fmla="*/ 579722 w 11640630"/>
              <a:gd name="connsiteY3" fmla="*/ 6442075 h 6450932"/>
              <a:gd name="connsiteX4" fmla="*/ 0 w 11640630"/>
              <a:gd name="connsiteY4" fmla="*/ 5862353 h 6450932"/>
              <a:gd name="connsiteX5" fmla="*/ 0 w 11640630"/>
              <a:gd name="connsiteY5" fmla="*/ 1653 h 6450932"/>
              <a:gd name="connsiteX0" fmla="*/ 0 w 10878151"/>
              <a:gd name="connsiteY0" fmla="*/ 1653 h 6450932"/>
              <a:gd name="connsiteX1" fmla="*/ 10876499 w 10878151"/>
              <a:gd name="connsiteY1" fmla="*/ 0 h 6450932"/>
              <a:gd name="connsiteX2" fmla="*/ 10878151 w 10878151"/>
              <a:gd name="connsiteY2" fmla="*/ 6450932 h 6450932"/>
              <a:gd name="connsiteX3" fmla="*/ 579722 w 10878151"/>
              <a:gd name="connsiteY3" fmla="*/ 6442075 h 6450932"/>
              <a:gd name="connsiteX4" fmla="*/ 0 w 10878151"/>
              <a:gd name="connsiteY4" fmla="*/ 5862353 h 6450932"/>
              <a:gd name="connsiteX5" fmla="*/ 0 w 10878151"/>
              <a:gd name="connsiteY5" fmla="*/ 1653 h 6450932"/>
              <a:gd name="connsiteX0" fmla="*/ 0 w 11843451"/>
              <a:gd name="connsiteY0" fmla="*/ 1653 h 6450932"/>
              <a:gd name="connsiteX1" fmla="*/ 11843451 w 11843451"/>
              <a:gd name="connsiteY1" fmla="*/ 0 h 6450932"/>
              <a:gd name="connsiteX2" fmla="*/ 10878151 w 11843451"/>
              <a:gd name="connsiteY2" fmla="*/ 6450932 h 6450932"/>
              <a:gd name="connsiteX3" fmla="*/ 579722 w 11843451"/>
              <a:gd name="connsiteY3" fmla="*/ 6442075 h 6450932"/>
              <a:gd name="connsiteX4" fmla="*/ 0 w 11843451"/>
              <a:gd name="connsiteY4" fmla="*/ 5862353 h 6450932"/>
              <a:gd name="connsiteX5" fmla="*/ 0 w 11843451"/>
              <a:gd name="connsiteY5" fmla="*/ 1653 h 6450932"/>
              <a:gd name="connsiteX0" fmla="*/ 0 w 11855613"/>
              <a:gd name="connsiteY0" fmla="*/ 1653 h 6450932"/>
              <a:gd name="connsiteX1" fmla="*/ 11843451 w 11855613"/>
              <a:gd name="connsiteY1" fmla="*/ 0 h 6450932"/>
              <a:gd name="connsiteX2" fmla="*/ 11855613 w 11855613"/>
              <a:gd name="connsiteY2" fmla="*/ 6450932 h 6450932"/>
              <a:gd name="connsiteX3" fmla="*/ 579722 w 11855613"/>
              <a:gd name="connsiteY3" fmla="*/ 6442075 h 6450932"/>
              <a:gd name="connsiteX4" fmla="*/ 0 w 11855613"/>
              <a:gd name="connsiteY4" fmla="*/ 5862353 h 6450932"/>
              <a:gd name="connsiteX5" fmla="*/ 0 w 11855613"/>
              <a:gd name="connsiteY5" fmla="*/ 1653 h 6450932"/>
              <a:gd name="connsiteX0" fmla="*/ 0 w 11864472"/>
              <a:gd name="connsiteY0" fmla="*/ 1653 h 6450932"/>
              <a:gd name="connsiteX1" fmla="*/ 11864472 w 11864472"/>
              <a:gd name="connsiteY1" fmla="*/ 0 h 6450932"/>
              <a:gd name="connsiteX2" fmla="*/ 11855613 w 11864472"/>
              <a:gd name="connsiteY2" fmla="*/ 6450932 h 6450932"/>
              <a:gd name="connsiteX3" fmla="*/ 579722 w 11864472"/>
              <a:gd name="connsiteY3" fmla="*/ 6442075 h 6450932"/>
              <a:gd name="connsiteX4" fmla="*/ 0 w 11864472"/>
              <a:gd name="connsiteY4" fmla="*/ 5862353 h 6450932"/>
              <a:gd name="connsiteX5" fmla="*/ 0 w 11864472"/>
              <a:gd name="connsiteY5" fmla="*/ 1653 h 6450932"/>
              <a:gd name="connsiteX0" fmla="*/ 0 w 11864472"/>
              <a:gd name="connsiteY0" fmla="*/ 1653 h 6442075"/>
              <a:gd name="connsiteX1" fmla="*/ 11864472 w 11864472"/>
              <a:gd name="connsiteY1" fmla="*/ 0 h 6442075"/>
              <a:gd name="connsiteX2" fmla="*/ 11855613 w 11864472"/>
              <a:gd name="connsiteY2" fmla="*/ 6440421 h 6442075"/>
              <a:gd name="connsiteX3" fmla="*/ 579722 w 11864472"/>
              <a:gd name="connsiteY3" fmla="*/ 6442075 h 6442075"/>
              <a:gd name="connsiteX4" fmla="*/ 0 w 11864472"/>
              <a:gd name="connsiteY4" fmla="*/ 5862353 h 6442075"/>
              <a:gd name="connsiteX5" fmla="*/ 0 w 11864472"/>
              <a:gd name="connsiteY5" fmla="*/ 1653 h 6442075"/>
              <a:gd name="connsiteX0" fmla="*/ 0 w 11855613"/>
              <a:gd name="connsiteY0" fmla="*/ 1653 h 6442075"/>
              <a:gd name="connsiteX1" fmla="*/ 8912928 w 11855613"/>
              <a:gd name="connsiteY1" fmla="*/ 0 h 6442075"/>
              <a:gd name="connsiteX2" fmla="*/ 11855613 w 11855613"/>
              <a:gd name="connsiteY2" fmla="*/ 6440421 h 6442075"/>
              <a:gd name="connsiteX3" fmla="*/ 579722 w 11855613"/>
              <a:gd name="connsiteY3" fmla="*/ 6442075 h 6442075"/>
              <a:gd name="connsiteX4" fmla="*/ 0 w 11855613"/>
              <a:gd name="connsiteY4" fmla="*/ 5862353 h 6442075"/>
              <a:gd name="connsiteX5" fmla="*/ 0 w 11855613"/>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74032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36077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1615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15642"/>
              <a:gd name="connsiteY0" fmla="*/ 1653 h 6442075"/>
              <a:gd name="connsiteX1" fmla="*/ 8912928 w 8915642"/>
              <a:gd name="connsiteY1" fmla="*/ 0 h 6442075"/>
              <a:gd name="connsiteX2" fmla="*/ 8915642 w 8915642"/>
              <a:gd name="connsiteY2" fmla="*/ 6440421 h 6442075"/>
              <a:gd name="connsiteX3" fmla="*/ 579722 w 8915642"/>
              <a:gd name="connsiteY3" fmla="*/ 6442075 h 6442075"/>
              <a:gd name="connsiteX4" fmla="*/ 0 w 8915642"/>
              <a:gd name="connsiteY4" fmla="*/ 5862353 h 6442075"/>
              <a:gd name="connsiteX5" fmla="*/ 0 w 8915642"/>
              <a:gd name="connsiteY5" fmla="*/ 1653 h 6442075"/>
              <a:gd name="connsiteX0" fmla="*/ 0 w 8915642"/>
              <a:gd name="connsiteY0" fmla="*/ 1 h 6618553"/>
              <a:gd name="connsiteX1" fmla="*/ 8912928 w 8915642"/>
              <a:gd name="connsiteY1" fmla="*/ 176478 h 6618553"/>
              <a:gd name="connsiteX2" fmla="*/ 8915642 w 8915642"/>
              <a:gd name="connsiteY2" fmla="*/ 6616899 h 6618553"/>
              <a:gd name="connsiteX3" fmla="*/ 579722 w 8915642"/>
              <a:gd name="connsiteY3" fmla="*/ 6618553 h 6618553"/>
              <a:gd name="connsiteX4" fmla="*/ 0 w 8915642"/>
              <a:gd name="connsiteY4" fmla="*/ 6038831 h 6618553"/>
              <a:gd name="connsiteX5" fmla="*/ 0 w 8915642"/>
              <a:gd name="connsiteY5" fmla="*/ 1 h 6618553"/>
              <a:gd name="connsiteX0" fmla="*/ 0 w 8915642"/>
              <a:gd name="connsiteY0" fmla="*/ 25404 h 6643956"/>
              <a:gd name="connsiteX1" fmla="*/ 6015348 w 8915642"/>
              <a:gd name="connsiteY1" fmla="*/ 0 h 6643956"/>
              <a:gd name="connsiteX2" fmla="*/ 8915642 w 8915642"/>
              <a:gd name="connsiteY2" fmla="*/ 6642302 h 6643956"/>
              <a:gd name="connsiteX3" fmla="*/ 579722 w 8915642"/>
              <a:gd name="connsiteY3" fmla="*/ 6643956 h 6643956"/>
              <a:gd name="connsiteX4" fmla="*/ 0 w 8915642"/>
              <a:gd name="connsiteY4" fmla="*/ 6064234 h 6643956"/>
              <a:gd name="connsiteX5" fmla="*/ 0 w 8915642"/>
              <a:gd name="connsiteY5" fmla="*/ 25404 h 6643956"/>
              <a:gd name="connsiteX0" fmla="*/ 0 w 8915642"/>
              <a:gd name="connsiteY0" fmla="*/ 1653 h 6620205"/>
              <a:gd name="connsiteX1" fmla="*/ 6003473 w 8915642"/>
              <a:gd name="connsiteY1" fmla="*/ 0 h 6620205"/>
              <a:gd name="connsiteX2" fmla="*/ 8915642 w 8915642"/>
              <a:gd name="connsiteY2" fmla="*/ 6618551 h 6620205"/>
              <a:gd name="connsiteX3" fmla="*/ 579722 w 8915642"/>
              <a:gd name="connsiteY3" fmla="*/ 6620205 h 6620205"/>
              <a:gd name="connsiteX4" fmla="*/ 0 w 8915642"/>
              <a:gd name="connsiteY4" fmla="*/ 6040483 h 6620205"/>
              <a:gd name="connsiteX5" fmla="*/ 0 w 8915642"/>
              <a:gd name="connsiteY5" fmla="*/ 1653 h 6620205"/>
              <a:gd name="connsiteX0" fmla="*/ 0 w 8915642"/>
              <a:gd name="connsiteY0" fmla="*/ 96656 h 6620205"/>
              <a:gd name="connsiteX1" fmla="*/ 6003473 w 8915642"/>
              <a:gd name="connsiteY1" fmla="*/ 0 h 6620205"/>
              <a:gd name="connsiteX2" fmla="*/ 8915642 w 8915642"/>
              <a:gd name="connsiteY2" fmla="*/ 6618551 h 6620205"/>
              <a:gd name="connsiteX3" fmla="*/ 579722 w 8915642"/>
              <a:gd name="connsiteY3" fmla="*/ 6620205 h 6620205"/>
              <a:gd name="connsiteX4" fmla="*/ 0 w 8915642"/>
              <a:gd name="connsiteY4" fmla="*/ 6040483 h 6620205"/>
              <a:gd name="connsiteX5" fmla="*/ 0 w 8915642"/>
              <a:gd name="connsiteY5" fmla="*/ 96656 h 6620205"/>
              <a:gd name="connsiteX0" fmla="*/ 0 w 8915642"/>
              <a:gd name="connsiteY0" fmla="*/ 0 h 6642302"/>
              <a:gd name="connsiteX1" fmla="*/ 6003473 w 8915642"/>
              <a:gd name="connsiteY1" fmla="*/ 22097 h 6642302"/>
              <a:gd name="connsiteX2" fmla="*/ 8915642 w 8915642"/>
              <a:gd name="connsiteY2" fmla="*/ 6640648 h 6642302"/>
              <a:gd name="connsiteX3" fmla="*/ 579722 w 8915642"/>
              <a:gd name="connsiteY3" fmla="*/ 6642302 h 6642302"/>
              <a:gd name="connsiteX4" fmla="*/ 0 w 8915642"/>
              <a:gd name="connsiteY4" fmla="*/ 6062580 h 6642302"/>
              <a:gd name="connsiteX5" fmla="*/ 0 w 8915642"/>
              <a:gd name="connsiteY5" fmla="*/ 0 h 6642302"/>
              <a:gd name="connsiteX0" fmla="*/ 0 w 8915642"/>
              <a:gd name="connsiteY0" fmla="*/ 0 h 6642302"/>
              <a:gd name="connsiteX1" fmla="*/ 5932221 w 8915642"/>
              <a:gd name="connsiteY1" fmla="*/ 152725 h 6642302"/>
              <a:gd name="connsiteX2" fmla="*/ 8915642 w 8915642"/>
              <a:gd name="connsiteY2" fmla="*/ 6640648 h 6642302"/>
              <a:gd name="connsiteX3" fmla="*/ 579722 w 8915642"/>
              <a:gd name="connsiteY3" fmla="*/ 6642302 h 6642302"/>
              <a:gd name="connsiteX4" fmla="*/ 0 w 8915642"/>
              <a:gd name="connsiteY4" fmla="*/ 6062580 h 6642302"/>
              <a:gd name="connsiteX5" fmla="*/ 0 w 8915642"/>
              <a:gd name="connsiteY5" fmla="*/ 0 h 6642302"/>
              <a:gd name="connsiteX0" fmla="*/ 0 w 8915642"/>
              <a:gd name="connsiteY0" fmla="*/ 1654 h 6643956"/>
              <a:gd name="connsiteX1" fmla="*/ 6003473 w 8915642"/>
              <a:gd name="connsiteY1" fmla="*/ 0 h 6643956"/>
              <a:gd name="connsiteX2" fmla="*/ 8915642 w 8915642"/>
              <a:gd name="connsiteY2" fmla="*/ 6642302 h 6643956"/>
              <a:gd name="connsiteX3" fmla="*/ 579722 w 8915642"/>
              <a:gd name="connsiteY3" fmla="*/ 6643956 h 6643956"/>
              <a:gd name="connsiteX4" fmla="*/ 0 w 8915642"/>
              <a:gd name="connsiteY4" fmla="*/ 6064234 h 6643956"/>
              <a:gd name="connsiteX5" fmla="*/ 0 w 8915642"/>
              <a:gd name="connsiteY5" fmla="*/ 1654 h 6643956"/>
              <a:gd name="connsiteX0" fmla="*/ 0 w 6018062"/>
              <a:gd name="connsiteY0" fmla="*/ 1654 h 6654178"/>
              <a:gd name="connsiteX1" fmla="*/ 6003473 w 6018062"/>
              <a:gd name="connsiteY1" fmla="*/ 0 h 6654178"/>
              <a:gd name="connsiteX2" fmla="*/ 6018062 w 6018062"/>
              <a:gd name="connsiteY2" fmla="*/ 6654178 h 6654178"/>
              <a:gd name="connsiteX3" fmla="*/ 579722 w 6018062"/>
              <a:gd name="connsiteY3" fmla="*/ 6643956 h 6654178"/>
              <a:gd name="connsiteX4" fmla="*/ 0 w 6018062"/>
              <a:gd name="connsiteY4" fmla="*/ 6064234 h 6654178"/>
              <a:gd name="connsiteX5" fmla="*/ 0 w 6018062"/>
              <a:gd name="connsiteY5" fmla="*/ 1654 h 6654178"/>
              <a:gd name="connsiteX0" fmla="*/ 0 w 6018062"/>
              <a:gd name="connsiteY0" fmla="*/ 203535 h 6654178"/>
              <a:gd name="connsiteX1" fmla="*/ 6003473 w 6018062"/>
              <a:gd name="connsiteY1" fmla="*/ 0 h 6654178"/>
              <a:gd name="connsiteX2" fmla="*/ 6018062 w 6018062"/>
              <a:gd name="connsiteY2" fmla="*/ 6654178 h 6654178"/>
              <a:gd name="connsiteX3" fmla="*/ 579722 w 6018062"/>
              <a:gd name="connsiteY3" fmla="*/ 6643956 h 6654178"/>
              <a:gd name="connsiteX4" fmla="*/ 0 w 6018062"/>
              <a:gd name="connsiteY4" fmla="*/ 6064234 h 6654178"/>
              <a:gd name="connsiteX5" fmla="*/ 0 w 6018062"/>
              <a:gd name="connsiteY5" fmla="*/ 203535 h 6654178"/>
              <a:gd name="connsiteX0" fmla="*/ 0 w 6018062"/>
              <a:gd name="connsiteY0" fmla="*/ 1655 h 6452298"/>
              <a:gd name="connsiteX1" fmla="*/ 4055920 w 6018062"/>
              <a:gd name="connsiteY1" fmla="*/ 0 h 6452298"/>
              <a:gd name="connsiteX2" fmla="*/ 6018062 w 6018062"/>
              <a:gd name="connsiteY2" fmla="*/ 6452298 h 6452298"/>
              <a:gd name="connsiteX3" fmla="*/ 579722 w 6018062"/>
              <a:gd name="connsiteY3" fmla="*/ 6442076 h 6452298"/>
              <a:gd name="connsiteX4" fmla="*/ 0 w 6018062"/>
              <a:gd name="connsiteY4" fmla="*/ 5862354 h 6452298"/>
              <a:gd name="connsiteX5" fmla="*/ 0 w 6018062"/>
              <a:gd name="connsiteY5" fmla="*/ 1655 h 6452298"/>
              <a:gd name="connsiteX0" fmla="*/ 0 w 4055973"/>
              <a:gd name="connsiteY0" fmla="*/ 1655 h 6452298"/>
              <a:gd name="connsiteX1" fmla="*/ 4055920 w 4055973"/>
              <a:gd name="connsiteY1" fmla="*/ 0 h 6452298"/>
              <a:gd name="connsiteX2" fmla="*/ 4046758 w 4055973"/>
              <a:gd name="connsiteY2" fmla="*/ 6452298 h 6452298"/>
              <a:gd name="connsiteX3" fmla="*/ 579722 w 4055973"/>
              <a:gd name="connsiteY3" fmla="*/ 6442076 h 6452298"/>
              <a:gd name="connsiteX4" fmla="*/ 0 w 4055973"/>
              <a:gd name="connsiteY4" fmla="*/ 5862354 h 6452298"/>
              <a:gd name="connsiteX5" fmla="*/ 0 w 4055973"/>
              <a:gd name="connsiteY5" fmla="*/ 1655 h 6452298"/>
              <a:gd name="connsiteX0" fmla="*/ 0 w 4055973"/>
              <a:gd name="connsiteY0" fmla="*/ 0 h 6652523"/>
              <a:gd name="connsiteX1" fmla="*/ 4055920 w 4055973"/>
              <a:gd name="connsiteY1" fmla="*/ 200225 h 6652523"/>
              <a:gd name="connsiteX2" fmla="*/ 4046758 w 4055973"/>
              <a:gd name="connsiteY2" fmla="*/ 6652523 h 6652523"/>
              <a:gd name="connsiteX3" fmla="*/ 579722 w 4055973"/>
              <a:gd name="connsiteY3" fmla="*/ 6642301 h 6652523"/>
              <a:gd name="connsiteX4" fmla="*/ 0 w 4055973"/>
              <a:gd name="connsiteY4" fmla="*/ 6062579 h 6652523"/>
              <a:gd name="connsiteX5" fmla="*/ 0 w 4055973"/>
              <a:gd name="connsiteY5" fmla="*/ 0 h 6652523"/>
              <a:gd name="connsiteX0" fmla="*/ 0 w 4046758"/>
              <a:gd name="connsiteY0" fmla="*/ 0 h 6652523"/>
              <a:gd name="connsiteX1" fmla="*/ 4044045 w 4046758"/>
              <a:gd name="connsiteY1" fmla="*/ 10220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4046758"/>
              <a:gd name="connsiteY0" fmla="*/ 1655 h 6654178"/>
              <a:gd name="connsiteX1" fmla="*/ 3082144 w 4046758"/>
              <a:gd name="connsiteY1" fmla="*/ 0 h 6654178"/>
              <a:gd name="connsiteX2" fmla="*/ 4046758 w 4046758"/>
              <a:gd name="connsiteY2" fmla="*/ 6654178 h 6654178"/>
              <a:gd name="connsiteX3" fmla="*/ 579722 w 4046758"/>
              <a:gd name="connsiteY3" fmla="*/ 6643956 h 6654178"/>
              <a:gd name="connsiteX4" fmla="*/ 0 w 4046758"/>
              <a:gd name="connsiteY4" fmla="*/ 6064234 h 6654178"/>
              <a:gd name="connsiteX5" fmla="*/ 0 w 4046758"/>
              <a:gd name="connsiteY5" fmla="*/ 1655 h 6654178"/>
              <a:gd name="connsiteX0" fmla="*/ 0 w 4046758"/>
              <a:gd name="connsiteY0" fmla="*/ 0 h 6652523"/>
              <a:gd name="connsiteX1" fmla="*/ 2975266 w 4046758"/>
              <a:gd name="connsiteY1" fmla="*/ 93348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4046758"/>
              <a:gd name="connsiteY0" fmla="*/ 0 h 6652523"/>
              <a:gd name="connsiteX1" fmla="*/ 3070268 w 4046758"/>
              <a:gd name="connsiteY1" fmla="*/ 10220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4046758"/>
              <a:gd name="connsiteY0" fmla="*/ 0 h 6652523"/>
              <a:gd name="connsiteX1" fmla="*/ 3082144 w 4046758"/>
              <a:gd name="connsiteY1" fmla="*/ 10220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3082197"/>
              <a:gd name="connsiteY0" fmla="*/ 0 h 6652523"/>
              <a:gd name="connsiteX1" fmla="*/ 3082144 w 3082197"/>
              <a:gd name="connsiteY1" fmla="*/ 10220 h 6652523"/>
              <a:gd name="connsiteX2" fmla="*/ 3072982 w 3082197"/>
              <a:gd name="connsiteY2" fmla="*/ 6652523 h 6652523"/>
              <a:gd name="connsiteX3" fmla="*/ 579722 w 3082197"/>
              <a:gd name="connsiteY3" fmla="*/ 6642301 h 6652523"/>
              <a:gd name="connsiteX4" fmla="*/ 0 w 3082197"/>
              <a:gd name="connsiteY4" fmla="*/ 6062579 h 6652523"/>
              <a:gd name="connsiteX5" fmla="*/ 0 w 3082197"/>
              <a:gd name="connsiteY5" fmla="*/ 0 h 6652523"/>
              <a:gd name="connsiteX0" fmla="*/ 0 w 3072982"/>
              <a:gd name="connsiteY0" fmla="*/ 0 h 6652523"/>
              <a:gd name="connsiteX1" fmla="*/ 3010892 w 3072982"/>
              <a:gd name="connsiteY1" fmla="*/ 164599 h 6652523"/>
              <a:gd name="connsiteX2" fmla="*/ 3072982 w 3072982"/>
              <a:gd name="connsiteY2" fmla="*/ 6652523 h 6652523"/>
              <a:gd name="connsiteX3" fmla="*/ 579722 w 3072982"/>
              <a:gd name="connsiteY3" fmla="*/ 6642301 h 6652523"/>
              <a:gd name="connsiteX4" fmla="*/ 0 w 3072982"/>
              <a:gd name="connsiteY4" fmla="*/ 6062579 h 6652523"/>
              <a:gd name="connsiteX5" fmla="*/ 0 w 3072982"/>
              <a:gd name="connsiteY5" fmla="*/ 0 h 6652523"/>
              <a:gd name="connsiteX0" fmla="*/ 0 w 3082197"/>
              <a:gd name="connsiteY0" fmla="*/ 1656 h 6654179"/>
              <a:gd name="connsiteX1" fmla="*/ 3082144 w 3082197"/>
              <a:gd name="connsiteY1" fmla="*/ 0 h 6654179"/>
              <a:gd name="connsiteX2" fmla="*/ 3072982 w 3082197"/>
              <a:gd name="connsiteY2" fmla="*/ 6654179 h 6654179"/>
              <a:gd name="connsiteX3" fmla="*/ 579722 w 3082197"/>
              <a:gd name="connsiteY3" fmla="*/ 6643957 h 6654179"/>
              <a:gd name="connsiteX4" fmla="*/ 0 w 3082197"/>
              <a:gd name="connsiteY4" fmla="*/ 6064235 h 6654179"/>
              <a:gd name="connsiteX5" fmla="*/ 0 w 3082197"/>
              <a:gd name="connsiteY5" fmla="*/ 1656 h 6654179"/>
              <a:gd name="connsiteX0" fmla="*/ 0 w 3082197"/>
              <a:gd name="connsiteY0" fmla="*/ 1316107 h 6654179"/>
              <a:gd name="connsiteX1" fmla="*/ 3082144 w 3082197"/>
              <a:gd name="connsiteY1" fmla="*/ 0 h 6654179"/>
              <a:gd name="connsiteX2" fmla="*/ 3072982 w 3082197"/>
              <a:gd name="connsiteY2" fmla="*/ 6654179 h 6654179"/>
              <a:gd name="connsiteX3" fmla="*/ 579722 w 3082197"/>
              <a:gd name="connsiteY3" fmla="*/ 6643957 h 6654179"/>
              <a:gd name="connsiteX4" fmla="*/ 0 w 3082197"/>
              <a:gd name="connsiteY4" fmla="*/ 6064235 h 6654179"/>
              <a:gd name="connsiteX5" fmla="*/ 0 w 3082197"/>
              <a:gd name="connsiteY5" fmla="*/ 1316107 h 6654179"/>
              <a:gd name="connsiteX0" fmla="*/ 0 w 3082197"/>
              <a:gd name="connsiteY0" fmla="*/ 1657 h 5339729"/>
              <a:gd name="connsiteX1" fmla="*/ 3082144 w 3082197"/>
              <a:gd name="connsiteY1" fmla="*/ 0 h 5339729"/>
              <a:gd name="connsiteX2" fmla="*/ 3072982 w 3082197"/>
              <a:gd name="connsiteY2" fmla="*/ 5339729 h 5339729"/>
              <a:gd name="connsiteX3" fmla="*/ 579722 w 3082197"/>
              <a:gd name="connsiteY3" fmla="*/ 5329507 h 5339729"/>
              <a:gd name="connsiteX4" fmla="*/ 0 w 3082197"/>
              <a:gd name="connsiteY4" fmla="*/ 4749785 h 5339729"/>
              <a:gd name="connsiteX5" fmla="*/ 0 w 3082197"/>
              <a:gd name="connsiteY5" fmla="*/ 1657 h 5339729"/>
              <a:gd name="connsiteX0" fmla="*/ 0 w 3082197"/>
              <a:gd name="connsiteY0" fmla="*/ 2202416 h 5339729"/>
              <a:gd name="connsiteX1" fmla="*/ 3082144 w 3082197"/>
              <a:gd name="connsiteY1" fmla="*/ 0 h 5339729"/>
              <a:gd name="connsiteX2" fmla="*/ 3072982 w 3082197"/>
              <a:gd name="connsiteY2" fmla="*/ 5339729 h 5339729"/>
              <a:gd name="connsiteX3" fmla="*/ 579722 w 3082197"/>
              <a:gd name="connsiteY3" fmla="*/ 5329507 h 5339729"/>
              <a:gd name="connsiteX4" fmla="*/ 0 w 3082197"/>
              <a:gd name="connsiteY4" fmla="*/ 4749785 h 5339729"/>
              <a:gd name="connsiteX5" fmla="*/ 0 w 3082197"/>
              <a:gd name="connsiteY5" fmla="*/ 2202416 h 5339729"/>
              <a:gd name="connsiteX0" fmla="*/ 0 w 3082197"/>
              <a:gd name="connsiteY0" fmla="*/ 1656 h 3138969"/>
              <a:gd name="connsiteX1" fmla="*/ 3082144 w 3082197"/>
              <a:gd name="connsiteY1" fmla="*/ 0 h 3138969"/>
              <a:gd name="connsiteX2" fmla="*/ 3072982 w 3082197"/>
              <a:gd name="connsiteY2" fmla="*/ 3138969 h 3138969"/>
              <a:gd name="connsiteX3" fmla="*/ 579722 w 3082197"/>
              <a:gd name="connsiteY3" fmla="*/ 3128747 h 3138969"/>
              <a:gd name="connsiteX4" fmla="*/ 0 w 3082197"/>
              <a:gd name="connsiteY4" fmla="*/ 2549025 h 3138969"/>
              <a:gd name="connsiteX5" fmla="*/ 0 w 3082197"/>
              <a:gd name="connsiteY5" fmla="*/ 1656 h 3138969"/>
              <a:gd name="connsiteX0" fmla="*/ 0 w 3082145"/>
              <a:gd name="connsiteY0" fmla="*/ 1656 h 3150544"/>
              <a:gd name="connsiteX1" fmla="*/ 3082144 w 3082145"/>
              <a:gd name="connsiteY1" fmla="*/ 0 h 3150544"/>
              <a:gd name="connsiteX2" fmla="*/ 2772041 w 3082145"/>
              <a:gd name="connsiteY2" fmla="*/ 3150544 h 3150544"/>
              <a:gd name="connsiteX3" fmla="*/ 579722 w 3082145"/>
              <a:gd name="connsiteY3" fmla="*/ 3128747 h 3150544"/>
              <a:gd name="connsiteX4" fmla="*/ 0 w 3082145"/>
              <a:gd name="connsiteY4" fmla="*/ 2549025 h 3150544"/>
              <a:gd name="connsiteX5" fmla="*/ 0 w 3082145"/>
              <a:gd name="connsiteY5" fmla="*/ 1656 h 3150544"/>
              <a:gd name="connsiteX0" fmla="*/ 0 w 2772041"/>
              <a:gd name="connsiteY0" fmla="*/ 1656 h 3150544"/>
              <a:gd name="connsiteX1" fmla="*/ 2769627 w 2772041"/>
              <a:gd name="connsiteY1" fmla="*/ 0 h 3150544"/>
              <a:gd name="connsiteX2" fmla="*/ 2772041 w 2772041"/>
              <a:gd name="connsiteY2" fmla="*/ 3150544 h 3150544"/>
              <a:gd name="connsiteX3" fmla="*/ 579722 w 2772041"/>
              <a:gd name="connsiteY3" fmla="*/ 3128747 h 3150544"/>
              <a:gd name="connsiteX4" fmla="*/ 0 w 2772041"/>
              <a:gd name="connsiteY4" fmla="*/ 2549025 h 3150544"/>
              <a:gd name="connsiteX5" fmla="*/ 0 w 2772041"/>
              <a:gd name="connsiteY5" fmla="*/ 1656 h 3150544"/>
              <a:gd name="connsiteX0" fmla="*/ 0 w 2772041"/>
              <a:gd name="connsiteY0" fmla="*/ 1656 h 3138969"/>
              <a:gd name="connsiteX1" fmla="*/ 2769627 w 2772041"/>
              <a:gd name="connsiteY1" fmla="*/ 0 h 3138969"/>
              <a:gd name="connsiteX2" fmla="*/ 2772041 w 2772041"/>
              <a:gd name="connsiteY2" fmla="*/ 3138969 h 3138969"/>
              <a:gd name="connsiteX3" fmla="*/ 579722 w 2772041"/>
              <a:gd name="connsiteY3" fmla="*/ 3128747 h 3138969"/>
              <a:gd name="connsiteX4" fmla="*/ 0 w 2772041"/>
              <a:gd name="connsiteY4" fmla="*/ 2549025 h 3138969"/>
              <a:gd name="connsiteX5" fmla="*/ 0 w 2772041"/>
              <a:gd name="connsiteY5" fmla="*/ 1656 h 3138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72041" h="3138969">
                <a:moveTo>
                  <a:pt x="0" y="1656"/>
                </a:moveTo>
                <a:lnTo>
                  <a:pt x="2769627" y="0"/>
                </a:lnTo>
                <a:cubicBezTo>
                  <a:pt x="2770532" y="2146807"/>
                  <a:pt x="2771136" y="992162"/>
                  <a:pt x="2772041" y="3138969"/>
                </a:cubicBezTo>
                <a:lnTo>
                  <a:pt x="579722" y="3128747"/>
                </a:lnTo>
                <a:cubicBezTo>
                  <a:pt x="259550" y="3128747"/>
                  <a:pt x="0" y="2869197"/>
                  <a:pt x="0" y="2549025"/>
                </a:cubicBezTo>
                <a:lnTo>
                  <a:pt x="0" y="1656"/>
                </a:lnTo>
                <a:close/>
              </a:path>
            </a:pathLst>
          </a:custGeom>
          <a:noFill/>
        </p:spPr>
        <p:txBody>
          <a:bodyPr>
            <a:normAutofit/>
          </a:bodyPr>
          <a:lstStyle>
            <a:lvl1pPr marL="0" marR="0" indent="0" algn="l" defTabSz="914150" rtl="0" eaLnBrk="1" fontAlgn="auto" latinLnBrk="0" hangingPunct="1">
              <a:lnSpc>
                <a:spcPct val="100000"/>
              </a:lnSpc>
              <a:spcBef>
                <a:spcPct val="20000"/>
              </a:spcBef>
              <a:spcAft>
                <a:spcPts val="0"/>
              </a:spcAft>
              <a:buClr>
                <a:srgbClr val="4C4948"/>
              </a:buClr>
              <a:buSzTx/>
              <a:buFont typeface="Arial" panose="020B0604020202020204" pitchFamily="34" charset="0"/>
              <a:buNone/>
              <a:tabLst/>
              <a:defRPr sz="1400">
                <a:solidFill>
                  <a:schemeClr val="tx1"/>
                </a:solidFill>
              </a:defRPr>
            </a:lvl1pPr>
          </a:lstStyle>
          <a:p>
            <a:pPr marL="0" marR="0" lvl="0" indent="0" algn="l" defTabSz="914150" rtl="0" eaLnBrk="1" fontAlgn="auto" latinLnBrk="0" hangingPunct="1">
              <a:lnSpc>
                <a:spcPct val="100000"/>
              </a:lnSpc>
              <a:spcBef>
                <a:spcPct val="20000"/>
              </a:spcBef>
              <a:spcAft>
                <a:spcPts val="0"/>
              </a:spcAft>
              <a:buClr>
                <a:srgbClr val="4C4948"/>
              </a:buClr>
              <a:buSzTx/>
              <a:buFont typeface="Arial" panose="020B0604020202020204" pitchFamily="34" charset="0"/>
              <a:buNone/>
              <a:tabLst/>
              <a:defRPr/>
            </a:pPr>
            <a:r>
              <a:rPr lang="en-JP" dirty="0"/>
              <a:t>Insert Picture/Text Block</a:t>
            </a:r>
          </a:p>
          <a:p>
            <a:endParaRPr lang="en-JP" dirty="0"/>
          </a:p>
        </p:txBody>
      </p:sp>
      <p:sp>
        <p:nvSpPr>
          <p:cNvPr id="23" name="Picture Placeholder 9">
            <a:extLst>
              <a:ext uri="{FF2B5EF4-FFF2-40B4-BE49-F238E27FC236}">
                <a16:creationId xmlns:a16="http://schemas.microsoft.com/office/drawing/2014/main" id="{8D6B3691-FCAC-8A46-AA30-DEB2A719C7B2}"/>
              </a:ext>
            </a:extLst>
          </p:cNvPr>
          <p:cNvSpPr>
            <a:spLocks noGrp="1"/>
          </p:cNvSpPr>
          <p:nvPr>
            <p:ph type="pic" sz="quarter" idx="18" hasCustomPrompt="1"/>
          </p:nvPr>
        </p:nvSpPr>
        <p:spPr>
          <a:xfrm>
            <a:off x="311373" y="3076286"/>
            <a:ext cx="2772041" cy="3138969"/>
          </a:xfrm>
          <a:custGeom>
            <a:avLst/>
            <a:gdLst>
              <a:gd name="connsiteX0" fmla="*/ 0 w 10888662"/>
              <a:gd name="connsiteY0" fmla="*/ 579722 h 6442075"/>
              <a:gd name="connsiteX1" fmla="*/ 579722 w 10888662"/>
              <a:gd name="connsiteY1" fmla="*/ 0 h 6442075"/>
              <a:gd name="connsiteX2" fmla="*/ 10308940 w 10888662"/>
              <a:gd name="connsiteY2" fmla="*/ 0 h 6442075"/>
              <a:gd name="connsiteX3" fmla="*/ 10888662 w 10888662"/>
              <a:gd name="connsiteY3" fmla="*/ 579722 h 6442075"/>
              <a:gd name="connsiteX4" fmla="*/ 10888662 w 10888662"/>
              <a:gd name="connsiteY4" fmla="*/ 5862353 h 6442075"/>
              <a:gd name="connsiteX5" fmla="*/ 10308940 w 10888662"/>
              <a:gd name="connsiteY5" fmla="*/ 6442075 h 6442075"/>
              <a:gd name="connsiteX6" fmla="*/ 579722 w 10888662"/>
              <a:gd name="connsiteY6" fmla="*/ 6442075 h 6442075"/>
              <a:gd name="connsiteX7" fmla="*/ 0 w 10888662"/>
              <a:gd name="connsiteY7" fmla="*/ 5862353 h 6442075"/>
              <a:gd name="connsiteX8" fmla="*/ 0 w 10888662"/>
              <a:gd name="connsiteY8" fmla="*/ 579722 h 6442075"/>
              <a:gd name="connsiteX0" fmla="*/ 0 w 10888662"/>
              <a:gd name="connsiteY0" fmla="*/ 659657 h 6522010"/>
              <a:gd name="connsiteX1" fmla="*/ 10308940 w 10888662"/>
              <a:gd name="connsiteY1" fmla="*/ 79935 h 6522010"/>
              <a:gd name="connsiteX2" fmla="*/ 10888662 w 10888662"/>
              <a:gd name="connsiteY2" fmla="*/ 659657 h 6522010"/>
              <a:gd name="connsiteX3" fmla="*/ 10888662 w 10888662"/>
              <a:gd name="connsiteY3" fmla="*/ 5942288 h 6522010"/>
              <a:gd name="connsiteX4" fmla="*/ 10308940 w 10888662"/>
              <a:gd name="connsiteY4" fmla="*/ 6522010 h 6522010"/>
              <a:gd name="connsiteX5" fmla="*/ 579722 w 10888662"/>
              <a:gd name="connsiteY5" fmla="*/ 6522010 h 6522010"/>
              <a:gd name="connsiteX6" fmla="*/ 0 w 10888662"/>
              <a:gd name="connsiteY6" fmla="*/ 5942288 h 6522010"/>
              <a:gd name="connsiteX7" fmla="*/ 0 w 10888662"/>
              <a:gd name="connsiteY7" fmla="*/ 659657 h 6522010"/>
              <a:gd name="connsiteX0" fmla="*/ 0 w 10888662"/>
              <a:gd name="connsiteY0" fmla="*/ 579722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579722 h 6442075"/>
              <a:gd name="connsiteX0" fmla="*/ 0 w 10888662"/>
              <a:gd name="connsiteY0" fmla="*/ 129257 h 6569679"/>
              <a:gd name="connsiteX1" fmla="*/ 10308940 w 10888662"/>
              <a:gd name="connsiteY1" fmla="*/ 127604 h 6569679"/>
              <a:gd name="connsiteX2" fmla="*/ 10888662 w 10888662"/>
              <a:gd name="connsiteY2" fmla="*/ 707326 h 6569679"/>
              <a:gd name="connsiteX3" fmla="*/ 10888662 w 10888662"/>
              <a:gd name="connsiteY3" fmla="*/ 5989957 h 6569679"/>
              <a:gd name="connsiteX4" fmla="*/ 10308940 w 10888662"/>
              <a:gd name="connsiteY4" fmla="*/ 6569679 h 6569679"/>
              <a:gd name="connsiteX5" fmla="*/ 579722 w 10888662"/>
              <a:gd name="connsiteY5" fmla="*/ 6569679 h 6569679"/>
              <a:gd name="connsiteX6" fmla="*/ 0 w 10888662"/>
              <a:gd name="connsiteY6" fmla="*/ 5989957 h 6569679"/>
              <a:gd name="connsiteX7" fmla="*/ 0 w 10888662"/>
              <a:gd name="connsiteY7" fmla="*/ 129257 h 6569679"/>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9657299 w 10888662"/>
              <a:gd name="connsiteY4" fmla="*/ 55276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522010"/>
              <a:gd name="connsiteX1" fmla="*/ 10308940 w 10888662"/>
              <a:gd name="connsiteY1" fmla="*/ 0 h 6522010"/>
              <a:gd name="connsiteX2" fmla="*/ 10888662 w 10888662"/>
              <a:gd name="connsiteY2" fmla="*/ 579722 h 6522010"/>
              <a:gd name="connsiteX3" fmla="*/ 10888662 w 10888662"/>
              <a:gd name="connsiteY3" fmla="*/ 5862353 h 6522010"/>
              <a:gd name="connsiteX4" fmla="*/ 579722 w 10888662"/>
              <a:gd name="connsiteY4" fmla="*/ 6442075 h 6522010"/>
              <a:gd name="connsiteX5" fmla="*/ 0 w 10888662"/>
              <a:gd name="connsiteY5" fmla="*/ 5862353 h 6522010"/>
              <a:gd name="connsiteX6" fmla="*/ 0 w 10888662"/>
              <a:gd name="connsiteY6" fmla="*/ 1653 h 6522010"/>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579722 w 10888662"/>
              <a:gd name="connsiteY4" fmla="*/ 6442075 h 6442075"/>
              <a:gd name="connsiteX5" fmla="*/ 0 w 10888662"/>
              <a:gd name="connsiteY5" fmla="*/ 5862353 h 6442075"/>
              <a:gd name="connsiteX6" fmla="*/ 0 w 10888662"/>
              <a:gd name="connsiteY6" fmla="*/ 1653 h 6442075"/>
              <a:gd name="connsiteX0" fmla="*/ 0 w 10888662"/>
              <a:gd name="connsiteY0" fmla="*/ 1653 h 6585432"/>
              <a:gd name="connsiteX1" fmla="*/ 10308940 w 10888662"/>
              <a:gd name="connsiteY1" fmla="*/ 0 h 6585432"/>
              <a:gd name="connsiteX2" fmla="*/ 10888662 w 10888662"/>
              <a:gd name="connsiteY2" fmla="*/ 579722 h 6585432"/>
              <a:gd name="connsiteX3" fmla="*/ 10878151 w 10888662"/>
              <a:gd name="connsiteY3" fmla="*/ 6461442 h 6585432"/>
              <a:gd name="connsiteX4" fmla="*/ 579722 w 10888662"/>
              <a:gd name="connsiteY4" fmla="*/ 6442075 h 6585432"/>
              <a:gd name="connsiteX5" fmla="*/ 0 w 10888662"/>
              <a:gd name="connsiteY5" fmla="*/ 5862353 h 6585432"/>
              <a:gd name="connsiteX6" fmla="*/ 0 w 10888662"/>
              <a:gd name="connsiteY6" fmla="*/ 1653 h 6585432"/>
              <a:gd name="connsiteX0" fmla="*/ 0 w 10888662"/>
              <a:gd name="connsiteY0" fmla="*/ 1653 h 6577502"/>
              <a:gd name="connsiteX1" fmla="*/ 10308940 w 10888662"/>
              <a:gd name="connsiteY1" fmla="*/ 0 h 6577502"/>
              <a:gd name="connsiteX2" fmla="*/ 10888662 w 10888662"/>
              <a:gd name="connsiteY2" fmla="*/ 579722 h 6577502"/>
              <a:gd name="connsiteX3" fmla="*/ 10878151 w 10888662"/>
              <a:gd name="connsiteY3" fmla="*/ 6450932 h 6577502"/>
              <a:gd name="connsiteX4" fmla="*/ 579722 w 10888662"/>
              <a:gd name="connsiteY4" fmla="*/ 6442075 h 6577502"/>
              <a:gd name="connsiteX5" fmla="*/ 0 w 10888662"/>
              <a:gd name="connsiteY5" fmla="*/ 5862353 h 6577502"/>
              <a:gd name="connsiteX6" fmla="*/ 0 w 10888662"/>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0888662"/>
              <a:gd name="connsiteY0" fmla="*/ 1653 h 6450932"/>
              <a:gd name="connsiteX1" fmla="*/ 10308940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0999550"/>
              <a:gd name="connsiteY0" fmla="*/ 1653 h 6450932"/>
              <a:gd name="connsiteX1" fmla="*/ 10844968 w 10999550"/>
              <a:gd name="connsiteY1" fmla="*/ 0 h 6450932"/>
              <a:gd name="connsiteX2" fmla="*/ 10888662 w 10999550"/>
              <a:gd name="connsiteY2" fmla="*/ 579722 h 6450932"/>
              <a:gd name="connsiteX3" fmla="*/ 10878151 w 10999550"/>
              <a:gd name="connsiteY3" fmla="*/ 6450932 h 6450932"/>
              <a:gd name="connsiteX4" fmla="*/ 579722 w 10999550"/>
              <a:gd name="connsiteY4" fmla="*/ 6442075 h 6450932"/>
              <a:gd name="connsiteX5" fmla="*/ 0 w 10999550"/>
              <a:gd name="connsiteY5" fmla="*/ 5862353 h 6450932"/>
              <a:gd name="connsiteX6" fmla="*/ 0 w 10999550"/>
              <a:gd name="connsiteY6" fmla="*/ 1653 h 6450932"/>
              <a:gd name="connsiteX0" fmla="*/ 0 w 11022020"/>
              <a:gd name="connsiteY0" fmla="*/ 1653 h 6450932"/>
              <a:gd name="connsiteX1" fmla="*/ 10876499 w 11022020"/>
              <a:gd name="connsiteY1" fmla="*/ 0 h 6450932"/>
              <a:gd name="connsiteX2" fmla="*/ 10888662 w 11022020"/>
              <a:gd name="connsiteY2" fmla="*/ 579722 h 6450932"/>
              <a:gd name="connsiteX3" fmla="*/ 10878151 w 11022020"/>
              <a:gd name="connsiteY3" fmla="*/ 6450932 h 6450932"/>
              <a:gd name="connsiteX4" fmla="*/ 579722 w 11022020"/>
              <a:gd name="connsiteY4" fmla="*/ 6442075 h 6450932"/>
              <a:gd name="connsiteX5" fmla="*/ 0 w 11022020"/>
              <a:gd name="connsiteY5" fmla="*/ 5862353 h 6450932"/>
              <a:gd name="connsiteX6" fmla="*/ 0 w 11022020"/>
              <a:gd name="connsiteY6" fmla="*/ 1653 h 6450932"/>
              <a:gd name="connsiteX0" fmla="*/ 0 w 10888662"/>
              <a:gd name="connsiteY0" fmla="*/ 1653 h 6450932"/>
              <a:gd name="connsiteX1" fmla="*/ 10876499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2200990"/>
              <a:gd name="connsiteY0" fmla="*/ 1653 h 6450932"/>
              <a:gd name="connsiteX1" fmla="*/ 10876499 w 12200990"/>
              <a:gd name="connsiteY1" fmla="*/ 0 h 6450932"/>
              <a:gd name="connsiteX2" fmla="*/ 10878151 w 12200990"/>
              <a:gd name="connsiteY2" fmla="*/ 6450932 h 6450932"/>
              <a:gd name="connsiteX3" fmla="*/ 579722 w 12200990"/>
              <a:gd name="connsiteY3" fmla="*/ 6442075 h 6450932"/>
              <a:gd name="connsiteX4" fmla="*/ 0 w 12200990"/>
              <a:gd name="connsiteY4" fmla="*/ 5862353 h 6450932"/>
              <a:gd name="connsiteX5" fmla="*/ 0 w 12200990"/>
              <a:gd name="connsiteY5" fmla="*/ 1653 h 6450932"/>
              <a:gd name="connsiteX0" fmla="*/ 0 w 11640630"/>
              <a:gd name="connsiteY0" fmla="*/ 1653 h 6450932"/>
              <a:gd name="connsiteX1" fmla="*/ 10876499 w 11640630"/>
              <a:gd name="connsiteY1" fmla="*/ 0 h 6450932"/>
              <a:gd name="connsiteX2" fmla="*/ 10878151 w 11640630"/>
              <a:gd name="connsiteY2" fmla="*/ 6450932 h 6450932"/>
              <a:gd name="connsiteX3" fmla="*/ 579722 w 11640630"/>
              <a:gd name="connsiteY3" fmla="*/ 6442075 h 6450932"/>
              <a:gd name="connsiteX4" fmla="*/ 0 w 11640630"/>
              <a:gd name="connsiteY4" fmla="*/ 5862353 h 6450932"/>
              <a:gd name="connsiteX5" fmla="*/ 0 w 11640630"/>
              <a:gd name="connsiteY5" fmla="*/ 1653 h 6450932"/>
              <a:gd name="connsiteX0" fmla="*/ 0 w 10878151"/>
              <a:gd name="connsiteY0" fmla="*/ 1653 h 6450932"/>
              <a:gd name="connsiteX1" fmla="*/ 10876499 w 10878151"/>
              <a:gd name="connsiteY1" fmla="*/ 0 h 6450932"/>
              <a:gd name="connsiteX2" fmla="*/ 10878151 w 10878151"/>
              <a:gd name="connsiteY2" fmla="*/ 6450932 h 6450932"/>
              <a:gd name="connsiteX3" fmla="*/ 579722 w 10878151"/>
              <a:gd name="connsiteY3" fmla="*/ 6442075 h 6450932"/>
              <a:gd name="connsiteX4" fmla="*/ 0 w 10878151"/>
              <a:gd name="connsiteY4" fmla="*/ 5862353 h 6450932"/>
              <a:gd name="connsiteX5" fmla="*/ 0 w 10878151"/>
              <a:gd name="connsiteY5" fmla="*/ 1653 h 6450932"/>
              <a:gd name="connsiteX0" fmla="*/ 0 w 11843451"/>
              <a:gd name="connsiteY0" fmla="*/ 1653 h 6450932"/>
              <a:gd name="connsiteX1" fmla="*/ 11843451 w 11843451"/>
              <a:gd name="connsiteY1" fmla="*/ 0 h 6450932"/>
              <a:gd name="connsiteX2" fmla="*/ 10878151 w 11843451"/>
              <a:gd name="connsiteY2" fmla="*/ 6450932 h 6450932"/>
              <a:gd name="connsiteX3" fmla="*/ 579722 w 11843451"/>
              <a:gd name="connsiteY3" fmla="*/ 6442075 h 6450932"/>
              <a:gd name="connsiteX4" fmla="*/ 0 w 11843451"/>
              <a:gd name="connsiteY4" fmla="*/ 5862353 h 6450932"/>
              <a:gd name="connsiteX5" fmla="*/ 0 w 11843451"/>
              <a:gd name="connsiteY5" fmla="*/ 1653 h 6450932"/>
              <a:gd name="connsiteX0" fmla="*/ 0 w 11855613"/>
              <a:gd name="connsiteY0" fmla="*/ 1653 h 6450932"/>
              <a:gd name="connsiteX1" fmla="*/ 11843451 w 11855613"/>
              <a:gd name="connsiteY1" fmla="*/ 0 h 6450932"/>
              <a:gd name="connsiteX2" fmla="*/ 11855613 w 11855613"/>
              <a:gd name="connsiteY2" fmla="*/ 6450932 h 6450932"/>
              <a:gd name="connsiteX3" fmla="*/ 579722 w 11855613"/>
              <a:gd name="connsiteY3" fmla="*/ 6442075 h 6450932"/>
              <a:gd name="connsiteX4" fmla="*/ 0 w 11855613"/>
              <a:gd name="connsiteY4" fmla="*/ 5862353 h 6450932"/>
              <a:gd name="connsiteX5" fmla="*/ 0 w 11855613"/>
              <a:gd name="connsiteY5" fmla="*/ 1653 h 6450932"/>
              <a:gd name="connsiteX0" fmla="*/ 0 w 11864472"/>
              <a:gd name="connsiteY0" fmla="*/ 1653 h 6450932"/>
              <a:gd name="connsiteX1" fmla="*/ 11864472 w 11864472"/>
              <a:gd name="connsiteY1" fmla="*/ 0 h 6450932"/>
              <a:gd name="connsiteX2" fmla="*/ 11855613 w 11864472"/>
              <a:gd name="connsiteY2" fmla="*/ 6450932 h 6450932"/>
              <a:gd name="connsiteX3" fmla="*/ 579722 w 11864472"/>
              <a:gd name="connsiteY3" fmla="*/ 6442075 h 6450932"/>
              <a:gd name="connsiteX4" fmla="*/ 0 w 11864472"/>
              <a:gd name="connsiteY4" fmla="*/ 5862353 h 6450932"/>
              <a:gd name="connsiteX5" fmla="*/ 0 w 11864472"/>
              <a:gd name="connsiteY5" fmla="*/ 1653 h 6450932"/>
              <a:gd name="connsiteX0" fmla="*/ 0 w 11864472"/>
              <a:gd name="connsiteY0" fmla="*/ 1653 h 6442075"/>
              <a:gd name="connsiteX1" fmla="*/ 11864472 w 11864472"/>
              <a:gd name="connsiteY1" fmla="*/ 0 h 6442075"/>
              <a:gd name="connsiteX2" fmla="*/ 11855613 w 11864472"/>
              <a:gd name="connsiteY2" fmla="*/ 6440421 h 6442075"/>
              <a:gd name="connsiteX3" fmla="*/ 579722 w 11864472"/>
              <a:gd name="connsiteY3" fmla="*/ 6442075 h 6442075"/>
              <a:gd name="connsiteX4" fmla="*/ 0 w 11864472"/>
              <a:gd name="connsiteY4" fmla="*/ 5862353 h 6442075"/>
              <a:gd name="connsiteX5" fmla="*/ 0 w 11864472"/>
              <a:gd name="connsiteY5" fmla="*/ 1653 h 6442075"/>
              <a:gd name="connsiteX0" fmla="*/ 0 w 11855613"/>
              <a:gd name="connsiteY0" fmla="*/ 1653 h 6442075"/>
              <a:gd name="connsiteX1" fmla="*/ 8912928 w 11855613"/>
              <a:gd name="connsiteY1" fmla="*/ 0 h 6442075"/>
              <a:gd name="connsiteX2" fmla="*/ 11855613 w 11855613"/>
              <a:gd name="connsiteY2" fmla="*/ 6440421 h 6442075"/>
              <a:gd name="connsiteX3" fmla="*/ 579722 w 11855613"/>
              <a:gd name="connsiteY3" fmla="*/ 6442075 h 6442075"/>
              <a:gd name="connsiteX4" fmla="*/ 0 w 11855613"/>
              <a:gd name="connsiteY4" fmla="*/ 5862353 h 6442075"/>
              <a:gd name="connsiteX5" fmla="*/ 0 w 11855613"/>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74032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36077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1615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15642"/>
              <a:gd name="connsiteY0" fmla="*/ 1653 h 6442075"/>
              <a:gd name="connsiteX1" fmla="*/ 8912928 w 8915642"/>
              <a:gd name="connsiteY1" fmla="*/ 0 h 6442075"/>
              <a:gd name="connsiteX2" fmla="*/ 8915642 w 8915642"/>
              <a:gd name="connsiteY2" fmla="*/ 6440421 h 6442075"/>
              <a:gd name="connsiteX3" fmla="*/ 579722 w 8915642"/>
              <a:gd name="connsiteY3" fmla="*/ 6442075 h 6442075"/>
              <a:gd name="connsiteX4" fmla="*/ 0 w 8915642"/>
              <a:gd name="connsiteY4" fmla="*/ 5862353 h 6442075"/>
              <a:gd name="connsiteX5" fmla="*/ 0 w 8915642"/>
              <a:gd name="connsiteY5" fmla="*/ 1653 h 6442075"/>
              <a:gd name="connsiteX0" fmla="*/ 0 w 8915642"/>
              <a:gd name="connsiteY0" fmla="*/ 1 h 6618553"/>
              <a:gd name="connsiteX1" fmla="*/ 8912928 w 8915642"/>
              <a:gd name="connsiteY1" fmla="*/ 176478 h 6618553"/>
              <a:gd name="connsiteX2" fmla="*/ 8915642 w 8915642"/>
              <a:gd name="connsiteY2" fmla="*/ 6616899 h 6618553"/>
              <a:gd name="connsiteX3" fmla="*/ 579722 w 8915642"/>
              <a:gd name="connsiteY3" fmla="*/ 6618553 h 6618553"/>
              <a:gd name="connsiteX4" fmla="*/ 0 w 8915642"/>
              <a:gd name="connsiteY4" fmla="*/ 6038831 h 6618553"/>
              <a:gd name="connsiteX5" fmla="*/ 0 w 8915642"/>
              <a:gd name="connsiteY5" fmla="*/ 1 h 6618553"/>
              <a:gd name="connsiteX0" fmla="*/ 0 w 8915642"/>
              <a:gd name="connsiteY0" fmla="*/ 25404 h 6643956"/>
              <a:gd name="connsiteX1" fmla="*/ 6015348 w 8915642"/>
              <a:gd name="connsiteY1" fmla="*/ 0 h 6643956"/>
              <a:gd name="connsiteX2" fmla="*/ 8915642 w 8915642"/>
              <a:gd name="connsiteY2" fmla="*/ 6642302 h 6643956"/>
              <a:gd name="connsiteX3" fmla="*/ 579722 w 8915642"/>
              <a:gd name="connsiteY3" fmla="*/ 6643956 h 6643956"/>
              <a:gd name="connsiteX4" fmla="*/ 0 w 8915642"/>
              <a:gd name="connsiteY4" fmla="*/ 6064234 h 6643956"/>
              <a:gd name="connsiteX5" fmla="*/ 0 w 8915642"/>
              <a:gd name="connsiteY5" fmla="*/ 25404 h 6643956"/>
              <a:gd name="connsiteX0" fmla="*/ 0 w 8915642"/>
              <a:gd name="connsiteY0" fmla="*/ 1653 h 6620205"/>
              <a:gd name="connsiteX1" fmla="*/ 6003473 w 8915642"/>
              <a:gd name="connsiteY1" fmla="*/ 0 h 6620205"/>
              <a:gd name="connsiteX2" fmla="*/ 8915642 w 8915642"/>
              <a:gd name="connsiteY2" fmla="*/ 6618551 h 6620205"/>
              <a:gd name="connsiteX3" fmla="*/ 579722 w 8915642"/>
              <a:gd name="connsiteY3" fmla="*/ 6620205 h 6620205"/>
              <a:gd name="connsiteX4" fmla="*/ 0 w 8915642"/>
              <a:gd name="connsiteY4" fmla="*/ 6040483 h 6620205"/>
              <a:gd name="connsiteX5" fmla="*/ 0 w 8915642"/>
              <a:gd name="connsiteY5" fmla="*/ 1653 h 6620205"/>
              <a:gd name="connsiteX0" fmla="*/ 0 w 8915642"/>
              <a:gd name="connsiteY0" fmla="*/ 96656 h 6620205"/>
              <a:gd name="connsiteX1" fmla="*/ 6003473 w 8915642"/>
              <a:gd name="connsiteY1" fmla="*/ 0 h 6620205"/>
              <a:gd name="connsiteX2" fmla="*/ 8915642 w 8915642"/>
              <a:gd name="connsiteY2" fmla="*/ 6618551 h 6620205"/>
              <a:gd name="connsiteX3" fmla="*/ 579722 w 8915642"/>
              <a:gd name="connsiteY3" fmla="*/ 6620205 h 6620205"/>
              <a:gd name="connsiteX4" fmla="*/ 0 w 8915642"/>
              <a:gd name="connsiteY4" fmla="*/ 6040483 h 6620205"/>
              <a:gd name="connsiteX5" fmla="*/ 0 w 8915642"/>
              <a:gd name="connsiteY5" fmla="*/ 96656 h 6620205"/>
              <a:gd name="connsiteX0" fmla="*/ 0 w 8915642"/>
              <a:gd name="connsiteY0" fmla="*/ 0 h 6642302"/>
              <a:gd name="connsiteX1" fmla="*/ 6003473 w 8915642"/>
              <a:gd name="connsiteY1" fmla="*/ 22097 h 6642302"/>
              <a:gd name="connsiteX2" fmla="*/ 8915642 w 8915642"/>
              <a:gd name="connsiteY2" fmla="*/ 6640648 h 6642302"/>
              <a:gd name="connsiteX3" fmla="*/ 579722 w 8915642"/>
              <a:gd name="connsiteY3" fmla="*/ 6642302 h 6642302"/>
              <a:gd name="connsiteX4" fmla="*/ 0 w 8915642"/>
              <a:gd name="connsiteY4" fmla="*/ 6062580 h 6642302"/>
              <a:gd name="connsiteX5" fmla="*/ 0 w 8915642"/>
              <a:gd name="connsiteY5" fmla="*/ 0 h 6642302"/>
              <a:gd name="connsiteX0" fmla="*/ 0 w 8915642"/>
              <a:gd name="connsiteY0" fmla="*/ 0 h 6642302"/>
              <a:gd name="connsiteX1" fmla="*/ 5932221 w 8915642"/>
              <a:gd name="connsiteY1" fmla="*/ 152725 h 6642302"/>
              <a:gd name="connsiteX2" fmla="*/ 8915642 w 8915642"/>
              <a:gd name="connsiteY2" fmla="*/ 6640648 h 6642302"/>
              <a:gd name="connsiteX3" fmla="*/ 579722 w 8915642"/>
              <a:gd name="connsiteY3" fmla="*/ 6642302 h 6642302"/>
              <a:gd name="connsiteX4" fmla="*/ 0 w 8915642"/>
              <a:gd name="connsiteY4" fmla="*/ 6062580 h 6642302"/>
              <a:gd name="connsiteX5" fmla="*/ 0 w 8915642"/>
              <a:gd name="connsiteY5" fmla="*/ 0 h 6642302"/>
              <a:gd name="connsiteX0" fmla="*/ 0 w 8915642"/>
              <a:gd name="connsiteY0" fmla="*/ 1654 h 6643956"/>
              <a:gd name="connsiteX1" fmla="*/ 6003473 w 8915642"/>
              <a:gd name="connsiteY1" fmla="*/ 0 h 6643956"/>
              <a:gd name="connsiteX2" fmla="*/ 8915642 w 8915642"/>
              <a:gd name="connsiteY2" fmla="*/ 6642302 h 6643956"/>
              <a:gd name="connsiteX3" fmla="*/ 579722 w 8915642"/>
              <a:gd name="connsiteY3" fmla="*/ 6643956 h 6643956"/>
              <a:gd name="connsiteX4" fmla="*/ 0 w 8915642"/>
              <a:gd name="connsiteY4" fmla="*/ 6064234 h 6643956"/>
              <a:gd name="connsiteX5" fmla="*/ 0 w 8915642"/>
              <a:gd name="connsiteY5" fmla="*/ 1654 h 6643956"/>
              <a:gd name="connsiteX0" fmla="*/ 0 w 6018062"/>
              <a:gd name="connsiteY0" fmla="*/ 1654 h 6654178"/>
              <a:gd name="connsiteX1" fmla="*/ 6003473 w 6018062"/>
              <a:gd name="connsiteY1" fmla="*/ 0 h 6654178"/>
              <a:gd name="connsiteX2" fmla="*/ 6018062 w 6018062"/>
              <a:gd name="connsiteY2" fmla="*/ 6654178 h 6654178"/>
              <a:gd name="connsiteX3" fmla="*/ 579722 w 6018062"/>
              <a:gd name="connsiteY3" fmla="*/ 6643956 h 6654178"/>
              <a:gd name="connsiteX4" fmla="*/ 0 w 6018062"/>
              <a:gd name="connsiteY4" fmla="*/ 6064234 h 6654178"/>
              <a:gd name="connsiteX5" fmla="*/ 0 w 6018062"/>
              <a:gd name="connsiteY5" fmla="*/ 1654 h 6654178"/>
              <a:gd name="connsiteX0" fmla="*/ 0 w 6018062"/>
              <a:gd name="connsiteY0" fmla="*/ 203535 h 6654178"/>
              <a:gd name="connsiteX1" fmla="*/ 6003473 w 6018062"/>
              <a:gd name="connsiteY1" fmla="*/ 0 h 6654178"/>
              <a:gd name="connsiteX2" fmla="*/ 6018062 w 6018062"/>
              <a:gd name="connsiteY2" fmla="*/ 6654178 h 6654178"/>
              <a:gd name="connsiteX3" fmla="*/ 579722 w 6018062"/>
              <a:gd name="connsiteY3" fmla="*/ 6643956 h 6654178"/>
              <a:gd name="connsiteX4" fmla="*/ 0 w 6018062"/>
              <a:gd name="connsiteY4" fmla="*/ 6064234 h 6654178"/>
              <a:gd name="connsiteX5" fmla="*/ 0 w 6018062"/>
              <a:gd name="connsiteY5" fmla="*/ 203535 h 6654178"/>
              <a:gd name="connsiteX0" fmla="*/ 0 w 6018062"/>
              <a:gd name="connsiteY0" fmla="*/ 1655 h 6452298"/>
              <a:gd name="connsiteX1" fmla="*/ 4055920 w 6018062"/>
              <a:gd name="connsiteY1" fmla="*/ 0 h 6452298"/>
              <a:gd name="connsiteX2" fmla="*/ 6018062 w 6018062"/>
              <a:gd name="connsiteY2" fmla="*/ 6452298 h 6452298"/>
              <a:gd name="connsiteX3" fmla="*/ 579722 w 6018062"/>
              <a:gd name="connsiteY3" fmla="*/ 6442076 h 6452298"/>
              <a:gd name="connsiteX4" fmla="*/ 0 w 6018062"/>
              <a:gd name="connsiteY4" fmla="*/ 5862354 h 6452298"/>
              <a:gd name="connsiteX5" fmla="*/ 0 w 6018062"/>
              <a:gd name="connsiteY5" fmla="*/ 1655 h 6452298"/>
              <a:gd name="connsiteX0" fmla="*/ 0 w 4055973"/>
              <a:gd name="connsiteY0" fmla="*/ 1655 h 6452298"/>
              <a:gd name="connsiteX1" fmla="*/ 4055920 w 4055973"/>
              <a:gd name="connsiteY1" fmla="*/ 0 h 6452298"/>
              <a:gd name="connsiteX2" fmla="*/ 4046758 w 4055973"/>
              <a:gd name="connsiteY2" fmla="*/ 6452298 h 6452298"/>
              <a:gd name="connsiteX3" fmla="*/ 579722 w 4055973"/>
              <a:gd name="connsiteY3" fmla="*/ 6442076 h 6452298"/>
              <a:gd name="connsiteX4" fmla="*/ 0 w 4055973"/>
              <a:gd name="connsiteY4" fmla="*/ 5862354 h 6452298"/>
              <a:gd name="connsiteX5" fmla="*/ 0 w 4055973"/>
              <a:gd name="connsiteY5" fmla="*/ 1655 h 6452298"/>
              <a:gd name="connsiteX0" fmla="*/ 0 w 4055973"/>
              <a:gd name="connsiteY0" fmla="*/ 0 h 6652523"/>
              <a:gd name="connsiteX1" fmla="*/ 4055920 w 4055973"/>
              <a:gd name="connsiteY1" fmla="*/ 200225 h 6652523"/>
              <a:gd name="connsiteX2" fmla="*/ 4046758 w 4055973"/>
              <a:gd name="connsiteY2" fmla="*/ 6652523 h 6652523"/>
              <a:gd name="connsiteX3" fmla="*/ 579722 w 4055973"/>
              <a:gd name="connsiteY3" fmla="*/ 6642301 h 6652523"/>
              <a:gd name="connsiteX4" fmla="*/ 0 w 4055973"/>
              <a:gd name="connsiteY4" fmla="*/ 6062579 h 6652523"/>
              <a:gd name="connsiteX5" fmla="*/ 0 w 4055973"/>
              <a:gd name="connsiteY5" fmla="*/ 0 h 6652523"/>
              <a:gd name="connsiteX0" fmla="*/ 0 w 4046758"/>
              <a:gd name="connsiteY0" fmla="*/ 0 h 6652523"/>
              <a:gd name="connsiteX1" fmla="*/ 4044045 w 4046758"/>
              <a:gd name="connsiteY1" fmla="*/ 10220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4046758"/>
              <a:gd name="connsiteY0" fmla="*/ 1655 h 6654178"/>
              <a:gd name="connsiteX1" fmla="*/ 3082144 w 4046758"/>
              <a:gd name="connsiteY1" fmla="*/ 0 h 6654178"/>
              <a:gd name="connsiteX2" fmla="*/ 4046758 w 4046758"/>
              <a:gd name="connsiteY2" fmla="*/ 6654178 h 6654178"/>
              <a:gd name="connsiteX3" fmla="*/ 579722 w 4046758"/>
              <a:gd name="connsiteY3" fmla="*/ 6643956 h 6654178"/>
              <a:gd name="connsiteX4" fmla="*/ 0 w 4046758"/>
              <a:gd name="connsiteY4" fmla="*/ 6064234 h 6654178"/>
              <a:gd name="connsiteX5" fmla="*/ 0 w 4046758"/>
              <a:gd name="connsiteY5" fmla="*/ 1655 h 6654178"/>
              <a:gd name="connsiteX0" fmla="*/ 0 w 4046758"/>
              <a:gd name="connsiteY0" fmla="*/ 0 h 6652523"/>
              <a:gd name="connsiteX1" fmla="*/ 2975266 w 4046758"/>
              <a:gd name="connsiteY1" fmla="*/ 93348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4046758"/>
              <a:gd name="connsiteY0" fmla="*/ 0 h 6652523"/>
              <a:gd name="connsiteX1" fmla="*/ 3070268 w 4046758"/>
              <a:gd name="connsiteY1" fmla="*/ 10220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4046758"/>
              <a:gd name="connsiteY0" fmla="*/ 0 h 6652523"/>
              <a:gd name="connsiteX1" fmla="*/ 3082144 w 4046758"/>
              <a:gd name="connsiteY1" fmla="*/ 10220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3082197"/>
              <a:gd name="connsiteY0" fmla="*/ 0 h 6652523"/>
              <a:gd name="connsiteX1" fmla="*/ 3082144 w 3082197"/>
              <a:gd name="connsiteY1" fmla="*/ 10220 h 6652523"/>
              <a:gd name="connsiteX2" fmla="*/ 3072982 w 3082197"/>
              <a:gd name="connsiteY2" fmla="*/ 6652523 h 6652523"/>
              <a:gd name="connsiteX3" fmla="*/ 579722 w 3082197"/>
              <a:gd name="connsiteY3" fmla="*/ 6642301 h 6652523"/>
              <a:gd name="connsiteX4" fmla="*/ 0 w 3082197"/>
              <a:gd name="connsiteY4" fmla="*/ 6062579 h 6652523"/>
              <a:gd name="connsiteX5" fmla="*/ 0 w 3082197"/>
              <a:gd name="connsiteY5" fmla="*/ 0 h 6652523"/>
              <a:gd name="connsiteX0" fmla="*/ 0 w 3072982"/>
              <a:gd name="connsiteY0" fmla="*/ 0 h 6652523"/>
              <a:gd name="connsiteX1" fmla="*/ 3010892 w 3072982"/>
              <a:gd name="connsiteY1" fmla="*/ 164599 h 6652523"/>
              <a:gd name="connsiteX2" fmla="*/ 3072982 w 3072982"/>
              <a:gd name="connsiteY2" fmla="*/ 6652523 h 6652523"/>
              <a:gd name="connsiteX3" fmla="*/ 579722 w 3072982"/>
              <a:gd name="connsiteY3" fmla="*/ 6642301 h 6652523"/>
              <a:gd name="connsiteX4" fmla="*/ 0 w 3072982"/>
              <a:gd name="connsiteY4" fmla="*/ 6062579 h 6652523"/>
              <a:gd name="connsiteX5" fmla="*/ 0 w 3072982"/>
              <a:gd name="connsiteY5" fmla="*/ 0 h 6652523"/>
              <a:gd name="connsiteX0" fmla="*/ 0 w 3082197"/>
              <a:gd name="connsiteY0" fmla="*/ 1656 h 6654179"/>
              <a:gd name="connsiteX1" fmla="*/ 3082144 w 3082197"/>
              <a:gd name="connsiteY1" fmla="*/ 0 h 6654179"/>
              <a:gd name="connsiteX2" fmla="*/ 3072982 w 3082197"/>
              <a:gd name="connsiteY2" fmla="*/ 6654179 h 6654179"/>
              <a:gd name="connsiteX3" fmla="*/ 579722 w 3082197"/>
              <a:gd name="connsiteY3" fmla="*/ 6643957 h 6654179"/>
              <a:gd name="connsiteX4" fmla="*/ 0 w 3082197"/>
              <a:gd name="connsiteY4" fmla="*/ 6064235 h 6654179"/>
              <a:gd name="connsiteX5" fmla="*/ 0 w 3082197"/>
              <a:gd name="connsiteY5" fmla="*/ 1656 h 6654179"/>
              <a:gd name="connsiteX0" fmla="*/ 0 w 3082197"/>
              <a:gd name="connsiteY0" fmla="*/ 1316107 h 6654179"/>
              <a:gd name="connsiteX1" fmla="*/ 3082144 w 3082197"/>
              <a:gd name="connsiteY1" fmla="*/ 0 h 6654179"/>
              <a:gd name="connsiteX2" fmla="*/ 3072982 w 3082197"/>
              <a:gd name="connsiteY2" fmla="*/ 6654179 h 6654179"/>
              <a:gd name="connsiteX3" fmla="*/ 579722 w 3082197"/>
              <a:gd name="connsiteY3" fmla="*/ 6643957 h 6654179"/>
              <a:gd name="connsiteX4" fmla="*/ 0 w 3082197"/>
              <a:gd name="connsiteY4" fmla="*/ 6064235 h 6654179"/>
              <a:gd name="connsiteX5" fmla="*/ 0 w 3082197"/>
              <a:gd name="connsiteY5" fmla="*/ 1316107 h 6654179"/>
              <a:gd name="connsiteX0" fmla="*/ 0 w 3082197"/>
              <a:gd name="connsiteY0" fmla="*/ 1657 h 5339729"/>
              <a:gd name="connsiteX1" fmla="*/ 3082144 w 3082197"/>
              <a:gd name="connsiteY1" fmla="*/ 0 h 5339729"/>
              <a:gd name="connsiteX2" fmla="*/ 3072982 w 3082197"/>
              <a:gd name="connsiteY2" fmla="*/ 5339729 h 5339729"/>
              <a:gd name="connsiteX3" fmla="*/ 579722 w 3082197"/>
              <a:gd name="connsiteY3" fmla="*/ 5329507 h 5339729"/>
              <a:gd name="connsiteX4" fmla="*/ 0 w 3082197"/>
              <a:gd name="connsiteY4" fmla="*/ 4749785 h 5339729"/>
              <a:gd name="connsiteX5" fmla="*/ 0 w 3082197"/>
              <a:gd name="connsiteY5" fmla="*/ 1657 h 5339729"/>
              <a:gd name="connsiteX0" fmla="*/ 0 w 3082197"/>
              <a:gd name="connsiteY0" fmla="*/ 2202416 h 5339729"/>
              <a:gd name="connsiteX1" fmla="*/ 3082144 w 3082197"/>
              <a:gd name="connsiteY1" fmla="*/ 0 h 5339729"/>
              <a:gd name="connsiteX2" fmla="*/ 3072982 w 3082197"/>
              <a:gd name="connsiteY2" fmla="*/ 5339729 h 5339729"/>
              <a:gd name="connsiteX3" fmla="*/ 579722 w 3082197"/>
              <a:gd name="connsiteY3" fmla="*/ 5329507 h 5339729"/>
              <a:gd name="connsiteX4" fmla="*/ 0 w 3082197"/>
              <a:gd name="connsiteY4" fmla="*/ 4749785 h 5339729"/>
              <a:gd name="connsiteX5" fmla="*/ 0 w 3082197"/>
              <a:gd name="connsiteY5" fmla="*/ 2202416 h 5339729"/>
              <a:gd name="connsiteX0" fmla="*/ 0 w 3082197"/>
              <a:gd name="connsiteY0" fmla="*/ 1656 h 3138969"/>
              <a:gd name="connsiteX1" fmla="*/ 3082144 w 3082197"/>
              <a:gd name="connsiteY1" fmla="*/ 0 h 3138969"/>
              <a:gd name="connsiteX2" fmla="*/ 3072982 w 3082197"/>
              <a:gd name="connsiteY2" fmla="*/ 3138969 h 3138969"/>
              <a:gd name="connsiteX3" fmla="*/ 579722 w 3082197"/>
              <a:gd name="connsiteY3" fmla="*/ 3128747 h 3138969"/>
              <a:gd name="connsiteX4" fmla="*/ 0 w 3082197"/>
              <a:gd name="connsiteY4" fmla="*/ 2549025 h 3138969"/>
              <a:gd name="connsiteX5" fmla="*/ 0 w 3082197"/>
              <a:gd name="connsiteY5" fmla="*/ 1656 h 3138969"/>
              <a:gd name="connsiteX0" fmla="*/ 0 w 3082145"/>
              <a:gd name="connsiteY0" fmla="*/ 1656 h 3150544"/>
              <a:gd name="connsiteX1" fmla="*/ 3082144 w 3082145"/>
              <a:gd name="connsiteY1" fmla="*/ 0 h 3150544"/>
              <a:gd name="connsiteX2" fmla="*/ 2772041 w 3082145"/>
              <a:gd name="connsiteY2" fmla="*/ 3150544 h 3150544"/>
              <a:gd name="connsiteX3" fmla="*/ 579722 w 3082145"/>
              <a:gd name="connsiteY3" fmla="*/ 3128747 h 3150544"/>
              <a:gd name="connsiteX4" fmla="*/ 0 w 3082145"/>
              <a:gd name="connsiteY4" fmla="*/ 2549025 h 3150544"/>
              <a:gd name="connsiteX5" fmla="*/ 0 w 3082145"/>
              <a:gd name="connsiteY5" fmla="*/ 1656 h 3150544"/>
              <a:gd name="connsiteX0" fmla="*/ 0 w 2772041"/>
              <a:gd name="connsiteY0" fmla="*/ 1656 h 3150544"/>
              <a:gd name="connsiteX1" fmla="*/ 2769627 w 2772041"/>
              <a:gd name="connsiteY1" fmla="*/ 0 h 3150544"/>
              <a:gd name="connsiteX2" fmla="*/ 2772041 w 2772041"/>
              <a:gd name="connsiteY2" fmla="*/ 3150544 h 3150544"/>
              <a:gd name="connsiteX3" fmla="*/ 579722 w 2772041"/>
              <a:gd name="connsiteY3" fmla="*/ 3128747 h 3150544"/>
              <a:gd name="connsiteX4" fmla="*/ 0 w 2772041"/>
              <a:gd name="connsiteY4" fmla="*/ 2549025 h 3150544"/>
              <a:gd name="connsiteX5" fmla="*/ 0 w 2772041"/>
              <a:gd name="connsiteY5" fmla="*/ 1656 h 3150544"/>
              <a:gd name="connsiteX0" fmla="*/ 0 w 2772041"/>
              <a:gd name="connsiteY0" fmla="*/ 1656 h 3138969"/>
              <a:gd name="connsiteX1" fmla="*/ 2769627 w 2772041"/>
              <a:gd name="connsiteY1" fmla="*/ 0 h 3138969"/>
              <a:gd name="connsiteX2" fmla="*/ 2772041 w 2772041"/>
              <a:gd name="connsiteY2" fmla="*/ 3138969 h 3138969"/>
              <a:gd name="connsiteX3" fmla="*/ 579722 w 2772041"/>
              <a:gd name="connsiteY3" fmla="*/ 3128747 h 3138969"/>
              <a:gd name="connsiteX4" fmla="*/ 0 w 2772041"/>
              <a:gd name="connsiteY4" fmla="*/ 2549025 h 3138969"/>
              <a:gd name="connsiteX5" fmla="*/ 0 w 2772041"/>
              <a:gd name="connsiteY5" fmla="*/ 1656 h 3138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72041" h="3138969">
                <a:moveTo>
                  <a:pt x="0" y="1656"/>
                </a:moveTo>
                <a:lnTo>
                  <a:pt x="2769627" y="0"/>
                </a:lnTo>
                <a:cubicBezTo>
                  <a:pt x="2770532" y="2146807"/>
                  <a:pt x="2771136" y="992162"/>
                  <a:pt x="2772041" y="3138969"/>
                </a:cubicBezTo>
                <a:lnTo>
                  <a:pt x="579722" y="3128747"/>
                </a:lnTo>
                <a:cubicBezTo>
                  <a:pt x="259550" y="3128747"/>
                  <a:pt x="0" y="2869197"/>
                  <a:pt x="0" y="2549025"/>
                </a:cubicBezTo>
                <a:lnTo>
                  <a:pt x="0" y="1656"/>
                </a:lnTo>
                <a:close/>
              </a:path>
            </a:pathLst>
          </a:custGeom>
          <a:noFill/>
        </p:spPr>
        <p:txBody>
          <a:bodyPr>
            <a:normAutofit/>
          </a:bodyPr>
          <a:lstStyle>
            <a:lvl1pPr marL="0" indent="0">
              <a:buNone/>
              <a:defRPr sz="1400">
                <a:solidFill>
                  <a:schemeClr val="tx1"/>
                </a:solidFill>
              </a:defRPr>
            </a:lvl1pPr>
          </a:lstStyle>
          <a:p>
            <a:r>
              <a:rPr lang="en-JP" dirty="0"/>
              <a:t>Insert Picture/Text Block</a:t>
            </a:r>
          </a:p>
        </p:txBody>
      </p:sp>
      <p:sp>
        <p:nvSpPr>
          <p:cNvPr id="24" name="Picture Placeholder 9">
            <a:extLst>
              <a:ext uri="{FF2B5EF4-FFF2-40B4-BE49-F238E27FC236}">
                <a16:creationId xmlns:a16="http://schemas.microsoft.com/office/drawing/2014/main" id="{AA8F528A-C9DE-0B46-881A-43E0F9B6F677}"/>
              </a:ext>
            </a:extLst>
          </p:cNvPr>
          <p:cNvSpPr>
            <a:spLocks noGrp="1"/>
          </p:cNvSpPr>
          <p:nvPr>
            <p:ph type="pic" sz="quarter" idx="19" hasCustomPrompt="1"/>
          </p:nvPr>
        </p:nvSpPr>
        <p:spPr>
          <a:xfrm>
            <a:off x="3244494" y="3076286"/>
            <a:ext cx="2772041" cy="3138969"/>
          </a:xfrm>
          <a:custGeom>
            <a:avLst/>
            <a:gdLst>
              <a:gd name="connsiteX0" fmla="*/ 0 w 10888662"/>
              <a:gd name="connsiteY0" fmla="*/ 579722 h 6442075"/>
              <a:gd name="connsiteX1" fmla="*/ 579722 w 10888662"/>
              <a:gd name="connsiteY1" fmla="*/ 0 h 6442075"/>
              <a:gd name="connsiteX2" fmla="*/ 10308940 w 10888662"/>
              <a:gd name="connsiteY2" fmla="*/ 0 h 6442075"/>
              <a:gd name="connsiteX3" fmla="*/ 10888662 w 10888662"/>
              <a:gd name="connsiteY3" fmla="*/ 579722 h 6442075"/>
              <a:gd name="connsiteX4" fmla="*/ 10888662 w 10888662"/>
              <a:gd name="connsiteY4" fmla="*/ 5862353 h 6442075"/>
              <a:gd name="connsiteX5" fmla="*/ 10308940 w 10888662"/>
              <a:gd name="connsiteY5" fmla="*/ 6442075 h 6442075"/>
              <a:gd name="connsiteX6" fmla="*/ 579722 w 10888662"/>
              <a:gd name="connsiteY6" fmla="*/ 6442075 h 6442075"/>
              <a:gd name="connsiteX7" fmla="*/ 0 w 10888662"/>
              <a:gd name="connsiteY7" fmla="*/ 5862353 h 6442075"/>
              <a:gd name="connsiteX8" fmla="*/ 0 w 10888662"/>
              <a:gd name="connsiteY8" fmla="*/ 579722 h 6442075"/>
              <a:gd name="connsiteX0" fmla="*/ 0 w 10888662"/>
              <a:gd name="connsiteY0" fmla="*/ 659657 h 6522010"/>
              <a:gd name="connsiteX1" fmla="*/ 10308940 w 10888662"/>
              <a:gd name="connsiteY1" fmla="*/ 79935 h 6522010"/>
              <a:gd name="connsiteX2" fmla="*/ 10888662 w 10888662"/>
              <a:gd name="connsiteY2" fmla="*/ 659657 h 6522010"/>
              <a:gd name="connsiteX3" fmla="*/ 10888662 w 10888662"/>
              <a:gd name="connsiteY3" fmla="*/ 5942288 h 6522010"/>
              <a:gd name="connsiteX4" fmla="*/ 10308940 w 10888662"/>
              <a:gd name="connsiteY4" fmla="*/ 6522010 h 6522010"/>
              <a:gd name="connsiteX5" fmla="*/ 579722 w 10888662"/>
              <a:gd name="connsiteY5" fmla="*/ 6522010 h 6522010"/>
              <a:gd name="connsiteX6" fmla="*/ 0 w 10888662"/>
              <a:gd name="connsiteY6" fmla="*/ 5942288 h 6522010"/>
              <a:gd name="connsiteX7" fmla="*/ 0 w 10888662"/>
              <a:gd name="connsiteY7" fmla="*/ 659657 h 6522010"/>
              <a:gd name="connsiteX0" fmla="*/ 0 w 10888662"/>
              <a:gd name="connsiteY0" fmla="*/ 579722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579722 h 6442075"/>
              <a:gd name="connsiteX0" fmla="*/ 0 w 10888662"/>
              <a:gd name="connsiteY0" fmla="*/ 129257 h 6569679"/>
              <a:gd name="connsiteX1" fmla="*/ 10308940 w 10888662"/>
              <a:gd name="connsiteY1" fmla="*/ 127604 h 6569679"/>
              <a:gd name="connsiteX2" fmla="*/ 10888662 w 10888662"/>
              <a:gd name="connsiteY2" fmla="*/ 707326 h 6569679"/>
              <a:gd name="connsiteX3" fmla="*/ 10888662 w 10888662"/>
              <a:gd name="connsiteY3" fmla="*/ 5989957 h 6569679"/>
              <a:gd name="connsiteX4" fmla="*/ 10308940 w 10888662"/>
              <a:gd name="connsiteY4" fmla="*/ 6569679 h 6569679"/>
              <a:gd name="connsiteX5" fmla="*/ 579722 w 10888662"/>
              <a:gd name="connsiteY5" fmla="*/ 6569679 h 6569679"/>
              <a:gd name="connsiteX6" fmla="*/ 0 w 10888662"/>
              <a:gd name="connsiteY6" fmla="*/ 5989957 h 6569679"/>
              <a:gd name="connsiteX7" fmla="*/ 0 w 10888662"/>
              <a:gd name="connsiteY7" fmla="*/ 129257 h 6569679"/>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9657299 w 10888662"/>
              <a:gd name="connsiteY4" fmla="*/ 55276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522010"/>
              <a:gd name="connsiteX1" fmla="*/ 10308940 w 10888662"/>
              <a:gd name="connsiteY1" fmla="*/ 0 h 6522010"/>
              <a:gd name="connsiteX2" fmla="*/ 10888662 w 10888662"/>
              <a:gd name="connsiteY2" fmla="*/ 579722 h 6522010"/>
              <a:gd name="connsiteX3" fmla="*/ 10888662 w 10888662"/>
              <a:gd name="connsiteY3" fmla="*/ 5862353 h 6522010"/>
              <a:gd name="connsiteX4" fmla="*/ 579722 w 10888662"/>
              <a:gd name="connsiteY4" fmla="*/ 6442075 h 6522010"/>
              <a:gd name="connsiteX5" fmla="*/ 0 w 10888662"/>
              <a:gd name="connsiteY5" fmla="*/ 5862353 h 6522010"/>
              <a:gd name="connsiteX6" fmla="*/ 0 w 10888662"/>
              <a:gd name="connsiteY6" fmla="*/ 1653 h 6522010"/>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579722 w 10888662"/>
              <a:gd name="connsiteY4" fmla="*/ 6442075 h 6442075"/>
              <a:gd name="connsiteX5" fmla="*/ 0 w 10888662"/>
              <a:gd name="connsiteY5" fmla="*/ 5862353 h 6442075"/>
              <a:gd name="connsiteX6" fmla="*/ 0 w 10888662"/>
              <a:gd name="connsiteY6" fmla="*/ 1653 h 6442075"/>
              <a:gd name="connsiteX0" fmla="*/ 0 w 10888662"/>
              <a:gd name="connsiteY0" fmla="*/ 1653 h 6585432"/>
              <a:gd name="connsiteX1" fmla="*/ 10308940 w 10888662"/>
              <a:gd name="connsiteY1" fmla="*/ 0 h 6585432"/>
              <a:gd name="connsiteX2" fmla="*/ 10888662 w 10888662"/>
              <a:gd name="connsiteY2" fmla="*/ 579722 h 6585432"/>
              <a:gd name="connsiteX3" fmla="*/ 10878151 w 10888662"/>
              <a:gd name="connsiteY3" fmla="*/ 6461442 h 6585432"/>
              <a:gd name="connsiteX4" fmla="*/ 579722 w 10888662"/>
              <a:gd name="connsiteY4" fmla="*/ 6442075 h 6585432"/>
              <a:gd name="connsiteX5" fmla="*/ 0 w 10888662"/>
              <a:gd name="connsiteY5" fmla="*/ 5862353 h 6585432"/>
              <a:gd name="connsiteX6" fmla="*/ 0 w 10888662"/>
              <a:gd name="connsiteY6" fmla="*/ 1653 h 6585432"/>
              <a:gd name="connsiteX0" fmla="*/ 0 w 10888662"/>
              <a:gd name="connsiteY0" fmla="*/ 1653 h 6577502"/>
              <a:gd name="connsiteX1" fmla="*/ 10308940 w 10888662"/>
              <a:gd name="connsiteY1" fmla="*/ 0 h 6577502"/>
              <a:gd name="connsiteX2" fmla="*/ 10888662 w 10888662"/>
              <a:gd name="connsiteY2" fmla="*/ 579722 h 6577502"/>
              <a:gd name="connsiteX3" fmla="*/ 10878151 w 10888662"/>
              <a:gd name="connsiteY3" fmla="*/ 6450932 h 6577502"/>
              <a:gd name="connsiteX4" fmla="*/ 579722 w 10888662"/>
              <a:gd name="connsiteY4" fmla="*/ 6442075 h 6577502"/>
              <a:gd name="connsiteX5" fmla="*/ 0 w 10888662"/>
              <a:gd name="connsiteY5" fmla="*/ 5862353 h 6577502"/>
              <a:gd name="connsiteX6" fmla="*/ 0 w 10888662"/>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0888662"/>
              <a:gd name="connsiteY0" fmla="*/ 1653 h 6450932"/>
              <a:gd name="connsiteX1" fmla="*/ 10308940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0999550"/>
              <a:gd name="connsiteY0" fmla="*/ 1653 h 6450932"/>
              <a:gd name="connsiteX1" fmla="*/ 10844968 w 10999550"/>
              <a:gd name="connsiteY1" fmla="*/ 0 h 6450932"/>
              <a:gd name="connsiteX2" fmla="*/ 10888662 w 10999550"/>
              <a:gd name="connsiteY2" fmla="*/ 579722 h 6450932"/>
              <a:gd name="connsiteX3" fmla="*/ 10878151 w 10999550"/>
              <a:gd name="connsiteY3" fmla="*/ 6450932 h 6450932"/>
              <a:gd name="connsiteX4" fmla="*/ 579722 w 10999550"/>
              <a:gd name="connsiteY4" fmla="*/ 6442075 h 6450932"/>
              <a:gd name="connsiteX5" fmla="*/ 0 w 10999550"/>
              <a:gd name="connsiteY5" fmla="*/ 5862353 h 6450932"/>
              <a:gd name="connsiteX6" fmla="*/ 0 w 10999550"/>
              <a:gd name="connsiteY6" fmla="*/ 1653 h 6450932"/>
              <a:gd name="connsiteX0" fmla="*/ 0 w 11022020"/>
              <a:gd name="connsiteY0" fmla="*/ 1653 h 6450932"/>
              <a:gd name="connsiteX1" fmla="*/ 10876499 w 11022020"/>
              <a:gd name="connsiteY1" fmla="*/ 0 h 6450932"/>
              <a:gd name="connsiteX2" fmla="*/ 10888662 w 11022020"/>
              <a:gd name="connsiteY2" fmla="*/ 579722 h 6450932"/>
              <a:gd name="connsiteX3" fmla="*/ 10878151 w 11022020"/>
              <a:gd name="connsiteY3" fmla="*/ 6450932 h 6450932"/>
              <a:gd name="connsiteX4" fmla="*/ 579722 w 11022020"/>
              <a:gd name="connsiteY4" fmla="*/ 6442075 h 6450932"/>
              <a:gd name="connsiteX5" fmla="*/ 0 w 11022020"/>
              <a:gd name="connsiteY5" fmla="*/ 5862353 h 6450932"/>
              <a:gd name="connsiteX6" fmla="*/ 0 w 11022020"/>
              <a:gd name="connsiteY6" fmla="*/ 1653 h 6450932"/>
              <a:gd name="connsiteX0" fmla="*/ 0 w 10888662"/>
              <a:gd name="connsiteY0" fmla="*/ 1653 h 6450932"/>
              <a:gd name="connsiteX1" fmla="*/ 10876499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2200990"/>
              <a:gd name="connsiteY0" fmla="*/ 1653 h 6450932"/>
              <a:gd name="connsiteX1" fmla="*/ 10876499 w 12200990"/>
              <a:gd name="connsiteY1" fmla="*/ 0 h 6450932"/>
              <a:gd name="connsiteX2" fmla="*/ 10878151 w 12200990"/>
              <a:gd name="connsiteY2" fmla="*/ 6450932 h 6450932"/>
              <a:gd name="connsiteX3" fmla="*/ 579722 w 12200990"/>
              <a:gd name="connsiteY3" fmla="*/ 6442075 h 6450932"/>
              <a:gd name="connsiteX4" fmla="*/ 0 w 12200990"/>
              <a:gd name="connsiteY4" fmla="*/ 5862353 h 6450932"/>
              <a:gd name="connsiteX5" fmla="*/ 0 w 12200990"/>
              <a:gd name="connsiteY5" fmla="*/ 1653 h 6450932"/>
              <a:gd name="connsiteX0" fmla="*/ 0 w 11640630"/>
              <a:gd name="connsiteY0" fmla="*/ 1653 h 6450932"/>
              <a:gd name="connsiteX1" fmla="*/ 10876499 w 11640630"/>
              <a:gd name="connsiteY1" fmla="*/ 0 h 6450932"/>
              <a:gd name="connsiteX2" fmla="*/ 10878151 w 11640630"/>
              <a:gd name="connsiteY2" fmla="*/ 6450932 h 6450932"/>
              <a:gd name="connsiteX3" fmla="*/ 579722 w 11640630"/>
              <a:gd name="connsiteY3" fmla="*/ 6442075 h 6450932"/>
              <a:gd name="connsiteX4" fmla="*/ 0 w 11640630"/>
              <a:gd name="connsiteY4" fmla="*/ 5862353 h 6450932"/>
              <a:gd name="connsiteX5" fmla="*/ 0 w 11640630"/>
              <a:gd name="connsiteY5" fmla="*/ 1653 h 6450932"/>
              <a:gd name="connsiteX0" fmla="*/ 0 w 10878151"/>
              <a:gd name="connsiteY0" fmla="*/ 1653 h 6450932"/>
              <a:gd name="connsiteX1" fmla="*/ 10876499 w 10878151"/>
              <a:gd name="connsiteY1" fmla="*/ 0 h 6450932"/>
              <a:gd name="connsiteX2" fmla="*/ 10878151 w 10878151"/>
              <a:gd name="connsiteY2" fmla="*/ 6450932 h 6450932"/>
              <a:gd name="connsiteX3" fmla="*/ 579722 w 10878151"/>
              <a:gd name="connsiteY3" fmla="*/ 6442075 h 6450932"/>
              <a:gd name="connsiteX4" fmla="*/ 0 w 10878151"/>
              <a:gd name="connsiteY4" fmla="*/ 5862353 h 6450932"/>
              <a:gd name="connsiteX5" fmla="*/ 0 w 10878151"/>
              <a:gd name="connsiteY5" fmla="*/ 1653 h 6450932"/>
              <a:gd name="connsiteX0" fmla="*/ 0 w 11843451"/>
              <a:gd name="connsiteY0" fmla="*/ 1653 h 6450932"/>
              <a:gd name="connsiteX1" fmla="*/ 11843451 w 11843451"/>
              <a:gd name="connsiteY1" fmla="*/ 0 h 6450932"/>
              <a:gd name="connsiteX2" fmla="*/ 10878151 w 11843451"/>
              <a:gd name="connsiteY2" fmla="*/ 6450932 h 6450932"/>
              <a:gd name="connsiteX3" fmla="*/ 579722 w 11843451"/>
              <a:gd name="connsiteY3" fmla="*/ 6442075 h 6450932"/>
              <a:gd name="connsiteX4" fmla="*/ 0 w 11843451"/>
              <a:gd name="connsiteY4" fmla="*/ 5862353 h 6450932"/>
              <a:gd name="connsiteX5" fmla="*/ 0 w 11843451"/>
              <a:gd name="connsiteY5" fmla="*/ 1653 h 6450932"/>
              <a:gd name="connsiteX0" fmla="*/ 0 w 11855613"/>
              <a:gd name="connsiteY0" fmla="*/ 1653 h 6450932"/>
              <a:gd name="connsiteX1" fmla="*/ 11843451 w 11855613"/>
              <a:gd name="connsiteY1" fmla="*/ 0 h 6450932"/>
              <a:gd name="connsiteX2" fmla="*/ 11855613 w 11855613"/>
              <a:gd name="connsiteY2" fmla="*/ 6450932 h 6450932"/>
              <a:gd name="connsiteX3" fmla="*/ 579722 w 11855613"/>
              <a:gd name="connsiteY3" fmla="*/ 6442075 h 6450932"/>
              <a:gd name="connsiteX4" fmla="*/ 0 w 11855613"/>
              <a:gd name="connsiteY4" fmla="*/ 5862353 h 6450932"/>
              <a:gd name="connsiteX5" fmla="*/ 0 w 11855613"/>
              <a:gd name="connsiteY5" fmla="*/ 1653 h 6450932"/>
              <a:gd name="connsiteX0" fmla="*/ 0 w 11864472"/>
              <a:gd name="connsiteY0" fmla="*/ 1653 h 6450932"/>
              <a:gd name="connsiteX1" fmla="*/ 11864472 w 11864472"/>
              <a:gd name="connsiteY1" fmla="*/ 0 h 6450932"/>
              <a:gd name="connsiteX2" fmla="*/ 11855613 w 11864472"/>
              <a:gd name="connsiteY2" fmla="*/ 6450932 h 6450932"/>
              <a:gd name="connsiteX3" fmla="*/ 579722 w 11864472"/>
              <a:gd name="connsiteY3" fmla="*/ 6442075 h 6450932"/>
              <a:gd name="connsiteX4" fmla="*/ 0 w 11864472"/>
              <a:gd name="connsiteY4" fmla="*/ 5862353 h 6450932"/>
              <a:gd name="connsiteX5" fmla="*/ 0 w 11864472"/>
              <a:gd name="connsiteY5" fmla="*/ 1653 h 6450932"/>
              <a:gd name="connsiteX0" fmla="*/ 0 w 11864472"/>
              <a:gd name="connsiteY0" fmla="*/ 1653 h 6442075"/>
              <a:gd name="connsiteX1" fmla="*/ 11864472 w 11864472"/>
              <a:gd name="connsiteY1" fmla="*/ 0 h 6442075"/>
              <a:gd name="connsiteX2" fmla="*/ 11855613 w 11864472"/>
              <a:gd name="connsiteY2" fmla="*/ 6440421 h 6442075"/>
              <a:gd name="connsiteX3" fmla="*/ 579722 w 11864472"/>
              <a:gd name="connsiteY3" fmla="*/ 6442075 h 6442075"/>
              <a:gd name="connsiteX4" fmla="*/ 0 w 11864472"/>
              <a:gd name="connsiteY4" fmla="*/ 5862353 h 6442075"/>
              <a:gd name="connsiteX5" fmla="*/ 0 w 11864472"/>
              <a:gd name="connsiteY5" fmla="*/ 1653 h 6442075"/>
              <a:gd name="connsiteX0" fmla="*/ 0 w 11855613"/>
              <a:gd name="connsiteY0" fmla="*/ 1653 h 6442075"/>
              <a:gd name="connsiteX1" fmla="*/ 8912928 w 11855613"/>
              <a:gd name="connsiteY1" fmla="*/ 0 h 6442075"/>
              <a:gd name="connsiteX2" fmla="*/ 11855613 w 11855613"/>
              <a:gd name="connsiteY2" fmla="*/ 6440421 h 6442075"/>
              <a:gd name="connsiteX3" fmla="*/ 579722 w 11855613"/>
              <a:gd name="connsiteY3" fmla="*/ 6442075 h 6442075"/>
              <a:gd name="connsiteX4" fmla="*/ 0 w 11855613"/>
              <a:gd name="connsiteY4" fmla="*/ 5862353 h 6442075"/>
              <a:gd name="connsiteX5" fmla="*/ 0 w 11855613"/>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74032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36077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1615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15642"/>
              <a:gd name="connsiteY0" fmla="*/ 1653 h 6442075"/>
              <a:gd name="connsiteX1" fmla="*/ 8912928 w 8915642"/>
              <a:gd name="connsiteY1" fmla="*/ 0 h 6442075"/>
              <a:gd name="connsiteX2" fmla="*/ 8915642 w 8915642"/>
              <a:gd name="connsiteY2" fmla="*/ 6440421 h 6442075"/>
              <a:gd name="connsiteX3" fmla="*/ 579722 w 8915642"/>
              <a:gd name="connsiteY3" fmla="*/ 6442075 h 6442075"/>
              <a:gd name="connsiteX4" fmla="*/ 0 w 8915642"/>
              <a:gd name="connsiteY4" fmla="*/ 5862353 h 6442075"/>
              <a:gd name="connsiteX5" fmla="*/ 0 w 8915642"/>
              <a:gd name="connsiteY5" fmla="*/ 1653 h 6442075"/>
              <a:gd name="connsiteX0" fmla="*/ 0 w 8915642"/>
              <a:gd name="connsiteY0" fmla="*/ 1 h 6618553"/>
              <a:gd name="connsiteX1" fmla="*/ 8912928 w 8915642"/>
              <a:gd name="connsiteY1" fmla="*/ 176478 h 6618553"/>
              <a:gd name="connsiteX2" fmla="*/ 8915642 w 8915642"/>
              <a:gd name="connsiteY2" fmla="*/ 6616899 h 6618553"/>
              <a:gd name="connsiteX3" fmla="*/ 579722 w 8915642"/>
              <a:gd name="connsiteY3" fmla="*/ 6618553 h 6618553"/>
              <a:gd name="connsiteX4" fmla="*/ 0 w 8915642"/>
              <a:gd name="connsiteY4" fmla="*/ 6038831 h 6618553"/>
              <a:gd name="connsiteX5" fmla="*/ 0 w 8915642"/>
              <a:gd name="connsiteY5" fmla="*/ 1 h 6618553"/>
              <a:gd name="connsiteX0" fmla="*/ 0 w 8915642"/>
              <a:gd name="connsiteY0" fmla="*/ 25404 h 6643956"/>
              <a:gd name="connsiteX1" fmla="*/ 6015348 w 8915642"/>
              <a:gd name="connsiteY1" fmla="*/ 0 h 6643956"/>
              <a:gd name="connsiteX2" fmla="*/ 8915642 w 8915642"/>
              <a:gd name="connsiteY2" fmla="*/ 6642302 h 6643956"/>
              <a:gd name="connsiteX3" fmla="*/ 579722 w 8915642"/>
              <a:gd name="connsiteY3" fmla="*/ 6643956 h 6643956"/>
              <a:gd name="connsiteX4" fmla="*/ 0 w 8915642"/>
              <a:gd name="connsiteY4" fmla="*/ 6064234 h 6643956"/>
              <a:gd name="connsiteX5" fmla="*/ 0 w 8915642"/>
              <a:gd name="connsiteY5" fmla="*/ 25404 h 6643956"/>
              <a:gd name="connsiteX0" fmla="*/ 0 w 8915642"/>
              <a:gd name="connsiteY0" fmla="*/ 1653 h 6620205"/>
              <a:gd name="connsiteX1" fmla="*/ 6003473 w 8915642"/>
              <a:gd name="connsiteY1" fmla="*/ 0 h 6620205"/>
              <a:gd name="connsiteX2" fmla="*/ 8915642 w 8915642"/>
              <a:gd name="connsiteY2" fmla="*/ 6618551 h 6620205"/>
              <a:gd name="connsiteX3" fmla="*/ 579722 w 8915642"/>
              <a:gd name="connsiteY3" fmla="*/ 6620205 h 6620205"/>
              <a:gd name="connsiteX4" fmla="*/ 0 w 8915642"/>
              <a:gd name="connsiteY4" fmla="*/ 6040483 h 6620205"/>
              <a:gd name="connsiteX5" fmla="*/ 0 w 8915642"/>
              <a:gd name="connsiteY5" fmla="*/ 1653 h 6620205"/>
              <a:gd name="connsiteX0" fmla="*/ 0 w 8915642"/>
              <a:gd name="connsiteY0" fmla="*/ 96656 h 6620205"/>
              <a:gd name="connsiteX1" fmla="*/ 6003473 w 8915642"/>
              <a:gd name="connsiteY1" fmla="*/ 0 h 6620205"/>
              <a:gd name="connsiteX2" fmla="*/ 8915642 w 8915642"/>
              <a:gd name="connsiteY2" fmla="*/ 6618551 h 6620205"/>
              <a:gd name="connsiteX3" fmla="*/ 579722 w 8915642"/>
              <a:gd name="connsiteY3" fmla="*/ 6620205 h 6620205"/>
              <a:gd name="connsiteX4" fmla="*/ 0 w 8915642"/>
              <a:gd name="connsiteY4" fmla="*/ 6040483 h 6620205"/>
              <a:gd name="connsiteX5" fmla="*/ 0 w 8915642"/>
              <a:gd name="connsiteY5" fmla="*/ 96656 h 6620205"/>
              <a:gd name="connsiteX0" fmla="*/ 0 w 8915642"/>
              <a:gd name="connsiteY0" fmla="*/ 0 h 6642302"/>
              <a:gd name="connsiteX1" fmla="*/ 6003473 w 8915642"/>
              <a:gd name="connsiteY1" fmla="*/ 22097 h 6642302"/>
              <a:gd name="connsiteX2" fmla="*/ 8915642 w 8915642"/>
              <a:gd name="connsiteY2" fmla="*/ 6640648 h 6642302"/>
              <a:gd name="connsiteX3" fmla="*/ 579722 w 8915642"/>
              <a:gd name="connsiteY3" fmla="*/ 6642302 h 6642302"/>
              <a:gd name="connsiteX4" fmla="*/ 0 w 8915642"/>
              <a:gd name="connsiteY4" fmla="*/ 6062580 h 6642302"/>
              <a:gd name="connsiteX5" fmla="*/ 0 w 8915642"/>
              <a:gd name="connsiteY5" fmla="*/ 0 h 6642302"/>
              <a:gd name="connsiteX0" fmla="*/ 0 w 8915642"/>
              <a:gd name="connsiteY0" fmla="*/ 0 h 6642302"/>
              <a:gd name="connsiteX1" fmla="*/ 5932221 w 8915642"/>
              <a:gd name="connsiteY1" fmla="*/ 152725 h 6642302"/>
              <a:gd name="connsiteX2" fmla="*/ 8915642 w 8915642"/>
              <a:gd name="connsiteY2" fmla="*/ 6640648 h 6642302"/>
              <a:gd name="connsiteX3" fmla="*/ 579722 w 8915642"/>
              <a:gd name="connsiteY3" fmla="*/ 6642302 h 6642302"/>
              <a:gd name="connsiteX4" fmla="*/ 0 w 8915642"/>
              <a:gd name="connsiteY4" fmla="*/ 6062580 h 6642302"/>
              <a:gd name="connsiteX5" fmla="*/ 0 w 8915642"/>
              <a:gd name="connsiteY5" fmla="*/ 0 h 6642302"/>
              <a:gd name="connsiteX0" fmla="*/ 0 w 8915642"/>
              <a:gd name="connsiteY0" fmla="*/ 1654 h 6643956"/>
              <a:gd name="connsiteX1" fmla="*/ 6003473 w 8915642"/>
              <a:gd name="connsiteY1" fmla="*/ 0 h 6643956"/>
              <a:gd name="connsiteX2" fmla="*/ 8915642 w 8915642"/>
              <a:gd name="connsiteY2" fmla="*/ 6642302 h 6643956"/>
              <a:gd name="connsiteX3" fmla="*/ 579722 w 8915642"/>
              <a:gd name="connsiteY3" fmla="*/ 6643956 h 6643956"/>
              <a:gd name="connsiteX4" fmla="*/ 0 w 8915642"/>
              <a:gd name="connsiteY4" fmla="*/ 6064234 h 6643956"/>
              <a:gd name="connsiteX5" fmla="*/ 0 w 8915642"/>
              <a:gd name="connsiteY5" fmla="*/ 1654 h 6643956"/>
              <a:gd name="connsiteX0" fmla="*/ 0 w 6018062"/>
              <a:gd name="connsiteY0" fmla="*/ 1654 h 6654178"/>
              <a:gd name="connsiteX1" fmla="*/ 6003473 w 6018062"/>
              <a:gd name="connsiteY1" fmla="*/ 0 h 6654178"/>
              <a:gd name="connsiteX2" fmla="*/ 6018062 w 6018062"/>
              <a:gd name="connsiteY2" fmla="*/ 6654178 h 6654178"/>
              <a:gd name="connsiteX3" fmla="*/ 579722 w 6018062"/>
              <a:gd name="connsiteY3" fmla="*/ 6643956 h 6654178"/>
              <a:gd name="connsiteX4" fmla="*/ 0 w 6018062"/>
              <a:gd name="connsiteY4" fmla="*/ 6064234 h 6654178"/>
              <a:gd name="connsiteX5" fmla="*/ 0 w 6018062"/>
              <a:gd name="connsiteY5" fmla="*/ 1654 h 6654178"/>
              <a:gd name="connsiteX0" fmla="*/ 0 w 6018062"/>
              <a:gd name="connsiteY0" fmla="*/ 203535 h 6654178"/>
              <a:gd name="connsiteX1" fmla="*/ 6003473 w 6018062"/>
              <a:gd name="connsiteY1" fmla="*/ 0 h 6654178"/>
              <a:gd name="connsiteX2" fmla="*/ 6018062 w 6018062"/>
              <a:gd name="connsiteY2" fmla="*/ 6654178 h 6654178"/>
              <a:gd name="connsiteX3" fmla="*/ 579722 w 6018062"/>
              <a:gd name="connsiteY3" fmla="*/ 6643956 h 6654178"/>
              <a:gd name="connsiteX4" fmla="*/ 0 w 6018062"/>
              <a:gd name="connsiteY4" fmla="*/ 6064234 h 6654178"/>
              <a:gd name="connsiteX5" fmla="*/ 0 w 6018062"/>
              <a:gd name="connsiteY5" fmla="*/ 203535 h 6654178"/>
              <a:gd name="connsiteX0" fmla="*/ 0 w 6018062"/>
              <a:gd name="connsiteY0" fmla="*/ 1655 h 6452298"/>
              <a:gd name="connsiteX1" fmla="*/ 4055920 w 6018062"/>
              <a:gd name="connsiteY1" fmla="*/ 0 h 6452298"/>
              <a:gd name="connsiteX2" fmla="*/ 6018062 w 6018062"/>
              <a:gd name="connsiteY2" fmla="*/ 6452298 h 6452298"/>
              <a:gd name="connsiteX3" fmla="*/ 579722 w 6018062"/>
              <a:gd name="connsiteY3" fmla="*/ 6442076 h 6452298"/>
              <a:gd name="connsiteX4" fmla="*/ 0 w 6018062"/>
              <a:gd name="connsiteY4" fmla="*/ 5862354 h 6452298"/>
              <a:gd name="connsiteX5" fmla="*/ 0 w 6018062"/>
              <a:gd name="connsiteY5" fmla="*/ 1655 h 6452298"/>
              <a:gd name="connsiteX0" fmla="*/ 0 w 4055973"/>
              <a:gd name="connsiteY0" fmla="*/ 1655 h 6452298"/>
              <a:gd name="connsiteX1" fmla="*/ 4055920 w 4055973"/>
              <a:gd name="connsiteY1" fmla="*/ 0 h 6452298"/>
              <a:gd name="connsiteX2" fmla="*/ 4046758 w 4055973"/>
              <a:gd name="connsiteY2" fmla="*/ 6452298 h 6452298"/>
              <a:gd name="connsiteX3" fmla="*/ 579722 w 4055973"/>
              <a:gd name="connsiteY3" fmla="*/ 6442076 h 6452298"/>
              <a:gd name="connsiteX4" fmla="*/ 0 w 4055973"/>
              <a:gd name="connsiteY4" fmla="*/ 5862354 h 6452298"/>
              <a:gd name="connsiteX5" fmla="*/ 0 w 4055973"/>
              <a:gd name="connsiteY5" fmla="*/ 1655 h 6452298"/>
              <a:gd name="connsiteX0" fmla="*/ 0 w 4055973"/>
              <a:gd name="connsiteY0" fmla="*/ 0 h 6652523"/>
              <a:gd name="connsiteX1" fmla="*/ 4055920 w 4055973"/>
              <a:gd name="connsiteY1" fmla="*/ 200225 h 6652523"/>
              <a:gd name="connsiteX2" fmla="*/ 4046758 w 4055973"/>
              <a:gd name="connsiteY2" fmla="*/ 6652523 h 6652523"/>
              <a:gd name="connsiteX3" fmla="*/ 579722 w 4055973"/>
              <a:gd name="connsiteY3" fmla="*/ 6642301 h 6652523"/>
              <a:gd name="connsiteX4" fmla="*/ 0 w 4055973"/>
              <a:gd name="connsiteY4" fmla="*/ 6062579 h 6652523"/>
              <a:gd name="connsiteX5" fmla="*/ 0 w 4055973"/>
              <a:gd name="connsiteY5" fmla="*/ 0 h 6652523"/>
              <a:gd name="connsiteX0" fmla="*/ 0 w 4046758"/>
              <a:gd name="connsiteY0" fmla="*/ 0 h 6652523"/>
              <a:gd name="connsiteX1" fmla="*/ 4044045 w 4046758"/>
              <a:gd name="connsiteY1" fmla="*/ 10220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4046758"/>
              <a:gd name="connsiteY0" fmla="*/ 1655 h 6654178"/>
              <a:gd name="connsiteX1" fmla="*/ 3082144 w 4046758"/>
              <a:gd name="connsiteY1" fmla="*/ 0 h 6654178"/>
              <a:gd name="connsiteX2" fmla="*/ 4046758 w 4046758"/>
              <a:gd name="connsiteY2" fmla="*/ 6654178 h 6654178"/>
              <a:gd name="connsiteX3" fmla="*/ 579722 w 4046758"/>
              <a:gd name="connsiteY3" fmla="*/ 6643956 h 6654178"/>
              <a:gd name="connsiteX4" fmla="*/ 0 w 4046758"/>
              <a:gd name="connsiteY4" fmla="*/ 6064234 h 6654178"/>
              <a:gd name="connsiteX5" fmla="*/ 0 w 4046758"/>
              <a:gd name="connsiteY5" fmla="*/ 1655 h 6654178"/>
              <a:gd name="connsiteX0" fmla="*/ 0 w 4046758"/>
              <a:gd name="connsiteY0" fmla="*/ 0 h 6652523"/>
              <a:gd name="connsiteX1" fmla="*/ 2975266 w 4046758"/>
              <a:gd name="connsiteY1" fmla="*/ 93348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4046758"/>
              <a:gd name="connsiteY0" fmla="*/ 0 h 6652523"/>
              <a:gd name="connsiteX1" fmla="*/ 3070268 w 4046758"/>
              <a:gd name="connsiteY1" fmla="*/ 10220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4046758"/>
              <a:gd name="connsiteY0" fmla="*/ 0 h 6652523"/>
              <a:gd name="connsiteX1" fmla="*/ 3082144 w 4046758"/>
              <a:gd name="connsiteY1" fmla="*/ 10220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3082197"/>
              <a:gd name="connsiteY0" fmla="*/ 0 h 6652523"/>
              <a:gd name="connsiteX1" fmla="*/ 3082144 w 3082197"/>
              <a:gd name="connsiteY1" fmla="*/ 10220 h 6652523"/>
              <a:gd name="connsiteX2" fmla="*/ 3072982 w 3082197"/>
              <a:gd name="connsiteY2" fmla="*/ 6652523 h 6652523"/>
              <a:gd name="connsiteX3" fmla="*/ 579722 w 3082197"/>
              <a:gd name="connsiteY3" fmla="*/ 6642301 h 6652523"/>
              <a:gd name="connsiteX4" fmla="*/ 0 w 3082197"/>
              <a:gd name="connsiteY4" fmla="*/ 6062579 h 6652523"/>
              <a:gd name="connsiteX5" fmla="*/ 0 w 3082197"/>
              <a:gd name="connsiteY5" fmla="*/ 0 h 6652523"/>
              <a:gd name="connsiteX0" fmla="*/ 0 w 3072982"/>
              <a:gd name="connsiteY0" fmla="*/ 0 h 6652523"/>
              <a:gd name="connsiteX1" fmla="*/ 3010892 w 3072982"/>
              <a:gd name="connsiteY1" fmla="*/ 164599 h 6652523"/>
              <a:gd name="connsiteX2" fmla="*/ 3072982 w 3072982"/>
              <a:gd name="connsiteY2" fmla="*/ 6652523 h 6652523"/>
              <a:gd name="connsiteX3" fmla="*/ 579722 w 3072982"/>
              <a:gd name="connsiteY3" fmla="*/ 6642301 h 6652523"/>
              <a:gd name="connsiteX4" fmla="*/ 0 w 3072982"/>
              <a:gd name="connsiteY4" fmla="*/ 6062579 h 6652523"/>
              <a:gd name="connsiteX5" fmla="*/ 0 w 3072982"/>
              <a:gd name="connsiteY5" fmla="*/ 0 h 6652523"/>
              <a:gd name="connsiteX0" fmla="*/ 0 w 3082197"/>
              <a:gd name="connsiteY0" fmla="*/ 1656 h 6654179"/>
              <a:gd name="connsiteX1" fmla="*/ 3082144 w 3082197"/>
              <a:gd name="connsiteY1" fmla="*/ 0 h 6654179"/>
              <a:gd name="connsiteX2" fmla="*/ 3072982 w 3082197"/>
              <a:gd name="connsiteY2" fmla="*/ 6654179 h 6654179"/>
              <a:gd name="connsiteX3" fmla="*/ 579722 w 3082197"/>
              <a:gd name="connsiteY3" fmla="*/ 6643957 h 6654179"/>
              <a:gd name="connsiteX4" fmla="*/ 0 w 3082197"/>
              <a:gd name="connsiteY4" fmla="*/ 6064235 h 6654179"/>
              <a:gd name="connsiteX5" fmla="*/ 0 w 3082197"/>
              <a:gd name="connsiteY5" fmla="*/ 1656 h 6654179"/>
              <a:gd name="connsiteX0" fmla="*/ 0 w 3082197"/>
              <a:gd name="connsiteY0" fmla="*/ 1316107 h 6654179"/>
              <a:gd name="connsiteX1" fmla="*/ 3082144 w 3082197"/>
              <a:gd name="connsiteY1" fmla="*/ 0 h 6654179"/>
              <a:gd name="connsiteX2" fmla="*/ 3072982 w 3082197"/>
              <a:gd name="connsiteY2" fmla="*/ 6654179 h 6654179"/>
              <a:gd name="connsiteX3" fmla="*/ 579722 w 3082197"/>
              <a:gd name="connsiteY3" fmla="*/ 6643957 h 6654179"/>
              <a:gd name="connsiteX4" fmla="*/ 0 w 3082197"/>
              <a:gd name="connsiteY4" fmla="*/ 6064235 h 6654179"/>
              <a:gd name="connsiteX5" fmla="*/ 0 w 3082197"/>
              <a:gd name="connsiteY5" fmla="*/ 1316107 h 6654179"/>
              <a:gd name="connsiteX0" fmla="*/ 0 w 3082197"/>
              <a:gd name="connsiteY0" fmla="*/ 1657 h 5339729"/>
              <a:gd name="connsiteX1" fmla="*/ 3082144 w 3082197"/>
              <a:gd name="connsiteY1" fmla="*/ 0 h 5339729"/>
              <a:gd name="connsiteX2" fmla="*/ 3072982 w 3082197"/>
              <a:gd name="connsiteY2" fmla="*/ 5339729 h 5339729"/>
              <a:gd name="connsiteX3" fmla="*/ 579722 w 3082197"/>
              <a:gd name="connsiteY3" fmla="*/ 5329507 h 5339729"/>
              <a:gd name="connsiteX4" fmla="*/ 0 w 3082197"/>
              <a:gd name="connsiteY4" fmla="*/ 4749785 h 5339729"/>
              <a:gd name="connsiteX5" fmla="*/ 0 w 3082197"/>
              <a:gd name="connsiteY5" fmla="*/ 1657 h 5339729"/>
              <a:gd name="connsiteX0" fmla="*/ 0 w 3082197"/>
              <a:gd name="connsiteY0" fmla="*/ 2202416 h 5339729"/>
              <a:gd name="connsiteX1" fmla="*/ 3082144 w 3082197"/>
              <a:gd name="connsiteY1" fmla="*/ 0 h 5339729"/>
              <a:gd name="connsiteX2" fmla="*/ 3072982 w 3082197"/>
              <a:gd name="connsiteY2" fmla="*/ 5339729 h 5339729"/>
              <a:gd name="connsiteX3" fmla="*/ 579722 w 3082197"/>
              <a:gd name="connsiteY3" fmla="*/ 5329507 h 5339729"/>
              <a:gd name="connsiteX4" fmla="*/ 0 w 3082197"/>
              <a:gd name="connsiteY4" fmla="*/ 4749785 h 5339729"/>
              <a:gd name="connsiteX5" fmla="*/ 0 w 3082197"/>
              <a:gd name="connsiteY5" fmla="*/ 2202416 h 5339729"/>
              <a:gd name="connsiteX0" fmla="*/ 0 w 3082197"/>
              <a:gd name="connsiteY0" fmla="*/ 1656 h 3138969"/>
              <a:gd name="connsiteX1" fmla="*/ 3082144 w 3082197"/>
              <a:gd name="connsiteY1" fmla="*/ 0 h 3138969"/>
              <a:gd name="connsiteX2" fmla="*/ 3072982 w 3082197"/>
              <a:gd name="connsiteY2" fmla="*/ 3138969 h 3138969"/>
              <a:gd name="connsiteX3" fmla="*/ 579722 w 3082197"/>
              <a:gd name="connsiteY3" fmla="*/ 3128747 h 3138969"/>
              <a:gd name="connsiteX4" fmla="*/ 0 w 3082197"/>
              <a:gd name="connsiteY4" fmla="*/ 2549025 h 3138969"/>
              <a:gd name="connsiteX5" fmla="*/ 0 w 3082197"/>
              <a:gd name="connsiteY5" fmla="*/ 1656 h 3138969"/>
              <a:gd name="connsiteX0" fmla="*/ 0 w 3082145"/>
              <a:gd name="connsiteY0" fmla="*/ 1656 h 3150544"/>
              <a:gd name="connsiteX1" fmla="*/ 3082144 w 3082145"/>
              <a:gd name="connsiteY1" fmla="*/ 0 h 3150544"/>
              <a:gd name="connsiteX2" fmla="*/ 2772041 w 3082145"/>
              <a:gd name="connsiteY2" fmla="*/ 3150544 h 3150544"/>
              <a:gd name="connsiteX3" fmla="*/ 579722 w 3082145"/>
              <a:gd name="connsiteY3" fmla="*/ 3128747 h 3150544"/>
              <a:gd name="connsiteX4" fmla="*/ 0 w 3082145"/>
              <a:gd name="connsiteY4" fmla="*/ 2549025 h 3150544"/>
              <a:gd name="connsiteX5" fmla="*/ 0 w 3082145"/>
              <a:gd name="connsiteY5" fmla="*/ 1656 h 3150544"/>
              <a:gd name="connsiteX0" fmla="*/ 0 w 2772041"/>
              <a:gd name="connsiteY0" fmla="*/ 1656 h 3150544"/>
              <a:gd name="connsiteX1" fmla="*/ 2769627 w 2772041"/>
              <a:gd name="connsiteY1" fmla="*/ 0 h 3150544"/>
              <a:gd name="connsiteX2" fmla="*/ 2772041 w 2772041"/>
              <a:gd name="connsiteY2" fmla="*/ 3150544 h 3150544"/>
              <a:gd name="connsiteX3" fmla="*/ 579722 w 2772041"/>
              <a:gd name="connsiteY3" fmla="*/ 3128747 h 3150544"/>
              <a:gd name="connsiteX4" fmla="*/ 0 w 2772041"/>
              <a:gd name="connsiteY4" fmla="*/ 2549025 h 3150544"/>
              <a:gd name="connsiteX5" fmla="*/ 0 w 2772041"/>
              <a:gd name="connsiteY5" fmla="*/ 1656 h 3150544"/>
              <a:gd name="connsiteX0" fmla="*/ 0 w 2772041"/>
              <a:gd name="connsiteY0" fmla="*/ 1656 h 3138969"/>
              <a:gd name="connsiteX1" fmla="*/ 2769627 w 2772041"/>
              <a:gd name="connsiteY1" fmla="*/ 0 h 3138969"/>
              <a:gd name="connsiteX2" fmla="*/ 2772041 w 2772041"/>
              <a:gd name="connsiteY2" fmla="*/ 3138969 h 3138969"/>
              <a:gd name="connsiteX3" fmla="*/ 579722 w 2772041"/>
              <a:gd name="connsiteY3" fmla="*/ 3128747 h 3138969"/>
              <a:gd name="connsiteX4" fmla="*/ 0 w 2772041"/>
              <a:gd name="connsiteY4" fmla="*/ 2549025 h 3138969"/>
              <a:gd name="connsiteX5" fmla="*/ 0 w 2772041"/>
              <a:gd name="connsiteY5" fmla="*/ 1656 h 3138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72041" h="3138969">
                <a:moveTo>
                  <a:pt x="0" y="1656"/>
                </a:moveTo>
                <a:lnTo>
                  <a:pt x="2769627" y="0"/>
                </a:lnTo>
                <a:cubicBezTo>
                  <a:pt x="2770532" y="2146807"/>
                  <a:pt x="2771136" y="992162"/>
                  <a:pt x="2772041" y="3138969"/>
                </a:cubicBezTo>
                <a:lnTo>
                  <a:pt x="579722" y="3128747"/>
                </a:lnTo>
                <a:cubicBezTo>
                  <a:pt x="259550" y="3128747"/>
                  <a:pt x="0" y="2869197"/>
                  <a:pt x="0" y="2549025"/>
                </a:cubicBezTo>
                <a:lnTo>
                  <a:pt x="0" y="1656"/>
                </a:lnTo>
                <a:close/>
              </a:path>
            </a:pathLst>
          </a:custGeom>
          <a:noFill/>
        </p:spPr>
        <p:txBody>
          <a:bodyPr>
            <a:normAutofit/>
          </a:bodyPr>
          <a:lstStyle>
            <a:lvl1pPr marL="0" indent="0">
              <a:buNone/>
              <a:defRPr sz="1400">
                <a:solidFill>
                  <a:schemeClr val="tx1"/>
                </a:solidFill>
              </a:defRPr>
            </a:lvl1pPr>
          </a:lstStyle>
          <a:p>
            <a:r>
              <a:rPr lang="en-JP" dirty="0"/>
              <a:t>Insert Picture/Text Block</a:t>
            </a:r>
          </a:p>
        </p:txBody>
      </p:sp>
      <p:sp>
        <p:nvSpPr>
          <p:cNvPr id="25" name="Picture Placeholder 9">
            <a:extLst>
              <a:ext uri="{FF2B5EF4-FFF2-40B4-BE49-F238E27FC236}">
                <a16:creationId xmlns:a16="http://schemas.microsoft.com/office/drawing/2014/main" id="{E01CF285-75D7-154A-ACF2-9393FB0B38D0}"/>
              </a:ext>
            </a:extLst>
          </p:cNvPr>
          <p:cNvSpPr>
            <a:spLocks noGrp="1"/>
          </p:cNvSpPr>
          <p:nvPr>
            <p:ph type="pic" sz="quarter" idx="20" hasCustomPrompt="1"/>
          </p:nvPr>
        </p:nvSpPr>
        <p:spPr>
          <a:xfrm>
            <a:off x="6177615" y="3076286"/>
            <a:ext cx="2772041" cy="3138969"/>
          </a:xfrm>
          <a:custGeom>
            <a:avLst/>
            <a:gdLst>
              <a:gd name="connsiteX0" fmla="*/ 0 w 10888662"/>
              <a:gd name="connsiteY0" fmla="*/ 579722 h 6442075"/>
              <a:gd name="connsiteX1" fmla="*/ 579722 w 10888662"/>
              <a:gd name="connsiteY1" fmla="*/ 0 h 6442075"/>
              <a:gd name="connsiteX2" fmla="*/ 10308940 w 10888662"/>
              <a:gd name="connsiteY2" fmla="*/ 0 h 6442075"/>
              <a:gd name="connsiteX3" fmla="*/ 10888662 w 10888662"/>
              <a:gd name="connsiteY3" fmla="*/ 579722 h 6442075"/>
              <a:gd name="connsiteX4" fmla="*/ 10888662 w 10888662"/>
              <a:gd name="connsiteY4" fmla="*/ 5862353 h 6442075"/>
              <a:gd name="connsiteX5" fmla="*/ 10308940 w 10888662"/>
              <a:gd name="connsiteY5" fmla="*/ 6442075 h 6442075"/>
              <a:gd name="connsiteX6" fmla="*/ 579722 w 10888662"/>
              <a:gd name="connsiteY6" fmla="*/ 6442075 h 6442075"/>
              <a:gd name="connsiteX7" fmla="*/ 0 w 10888662"/>
              <a:gd name="connsiteY7" fmla="*/ 5862353 h 6442075"/>
              <a:gd name="connsiteX8" fmla="*/ 0 w 10888662"/>
              <a:gd name="connsiteY8" fmla="*/ 579722 h 6442075"/>
              <a:gd name="connsiteX0" fmla="*/ 0 w 10888662"/>
              <a:gd name="connsiteY0" fmla="*/ 659657 h 6522010"/>
              <a:gd name="connsiteX1" fmla="*/ 10308940 w 10888662"/>
              <a:gd name="connsiteY1" fmla="*/ 79935 h 6522010"/>
              <a:gd name="connsiteX2" fmla="*/ 10888662 w 10888662"/>
              <a:gd name="connsiteY2" fmla="*/ 659657 h 6522010"/>
              <a:gd name="connsiteX3" fmla="*/ 10888662 w 10888662"/>
              <a:gd name="connsiteY3" fmla="*/ 5942288 h 6522010"/>
              <a:gd name="connsiteX4" fmla="*/ 10308940 w 10888662"/>
              <a:gd name="connsiteY4" fmla="*/ 6522010 h 6522010"/>
              <a:gd name="connsiteX5" fmla="*/ 579722 w 10888662"/>
              <a:gd name="connsiteY5" fmla="*/ 6522010 h 6522010"/>
              <a:gd name="connsiteX6" fmla="*/ 0 w 10888662"/>
              <a:gd name="connsiteY6" fmla="*/ 5942288 h 6522010"/>
              <a:gd name="connsiteX7" fmla="*/ 0 w 10888662"/>
              <a:gd name="connsiteY7" fmla="*/ 659657 h 6522010"/>
              <a:gd name="connsiteX0" fmla="*/ 0 w 10888662"/>
              <a:gd name="connsiteY0" fmla="*/ 579722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579722 h 6442075"/>
              <a:gd name="connsiteX0" fmla="*/ 0 w 10888662"/>
              <a:gd name="connsiteY0" fmla="*/ 129257 h 6569679"/>
              <a:gd name="connsiteX1" fmla="*/ 10308940 w 10888662"/>
              <a:gd name="connsiteY1" fmla="*/ 127604 h 6569679"/>
              <a:gd name="connsiteX2" fmla="*/ 10888662 w 10888662"/>
              <a:gd name="connsiteY2" fmla="*/ 707326 h 6569679"/>
              <a:gd name="connsiteX3" fmla="*/ 10888662 w 10888662"/>
              <a:gd name="connsiteY3" fmla="*/ 5989957 h 6569679"/>
              <a:gd name="connsiteX4" fmla="*/ 10308940 w 10888662"/>
              <a:gd name="connsiteY4" fmla="*/ 6569679 h 6569679"/>
              <a:gd name="connsiteX5" fmla="*/ 579722 w 10888662"/>
              <a:gd name="connsiteY5" fmla="*/ 6569679 h 6569679"/>
              <a:gd name="connsiteX6" fmla="*/ 0 w 10888662"/>
              <a:gd name="connsiteY6" fmla="*/ 5989957 h 6569679"/>
              <a:gd name="connsiteX7" fmla="*/ 0 w 10888662"/>
              <a:gd name="connsiteY7" fmla="*/ 129257 h 6569679"/>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9657299 w 10888662"/>
              <a:gd name="connsiteY4" fmla="*/ 55276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522010"/>
              <a:gd name="connsiteX1" fmla="*/ 10308940 w 10888662"/>
              <a:gd name="connsiteY1" fmla="*/ 0 h 6522010"/>
              <a:gd name="connsiteX2" fmla="*/ 10888662 w 10888662"/>
              <a:gd name="connsiteY2" fmla="*/ 579722 h 6522010"/>
              <a:gd name="connsiteX3" fmla="*/ 10888662 w 10888662"/>
              <a:gd name="connsiteY3" fmla="*/ 5862353 h 6522010"/>
              <a:gd name="connsiteX4" fmla="*/ 579722 w 10888662"/>
              <a:gd name="connsiteY4" fmla="*/ 6442075 h 6522010"/>
              <a:gd name="connsiteX5" fmla="*/ 0 w 10888662"/>
              <a:gd name="connsiteY5" fmla="*/ 5862353 h 6522010"/>
              <a:gd name="connsiteX6" fmla="*/ 0 w 10888662"/>
              <a:gd name="connsiteY6" fmla="*/ 1653 h 6522010"/>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579722 w 10888662"/>
              <a:gd name="connsiteY4" fmla="*/ 6442075 h 6442075"/>
              <a:gd name="connsiteX5" fmla="*/ 0 w 10888662"/>
              <a:gd name="connsiteY5" fmla="*/ 5862353 h 6442075"/>
              <a:gd name="connsiteX6" fmla="*/ 0 w 10888662"/>
              <a:gd name="connsiteY6" fmla="*/ 1653 h 6442075"/>
              <a:gd name="connsiteX0" fmla="*/ 0 w 10888662"/>
              <a:gd name="connsiteY0" fmla="*/ 1653 h 6585432"/>
              <a:gd name="connsiteX1" fmla="*/ 10308940 w 10888662"/>
              <a:gd name="connsiteY1" fmla="*/ 0 h 6585432"/>
              <a:gd name="connsiteX2" fmla="*/ 10888662 w 10888662"/>
              <a:gd name="connsiteY2" fmla="*/ 579722 h 6585432"/>
              <a:gd name="connsiteX3" fmla="*/ 10878151 w 10888662"/>
              <a:gd name="connsiteY3" fmla="*/ 6461442 h 6585432"/>
              <a:gd name="connsiteX4" fmla="*/ 579722 w 10888662"/>
              <a:gd name="connsiteY4" fmla="*/ 6442075 h 6585432"/>
              <a:gd name="connsiteX5" fmla="*/ 0 w 10888662"/>
              <a:gd name="connsiteY5" fmla="*/ 5862353 h 6585432"/>
              <a:gd name="connsiteX6" fmla="*/ 0 w 10888662"/>
              <a:gd name="connsiteY6" fmla="*/ 1653 h 6585432"/>
              <a:gd name="connsiteX0" fmla="*/ 0 w 10888662"/>
              <a:gd name="connsiteY0" fmla="*/ 1653 h 6577502"/>
              <a:gd name="connsiteX1" fmla="*/ 10308940 w 10888662"/>
              <a:gd name="connsiteY1" fmla="*/ 0 h 6577502"/>
              <a:gd name="connsiteX2" fmla="*/ 10888662 w 10888662"/>
              <a:gd name="connsiteY2" fmla="*/ 579722 h 6577502"/>
              <a:gd name="connsiteX3" fmla="*/ 10878151 w 10888662"/>
              <a:gd name="connsiteY3" fmla="*/ 6450932 h 6577502"/>
              <a:gd name="connsiteX4" fmla="*/ 579722 w 10888662"/>
              <a:gd name="connsiteY4" fmla="*/ 6442075 h 6577502"/>
              <a:gd name="connsiteX5" fmla="*/ 0 w 10888662"/>
              <a:gd name="connsiteY5" fmla="*/ 5862353 h 6577502"/>
              <a:gd name="connsiteX6" fmla="*/ 0 w 10888662"/>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0888662"/>
              <a:gd name="connsiteY0" fmla="*/ 1653 h 6450932"/>
              <a:gd name="connsiteX1" fmla="*/ 10308940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0999550"/>
              <a:gd name="connsiteY0" fmla="*/ 1653 h 6450932"/>
              <a:gd name="connsiteX1" fmla="*/ 10844968 w 10999550"/>
              <a:gd name="connsiteY1" fmla="*/ 0 h 6450932"/>
              <a:gd name="connsiteX2" fmla="*/ 10888662 w 10999550"/>
              <a:gd name="connsiteY2" fmla="*/ 579722 h 6450932"/>
              <a:gd name="connsiteX3" fmla="*/ 10878151 w 10999550"/>
              <a:gd name="connsiteY3" fmla="*/ 6450932 h 6450932"/>
              <a:gd name="connsiteX4" fmla="*/ 579722 w 10999550"/>
              <a:gd name="connsiteY4" fmla="*/ 6442075 h 6450932"/>
              <a:gd name="connsiteX5" fmla="*/ 0 w 10999550"/>
              <a:gd name="connsiteY5" fmla="*/ 5862353 h 6450932"/>
              <a:gd name="connsiteX6" fmla="*/ 0 w 10999550"/>
              <a:gd name="connsiteY6" fmla="*/ 1653 h 6450932"/>
              <a:gd name="connsiteX0" fmla="*/ 0 w 11022020"/>
              <a:gd name="connsiteY0" fmla="*/ 1653 h 6450932"/>
              <a:gd name="connsiteX1" fmla="*/ 10876499 w 11022020"/>
              <a:gd name="connsiteY1" fmla="*/ 0 h 6450932"/>
              <a:gd name="connsiteX2" fmla="*/ 10888662 w 11022020"/>
              <a:gd name="connsiteY2" fmla="*/ 579722 h 6450932"/>
              <a:gd name="connsiteX3" fmla="*/ 10878151 w 11022020"/>
              <a:gd name="connsiteY3" fmla="*/ 6450932 h 6450932"/>
              <a:gd name="connsiteX4" fmla="*/ 579722 w 11022020"/>
              <a:gd name="connsiteY4" fmla="*/ 6442075 h 6450932"/>
              <a:gd name="connsiteX5" fmla="*/ 0 w 11022020"/>
              <a:gd name="connsiteY5" fmla="*/ 5862353 h 6450932"/>
              <a:gd name="connsiteX6" fmla="*/ 0 w 11022020"/>
              <a:gd name="connsiteY6" fmla="*/ 1653 h 6450932"/>
              <a:gd name="connsiteX0" fmla="*/ 0 w 10888662"/>
              <a:gd name="connsiteY0" fmla="*/ 1653 h 6450932"/>
              <a:gd name="connsiteX1" fmla="*/ 10876499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2200990"/>
              <a:gd name="connsiteY0" fmla="*/ 1653 h 6450932"/>
              <a:gd name="connsiteX1" fmla="*/ 10876499 w 12200990"/>
              <a:gd name="connsiteY1" fmla="*/ 0 h 6450932"/>
              <a:gd name="connsiteX2" fmla="*/ 10878151 w 12200990"/>
              <a:gd name="connsiteY2" fmla="*/ 6450932 h 6450932"/>
              <a:gd name="connsiteX3" fmla="*/ 579722 w 12200990"/>
              <a:gd name="connsiteY3" fmla="*/ 6442075 h 6450932"/>
              <a:gd name="connsiteX4" fmla="*/ 0 w 12200990"/>
              <a:gd name="connsiteY4" fmla="*/ 5862353 h 6450932"/>
              <a:gd name="connsiteX5" fmla="*/ 0 w 12200990"/>
              <a:gd name="connsiteY5" fmla="*/ 1653 h 6450932"/>
              <a:gd name="connsiteX0" fmla="*/ 0 w 11640630"/>
              <a:gd name="connsiteY0" fmla="*/ 1653 h 6450932"/>
              <a:gd name="connsiteX1" fmla="*/ 10876499 w 11640630"/>
              <a:gd name="connsiteY1" fmla="*/ 0 h 6450932"/>
              <a:gd name="connsiteX2" fmla="*/ 10878151 w 11640630"/>
              <a:gd name="connsiteY2" fmla="*/ 6450932 h 6450932"/>
              <a:gd name="connsiteX3" fmla="*/ 579722 w 11640630"/>
              <a:gd name="connsiteY3" fmla="*/ 6442075 h 6450932"/>
              <a:gd name="connsiteX4" fmla="*/ 0 w 11640630"/>
              <a:gd name="connsiteY4" fmla="*/ 5862353 h 6450932"/>
              <a:gd name="connsiteX5" fmla="*/ 0 w 11640630"/>
              <a:gd name="connsiteY5" fmla="*/ 1653 h 6450932"/>
              <a:gd name="connsiteX0" fmla="*/ 0 w 10878151"/>
              <a:gd name="connsiteY0" fmla="*/ 1653 h 6450932"/>
              <a:gd name="connsiteX1" fmla="*/ 10876499 w 10878151"/>
              <a:gd name="connsiteY1" fmla="*/ 0 h 6450932"/>
              <a:gd name="connsiteX2" fmla="*/ 10878151 w 10878151"/>
              <a:gd name="connsiteY2" fmla="*/ 6450932 h 6450932"/>
              <a:gd name="connsiteX3" fmla="*/ 579722 w 10878151"/>
              <a:gd name="connsiteY3" fmla="*/ 6442075 h 6450932"/>
              <a:gd name="connsiteX4" fmla="*/ 0 w 10878151"/>
              <a:gd name="connsiteY4" fmla="*/ 5862353 h 6450932"/>
              <a:gd name="connsiteX5" fmla="*/ 0 w 10878151"/>
              <a:gd name="connsiteY5" fmla="*/ 1653 h 6450932"/>
              <a:gd name="connsiteX0" fmla="*/ 0 w 11843451"/>
              <a:gd name="connsiteY0" fmla="*/ 1653 h 6450932"/>
              <a:gd name="connsiteX1" fmla="*/ 11843451 w 11843451"/>
              <a:gd name="connsiteY1" fmla="*/ 0 h 6450932"/>
              <a:gd name="connsiteX2" fmla="*/ 10878151 w 11843451"/>
              <a:gd name="connsiteY2" fmla="*/ 6450932 h 6450932"/>
              <a:gd name="connsiteX3" fmla="*/ 579722 w 11843451"/>
              <a:gd name="connsiteY3" fmla="*/ 6442075 h 6450932"/>
              <a:gd name="connsiteX4" fmla="*/ 0 w 11843451"/>
              <a:gd name="connsiteY4" fmla="*/ 5862353 h 6450932"/>
              <a:gd name="connsiteX5" fmla="*/ 0 w 11843451"/>
              <a:gd name="connsiteY5" fmla="*/ 1653 h 6450932"/>
              <a:gd name="connsiteX0" fmla="*/ 0 w 11855613"/>
              <a:gd name="connsiteY0" fmla="*/ 1653 h 6450932"/>
              <a:gd name="connsiteX1" fmla="*/ 11843451 w 11855613"/>
              <a:gd name="connsiteY1" fmla="*/ 0 h 6450932"/>
              <a:gd name="connsiteX2" fmla="*/ 11855613 w 11855613"/>
              <a:gd name="connsiteY2" fmla="*/ 6450932 h 6450932"/>
              <a:gd name="connsiteX3" fmla="*/ 579722 w 11855613"/>
              <a:gd name="connsiteY3" fmla="*/ 6442075 h 6450932"/>
              <a:gd name="connsiteX4" fmla="*/ 0 w 11855613"/>
              <a:gd name="connsiteY4" fmla="*/ 5862353 h 6450932"/>
              <a:gd name="connsiteX5" fmla="*/ 0 w 11855613"/>
              <a:gd name="connsiteY5" fmla="*/ 1653 h 6450932"/>
              <a:gd name="connsiteX0" fmla="*/ 0 w 11864472"/>
              <a:gd name="connsiteY0" fmla="*/ 1653 h 6450932"/>
              <a:gd name="connsiteX1" fmla="*/ 11864472 w 11864472"/>
              <a:gd name="connsiteY1" fmla="*/ 0 h 6450932"/>
              <a:gd name="connsiteX2" fmla="*/ 11855613 w 11864472"/>
              <a:gd name="connsiteY2" fmla="*/ 6450932 h 6450932"/>
              <a:gd name="connsiteX3" fmla="*/ 579722 w 11864472"/>
              <a:gd name="connsiteY3" fmla="*/ 6442075 h 6450932"/>
              <a:gd name="connsiteX4" fmla="*/ 0 w 11864472"/>
              <a:gd name="connsiteY4" fmla="*/ 5862353 h 6450932"/>
              <a:gd name="connsiteX5" fmla="*/ 0 w 11864472"/>
              <a:gd name="connsiteY5" fmla="*/ 1653 h 6450932"/>
              <a:gd name="connsiteX0" fmla="*/ 0 w 11864472"/>
              <a:gd name="connsiteY0" fmla="*/ 1653 h 6442075"/>
              <a:gd name="connsiteX1" fmla="*/ 11864472 w 11864472"/>
              <a:gd name="connsiteY1" fmla="*/ 0 h 6442075"/>
              <a:gd name="connsiteX2" fmla="*/ 11855613 w 11864472"/>
              <a:gd name="connsiteY2" fmla="*/ 6440421 h 6442075"/>
              <a:gd name="connsiteX3" fmla="*/ 579722 w 11864472"/>
              <a:gd name="connsiteY3" fmla="*/ 6442075 h 6442075"/>
              <a:gd name="connsiteX4" fmla="*/ 0 w 11864472"/>
              <a:gd name="connsiteY4" fmla="*/ 5862353 h 6442075"/>
              <a:gd name="connsiteX5" fmla="*/ 0 w 11864472"/>
              <a:gd name="connsiteY5" fmla="*/ 1653 h 6442075"/>
              <a:gd name="connsiteX0" fmla="*/ 0 w 11855613"/>
              <a:gd name="connsiteY0" fmla="*/ 1653 h 6442075"/>
              <a:gd name="connsiteX1" fmla="*/ 8912928 w 11855613"/>
              <a:gd name="connsiteY1" fmla="*/ 0 h 6442075"/>
              <a:gd name="connsiteX2" fmla="*/ 11855613 w 11855613"/>
              <a:gd name="connsiteY2" fmla="*/ 6440421 h 6442075"/>
              <a:gd name="connsiteX3" fmla="*/ 579722 w 11855613"/>
              <a:gd name="connsiteY3" fmla="*/ 6442075 h 6442075"/>
              <a:gd name="connsiteX4" fmla="*/ 0 w 11855613"/>
              <a:gd name="connsiteY4" fmla="*/ 5862353 h 6442075"/>
              <a:gd name="connsiteX5" fmla="*/ 0 w 11855613"/>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74032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36077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1615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15642"/>
              <a:gd name="connsiteY0" fmla="*/ 1653 h 6442075"/>
              <a:gd name="connsiteX1" fmla="*/ 8912928 w 8915642"/>
              <a:gd name="connsiteY1" fmla="*/ 0 h 6442075"/>
              <a:gd name="connsiteX2" fmla="*/ 8915642 w 8915642"/>
              <a:gd name="connsiteY2" fmla="*/ 6440421 h 6442075"/>
              <a:gd name="connsiteX3" fmla="*/ 579722 w 8915642"/>
              <a:gd name="connsiteY3" fmla="*/ 6442075 h 6442075"/>
              <a:gd name="connsiteX4" fmla="*/ 0 w 8915642"/>
              <a:gd name="connsiteY4" fmla="*/ 5862353 h 6442075"/>
              <a:gd name="connsiteX5" fmla="*/ 0 w 8915642"/>
              <a:gd name="connsiteY5" fmla="*/ 1653 h 6442075"/>
              <a:gd name="connsiteX0" fmla="*/ 0 w 8915642"/>
              <a:gd name="connsiteY0" fmla="*/ 1 h 6618553"/>
              <a:gd name="connsiteX1" fmla="*/ 8912928 w 8915642"/>
              <a:gd name="connsiteY1" fmla="*/ 176478 h 6618553"/>
              <a:gd name="connsiteX2" fmla="*/ 8915642 w 8915642"/>
              <a:gd name="connsiteY2" fmla="*/ 6616899 h 6618553"/>
              <a:gd name="connsiteX3" fmla="*/ 579722 w 8915642"/>
              <a:gd name="connsiteY3" fmla="*/ 6618553 h 6618553"/>
              <a:gd name="connsiteX4" fmla="*/ 0 w 8915642"/>
              <a:gd name="connsiteY4" fmla="*/ 6038831 h 6618553"/>
              <a:gd name="connsiteX5" fmla="*/ 0 w 8915642"/>
              <a:gd name="connsiteY5" fmla="*/ 1 h 6618553"/>
              <a:gd name="connsiteX0" fmla="*/ 0 w 8915642"/>
              <a:gd name="connsiteY0" fmla="*/ 25404 h 6643956"/>
              <a:gd name="connsiteX1" fmla="*/ 6015348 w 8915642"/>
              <a:gd name="connsiteY1" fmla="*/ 0 h 6643956"/>
              <a:gd name="connsiteX2" fmla="*/ 8915642 w 8915642"/>
              <a:gd name="connsiteY2" fmla="*/ 6642302 h 6643956"/>
              <a:gd name="connsiteX3" fmla="*/ 579722 w 8915642"/>
              <a:gd name="connsiteY3" fmla="*/ 6643956 h 6643956"/>
              <a:gd name="connsiteX4" fmla="*/ 0 w 8915642"/>
              <a:gd name="connsiteY4" fmla="*/ 6064234 h 6643956"/>
              <a:gd name="connsiteX5" fmla="*/ 0 w 8915642"/>
              <a:gd name="connsiteY5" fmla="*/ 25404 h 6643956"/>
              <a:gd name="connsiteX0" fmla="*/ 0 w 8915642"/>
              <a:gd name="connsiteY0" fmla="*/ 1653 h 6620205"/>
              <a:gd name="connsiteX1" fmla="*/ 6003473 w 8915642"/>
              <a:gd name="connsiteY1" fmla="*/ 0 h 6620205"/>
              <a:gd name="connsiteX2" fmla="*/ 8915642 w 8915642"/>
              <a:gd name="connsiteY2" fmla="*/ 6618551 h 6620205"/>
              <a:gd name="connsiteX3" fmla="*/ 579722 w 8915642"/>
              <a:gd name="connsiteY3" fmla="*/ 6620205 h 6620205"/>
              <a:gd name="connsiteX4" fmla="*/ 0 w 8915642"/>
              <a:gd name="connsiteY4" fmla="*/ 6040483 h 6620205"/>
              <a:gd name="connsiteX5" fmla="*/ 0 w 8915642"/>
              <a:gd name="connsiteY5" fmla="*/ 1653 h 6620205"/>
              <a:gd name="connsiteX0" fmla="*/ 0 w 8915642"/>
              <a:gd name="connsiteY0" fmla="*/ 96656 h 6620205"/>
              <a:gd name="connsiteX1" fmla="*/ 6003473 w 8915642"/>
              <a:gd name="connsiteY1" fmla="*/ 0 h 6620205"/>
              <a:gd name="connsiteX2" fmla="*/ 8915642 w 8915642"/>
              <a:gd name="connsiteY2" fmla="*/ 6618551 h 6620205"/>
              <a:gd name="connsiteX3" fmla="*/ 579722 w 8915642"/>
              <a:gd name="connsiteY3" fmla="*/ 6620205 h 6620205"/>
              <a:gd name="connsiteX4" fmla="*/ 0 w 8915642"/>
              <a:gd name="connsiteY4" fmla="*/ 6040483 h 6620205"/>
              <a:gd name="connsiteX5" fmla="*/ 0 w 8915642"/>
              <a:gd name="connsiteY5" fmla="*/ 96656 h 6620205"/>
              <a:gd name="connsiteX0" fmla="*/ 0 w 8915642"/>
              <a:gd name="connsiteY0" fmla="*/ 0 h 6642302"/>
              <a:gd name="connsiteX1" fmla="*/ 6003473 w 8915642"/>
              <a:gd name="connsiteY1" fmla="*/ 22097 h 6642302"/>
              <a:gd name="connsiteX2" fmla="*/ 8915642 w 8915642"/>
              <a:gd name="connsiteY2" fmla="*/ 6640648 h 6642302"/>
              <a:gd name="connsiteX3" fmla="*/ 579722 w 8915642"/>
              <a:gd name="connsiteY3" fmla="*/ 6642302 h 6642302"/>
              <a:gd name="connsiteX4" fmla="*/ 0 w 8915642"/>
              <a:gd name="connsiteY4" fmla="*/ 6062580 h 6642302"/>
              <a:gd name="connsiteX5" fmla="*/ 0 w 8915642"/>
              <a:gd name="connsiteY5" fmla="*/ 0 h 6642302"/>
              <a:gd name="connsiteX0" fmla="*/ 0 w 8915642"/>
              <a:gd name="connsiteY0" fmla="*/ 0 h 6642302"/>
              <a:gd name="connsiteX1" fmla="*/ 5932221 w 8915642"/>
              <a:gd name="connsiteY1" fmla="*/ 152725 h 6642302"/>
              <a:gd name="connsiteX2" fmla="*/ 8915642 w 8915642"/>
              <a:gd name="connsiteY2" fmla="*/ 6640648 h 6642302"/>
              <a:gd name="connsiteX3" fmla="*/ 579722 w 8915642"/>
              <a:gd name="connsiteY3" fmla="*/ 6642302 h 6642302"/>
              <a:gd name="connsiteX4" fmla="*/ 0 w 8915642"/>
              <a:gd name="connsiteY4" fmla="*/ 6062580 h 6642302"/>
              <a:gd name="connsiteX5" fmla="*/ 0 w 8915642"/>
              <a:gd name="connsiteY5" fmla="*/ 0 h 6642302"/>
              <a:gd name="connsiteX0" fmla="*/ 0 w 8915642"/>
              <a:gd name="connsiteY0" fmla="*/ 1654 h 6643956"/>
              <a:gd name="connsiteX1" fmla="*/ 6003473 w 8915642"/>
              <a:gd name="connsiteY1" fmla="*/ 0 h 6643956"/>
              <a:gd name="connsiteX2" fmla="*/ 8915642 w 8915642"/>
              <a:gd name="connsiteY2" fmla="*/ 6642302 h 6643956"/>
              <a:gd name="connsiteX3" fmla="*/ 579722 w 8915642"/>
              <a:gd name="connsiteY3" fmla="*/ 6643956 h 6643956"/>
              <a:gd name="connsiteX4" fmla="*/ 0 w 8915642"/>
              <a:gd name="connsiteY4" fmla="*/ 6064234 h 6643956"/>
              <a:gd name="connsiteX5" fmla="*/ 0 w 8915642"/>
              <a:gd name="connsiteY5" fmla="*/ 1654 h 6643956"/>
              <a:gd name="connsiteX0" fmla="*/ 0 w 6018062"/>
              <a:gd name="connsiteY0" fmla="*/ 1654 h 6654178"/>
              <a:gd name="connsiteX1" fmla="*/ 6003473 w 6018062"/>
              <a:gd name="connsiteY1" fmla="*/ 0 h 6654178"/>
              <a:gd name="connsiteX2" fmla="*/ 6018062 w 6018062"/>
              <a:gd name="connsiteY2" fmla="*/ 6654178 h 6654178"/>
              <a:gd name="connsiteX3" fmla="*/ 579722 w 6018062"/>
              <a:gd name="connsiteY3" fmla="*/ 6643956 h 6654178"/>
              <a:gd name="connsiteX4" fmla="*/ 0 w 6018062"/>
              <a:gd name="connsiteY4" fmla="*/ 6064234 h 6654178"/>
              <a:gd name="connsiteX5" fmla="*/ 0 w 6018062"/>
              <a:gd name="connsiteY5" fmla="*/ 1654 h 6654178"/>
              <a:gd name="connsiteX0" fmla="*/ 0 w 6018062"/>
              <a:gd name="connsiteY0" fmla="*/ 203535 h 6654178"/>
              <a:gd name="connsiteX1" fmla="*/ 6003473 w 6018062"/>
              <a:gd name="connsiteY1" fmla="*/ 0 h 6654178"/>
              <a:gd name="connsiteX2" fmla="*/ 6018062 w 6018062"/>
              <a:gd name="connsiteY2" fmla="*/ 6654178 h 6654178"/>
              <a:gd name="connsiteX3" fmla="*/ 579722 w 6018062"/>
              <a:gd name="connsiteY3" fmla="*/ 6643956 h 6654178"/>
              <a:gd name="connsiteX4" fmla="*/ 0 w 6018062"/>
              <a:gd name="connsiteY4" fmla="*/ 6064234 h 6654178"/>
              <a:gd name="connsiteX5" fmla="*/ 0 w 6018062"/>
              <a:gd name="connsiteY5" fmla="*/ 203535 h 6654178"/>
              <a:gd name="connsiteX0" fmla="*/ 0 w 6018062"/>
              <a:gd name="connsiteY0" fmla="*/ 1655 h 6452298"/>
              <a:gd name="connsiteX1" fmla="*/ 4055920 w 6018062"/>
              <a:gd name="connsiteY1" fmla="*/ 0 h 6452298"/>
              <a:gd name="connsiteX2" fmla="*/ 6018062 w 6018062"/>
              <a:gd name="connsiteY2" fmla="*/ 6452298 h 6452298"/>
              <a:gd name="connsiteX3" fmla="*/ 579722 w 6018062"/>
              <a:gd name="connsiteY3" fmla="*/ 6442076 h 6452298"/>
              <a:gd name="connsiteX4" fmla="*/ 0 w 6018062"/>
              <a:gd name="connsiteY4" fmla="*/ 5862354 h 6452298"/>
              <a:gd name="connsiteX5" fmla="*/ 0 w 6018062"/>
              <a:gd name="connsiteY5" fmla="*/ 1655 h 6452298"/>
              <a:gd name="connsiteX0" fmla="*/ 0 w 4055973"/>
              <a:gd name="connsiteY0" fmla="*/ 1655 h 6452298"/>
              <a:gd name="connsiteX1" fmla="*/ 4055920 w 4055973"/>
              <a:gd name="connsiteY1" fmla="*/ 0 h 6452298"/>
              <a:gd name="connsiteX2" fmla="*/ 4046758 w 4055973"/>
              <a:gd name="connsiteY2" fmla="*/ 6452298 h 6452298"/>
              <a:gd name="connsiteX3" fmla="*/ 579722 w 4055973"/>
              <a:gd name="connsiteY3" fmla="*/ 6442076 h 6452298"/>
              <a:gd name="connsiteX4" fmla="*/ 0 w 4055973"/>
              <a:gd name="connsiteY4" fmla="*/ 5862354 h 6452298"/>
              <a:gd name="connsiteX5" fmla="*/ 0 w 4055973"/>
              <a:gd name="connsiteY5" fmla="*/ 1655 h 6452298"/>
              <a:gd name="connsiteX0" fmla="*/ 0 w 4055973"/>
              <a:gd name="connsiteY0" fmla="*/ 0 h 6652523"/>
              <a:gd name="connsiteX1" fmla="*/ 4055920 w 4055973"/>
              <a:gd name="connsiteY1" fmla="*/ 200225 h 6652523"/>
              <a:gd name="connsiteX2" fmla="*/ 4046758 w 4055973"/>
              <a:gd name="connsiteY2" fmla="*/ 6652523 h 6652523"/>
              <a:gd name="connsiteX3" fmla="*/ 579722 w 4055973"/>
              <a:gd name="connsiteY3" fmla="*/ 6642301 h 6652523"/>
              <a:gd name="connsiteX4" fmla="*/ 0 w 4055973"/>
              <a:gd name="connsiteY4" fmla="*/ 6062579 h 6652523"/>
              <a:gd name="connsiteX5" fmla="*/ 0 w 4055973"/>
              <a:gd name="connsiteY5" fmla="*/ 0 h 6652523"/>
              <a:gd name="connsiteX0" fmla="*/ 0 w 4046758"/>
              <a:gd name="connsiteY0" fmla="*/ 0 h 6652523"/>
              <a:gd name="connsiteX1" fmla="*/ 4044045 w 4046758"/>
              <a:gd name="connsiteY1" fmla="*/ 10220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4046758"/>
              <a:gd name="connsiteY0" fmla="*/ 1655 h 6654178"/>
              <a:gd name="connsiteX1" fmla="*/ 3082144 w 4046758"/>
              <a:gd name="connsiteY1" fmla="*/ 0 h 6654178"/>
              <a:gd name="connsiteX2" fmla="*/ 4046758 w 4046758"/>
              <a:gd name="connsiteY2" fmla="*/ 6654178 h 6654178"/>
              <a:gd name="connsiteX3" fmla="*/ 579722 w 4046758"/>
              <a:gd name="connsiteY3" fmla="*/ 6643956 h 6654178"/>
              <a:gd name="connsiteX4" fmla="*/ 0 w 4046758"/>
              <a:gd name="connsiteY4" fmla="*/ 6064234 h 6654178"/>
              <a:gd name="connsiteX5" fmla="*/ 0 w 4046758"/>
              <a:gd name="connsiteY5" fmla="*/ 1655 h 6654178"/>
              <a:gd name="connsiteX0" fmla="*/ 0 w 4046758"/>
              <a:gd name="connsiteY0" fmla="*/ 0 h 6652523"/>
              <a:gd name="connsiteX1" fmla="*/ 2975266 w 4046758"/>
              <a:gd name="connsiteY1" fmla="*/ 93348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4046758"/>
              <a:gd name="connsiteY0" fmla="*/ 0 h 6652523"/>
              <a:gd name="connsiteX1" fmla="*/ 3070268 w 4046758"/>
              <a:gd name="connsiteY1" fmla="*/ 10220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4046758"/>
              <a:gd name="connsiteY0" fmla="*/ 0 h 6652523"/>
              <a:gd name="connsiteX1" fmla="*/ 3082144 w 4046758"/>
              <a:gd name="connsiteY1" fmla="*/ 10220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3082197"/>
              <a:gd name="connsiteY0" fmla="*/ 0 h 6652523"/>
              <a:gd name="connsiteX1" fmla="*/ 3082144 w 3082197"/>
              <a:gd name="connsiteY1" fmla="*/ 10220 h 6652523"/>
              <a:gd name="connsiteX2" fmla="*/ 3072982 w 3082197"/>
              <a:gd name="connsiteY2" fmla="*/ 6652523 h 6652523"/>
              <a:gd name="connsiteX3" fmla="*/ 579722 w 3082197"/>
              <a:gd name="connsiteY3" fmla="*/ 6642301 h 6652523"/>
              <a:gd name="connsiteX4" fmla="*/ 0 w 3082197"/>
              <a:gd name="connsiteY4" fmla="*/ 6062579 h 6652523"/>
              <a:gd name="connsiteX5" fmla="*/ 0 w 3082197"/>
              <a:gd name="connsiteY5" fmla="*/ 0 h 6652523"/>
              <a:gd name="connsiteX0" fmla="*/ 0 w 3072982"/>
              <a:gd name="connsiteY0" fmla="*/ 0 h 6652523"/>
              <a:gd name="connsiteX1" fmla="*/ 3010892 w 3072982"/>
              <a:gd name="connsiteY1" fmla="*/ 164599 h 6652523"/>
              <a:gd name="connsiteX2" fmla="*/ 3072982 w 3072982"/>
              <a:gd name="connsiteY2" fmla="*/ 6652523 h 6652523"/>
              <a:gd name="connsiteX3" fmla="*/ 579722 w 3072982"/>
              <a:gd name="connsiteY3" fmla="*/ 6642301 h 6652523"/>
              <a:gd name="connsiteX4" fmla="*/ 0 w 3072982"/>
              <a:gd name="connsiteY4" fmla="*/ 6062579 h 6652523"/>
              <a:gd name="connsiteX5" fmla="*/ 0 w 3072982"/>
              <a:gd name="connsiteY5" fmla="*/ 0 h 6652523"/>
              <a:gd name="connsiteX0" fmla="*/ 0 w 3082197"/>
              <a:gd name="connsiteY0" fmla="*/ 1656 h 6654179"/>
              <a:gd name="connsiteX1" fmla="*/ 3082144 w 3082197"/>
              <a:gd name="connsiteY1" fmla="*/ 0 h 6654179"/>
              <a:gd name="connsiteX2" fmla="*/ 3072982 w 3082197"/>
              <a:gd name="connsiteY2" fmla="*/ 6654179 h 6654179"/>
              <a:gd name="connsiteX3" fmla="*/ 579722 w 3082197"/>
              <a:gd name="connsiteY3" fmla="*/ 6643957 h 6654179"/>
              <a:gd name="connsiteX4" fmla="*/ 0 w 3082197"/>
              <a:gd name="connsiteY4" fmla="*/ 6064235 h 6654179"/>
              <a:gd name="connsiteX5" fmla="*/ 0 w 3082197"/>
              <a:gd name="connsiteY5" fmla="*/ 1656 h 6654179"/>
              <a:gd name="connsiteX0" fmla="*/ 0 w 3082197"/>
              <a:gd name="connsiteY0" fmla="*/ 1316107 h 6654179"/>
              <a:gd name="connsiteX1" fmla="*/ 3082144 w 3082197"/>
              <a:gd name="connsiteY1" fmla="*/ 0 h 6654179"/>
              <a:gd name="connsiteX2" fmla="*/ 3072982 w 3082197"/>
              <a:gd name="connsiteY2" fmla="*/ 6654179 h 6654179"/>
              <a:gd name="connsiteX3" fmla="*/ 579722 w 3082197"/>
              <a:gd name="connsiteY3" fmla="*/ 6643957 h 6654179"/>
              <a:gd name="connsiteX4" fmla="*/ 0 w 3082197"/>
              <a:gd name="connsiteY4" fmla="*/ 6064235 h 6654179"/>
              <a:gd name="connsiteX5" fmla="*/ 0 w 3082197"/>
              <a:gd name="connsiteY5" fmla="*/ 1316107 h 6654179"/>
              <a:gd name="connsiteX0" fmla="*/ 0 w 3082197"/>
              <a:gd name="connsiteY0" fmla="*/ 1657 h 5339729"/>
              <a:gd name="connsiteX1" fmla="*/ 3082144 w 3082197"/>
              <a:gd name="connsiteY1" fmla="*/ 0 h 5339729"/>
              <a:gd name="connsiteX2" fmla="*/ 3072982 w 3082197"/>
              <a:gd name="connsiteY2" fmla="*/ 5339729 h 5339729"/>
              <a:gd name="connsiteX3" fmla="*/ 579722 w 3082197"/>
              <a:gd name="connsiteY3" fmla="*/ 5329507 h 5339729"/>
              <a:gd name="connsiteX4" fmla="*/ 0 w 3082197"/>
              <a:gd name="connsiteY4" fmla="*/ 4749785 h 5339729"/>
              <a:gd name="connsiteX5" fmla="*/ 0 w 3082197"/>
              <a:gd name="connsiteY5" fmla="*/ 1657 h 5339729"/>
              <a:gd name="connsiteX0" fmla="*/ 0 w 3082197"/>
              <a:gd name="connsiteY0" fmla="*/ 2202416 h 5339729"/>
              <a:gd name="connsiteX1" fmla="*/ 3082144 w 3082197"/>
              <a:gd name="connsiteY1" fmla="*/ 0 h 5339729"/>
              <a:gd name="connsiteX2" fmla="*/ 3072982 w 3082197"/>
              <a:gd name="connsiteY2" fmla="*/ 5339729 h 5339729"/>
              <a:gd name="connsiteX3" fmla="*/ 579722 w 3082197"/>
              <a:gd name="connsiteY3" fmla="*/ 5329507 h 5339729"/>
              <a:gd name="connsiteX4" fmla="*/ 0 w 3082197"/>
              <a:gd name="connsiteY4" fmla="*/ 4749785 h 5339729"/>
              <a:gd name="connsiteX5" fmla="*/ 0 w 3082197"/>
              <a:gd name="connsiteY5" fmla="*/ 2202416 h 5339729"/>
              <a:gd name="connsiteX0" fmla="*/ 0 w 3082197"/>
              <a:gd name="connsiteY0" fmla="*/ 1656 h 3138969"/>
              <a:gd name="connsiteX1" fmla="*/ 3082144 w 3082197"/>
              <a:gd name="connsiteY1" fmla="*/ 0 h 3138969"/>
              <a:gd name="connsiteX2" fmla="*/ 3072982 w 3082197"/>
              <a:gd name="connsiteY2" fmla="*/ 3138969 h 3138969"/>
              <a:gd name="connsiteX3" fmla="*/ 579722 w 3082197"/>
              <a:gd name="connsiteY3" fmla="*/ 3128747 h 3138969"/>
              <a:gd name="connsiteX4" fmla="*/ 0 w 3082197"/>
              <a:gd name="connsiteY4" fmla="*/ 2549025 h 3138969"/>
              <a:gd name="connsiteX5" fmla="*/ 0 w 3082197"/>
              <a:gd name="connsiteY5" fmla="*/ 1656 h 3138969"/>
              <a:gd name="connsiteX0" fmla="*/ 0 w 3082145"/>
              <a:gd name="connsiteY0" fmla="*/ 1656 h 3150544"/>
              <a:gd name="connsiteX1" fmla="*/ 3082144 w 3082145"/>
              <a:gd name="connsiteY1" fmla="*/ 0 h 3150544"/>
              <a:gd name="connsiteX2" fmla="*/ 2772041 w 3082145"/>
              <a:gd name="connsiteY2" fmla="*/ 3150544 h 3150544"/>
              <a:gd name="connsiteX3" fmla="*/ 579722 w 3082145"/>
              <a:gd name="connsiteY3" fmla="*/ 3128747 h 3150544"/>
              <a:gd name="connsiteX4" fmla="*/ 0 w 3082145"/>
              <a:gd name="connsiteY4" fmla="*/ 2549025 h 3150544"/>
              <a:gd name="connsiteX5" fmla="*/ 0 w 3082145"/>
              <a:gd name="connsiteY5" fmla="*/ 1656 h 3150544"/>
              <a:gd name="connsiteX0" fmla="*/ 0 w 2772041"/>
              <a:gd name="connsiteY0" fmla="*/ 1656 h 3150544"/>
              <a:gd name="connsiteX1" fmla="*/ 2769627 w 2772041"/>
              <a:gd name="connsiteY1" fmla="*/ 0 h 3150544"/>
              <a:gd name="connsiteX2" fmla="*/ 2772041 w 2772041"/>
              <a:gd name="connsiteY2" fmla="*/ 3150544 h 3150544"/>
              <a:gd name="connsiteX3" fmla="*/ 579722 w 2772041"/>
              <a:gd name="connsiteY3" fmla="*/ 3128747 h 3150544"/>
              <a:gd name="connsiteX4" fmla="*/ 0 w 2772041"/>
              <a:gd name="connsiteY4" fmla="*/ 2549025 h 3150544"/>
              <a:gd name="connsiteX5" fmla="*/ 0 w 2772041"/>
              <a:gd name="connsiteY5" fmla="*/ 1656 h 3150544"/>
              <a:gd name="connsiteX0" fmla="*/ 0 w 2772041"/>
              <a:gd name="connsiteY0" fmla="*/ 1656 h 3138969"/>
              <a:gd name="connsiteX1" fmla="*/ 2769627 w 2772041"/>
              <a:gd name="connsiteY1" fmla="*/ 0 h 3138969"/>
              <a:gd name="connsiteX2" fmla="*/ 2772041 w 2772041"/>
              <a:gd name="connsiteY2" fmla="*/ 3138969 h 3138969"/>
              <a:gd name="connsiteX3" fmla="*/ 579722 w 2772041"/>
              <a:gd name="connsiteY3" fmla="*/ 3128747 h 3138969"/>
              <a:gd name="connsiteX4" fmla="*/ 0 w 2772041"/>
              <a:gd name="connsiteY4" fmla="*/ 2549025 h 3138969"/>
              <a:gd name="connsiteX5" fmla="*/ 0 w 2772041"/>
              <a:gd name="connsiteY5" fmla="*/ 1656 h 3138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72041" h="3138969">
                <a:moveTo>
                  <a:pt x="0" y="1656"/>
                </a:moveTo>
                <a:lnTo>
                  <a:pt x="2769627" y="0"/>
                </a:lnTo>
                <a:cubicBezTo>
                  <a:pt x="2770532" y="2146807"/>
                  <a:pt x="2771136" y="992162"/>
                  <a:pt x="2772041" y="3138969"/>
                </a:cubicBezTo>
                <a:lnTo>
                  <a:pt x="579722" y="3128747"/>
                </a:lnTo>
                <a:cubicBezTo>
                  <a:pt x="259550" y="3128747"/>
                  <a:pt x="0" y="2869197"/>
                  <a:pt x="0" y="2549025"/>
                </a:cubicBezTo>
                <a:lnTo>
                  <a:pt x="0" y="1656"/>
                </a:lnTo>
                <a:close/>
              </a:path>
            </a:pathLst>
          </a:custGeom>
          <a:noFill/>
        </p:spPr>
        <p:txBody>
          <a:bodyPr>
            <a:normAutofit/>
          </a:bodyPr>
          <a:lstStyle>
            <a:lvl1pPr marL="0" indent="0">
              <a:buNone/>
              <a:defRPr sz="1400">
                <a:solidFill>
                  <a:schemeClr val="tx1"/>
                </a:solidFill>
              </a:defRPr>
            </a:lvl1pPr>
          </a:lstStyle>
          <a:p>
            <a:r>
              <a:rPr lang="en-US" dirty="0"/>
              <a:t>Insert Picture/Text Block</a:t>
            </a:r>
          </a:p>
          <a:p>
            <a:endParaRPr lang="en-US" dirty="0"/>
          </a:p>
          <a:p>
            <a:endParaRPr lang="en-JP" dirty="0"/>
          </a:p>
        </p:txBody>
      </p:sp>
      <p:pic>
        <p:nvPicPr>
          <p:cNvPr id="14" name="Picture 13" descr="Takeda">
            <a:extLst>
              <a:ext uri="{FF2B5EF4-FFF2-40B4-BE49-F238E27FC236}">
                <a16:creationId xmlns:a16="http://schemas.microsoft.com/office/drawing/2014/main" id="{47FD433F-488A-9D46-BDF0-87D0F082AE4B}"/>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546331" y="-1615"/>
            <a:ext cx="1696232" cy="940780"/>
          </a:xfrm>
          <a:prstGeom prst="rect">
            <a:avLst/>
          </a:prstGeom>
        </p:spPr>
      </p:pic>
      <p:sp>
        <p:nvSpPr>
          <p:cNvPr id="18" name="タイトル プレースホルダ 1">
            <a:extLst>
              <a:ext uri="{FF2B5EF4-FFF2-40B4-BE49-F238E27FC236}">
                <a16:creationId xmlns:a16="http://schemas.microsoft.com/office/drawing/2014/main" id="{4FBB8310-69E6-7C4E-A4B1-C022B6FEE2CE}"/>
              </a:ext>
            </a:extLst>
          </p:cNvPr>
          <p:cNvSpPr>
            <a:spLocks noGrp="1"/>
          </p:cNvSpPr>
          <p:nvPr>
            <p:ph type="title" hasCustomPrompt="1"/>
          </p:nvPr>
        </p:nvSpPr>
        <p:spPr>
          <a:xfrm>
            <a:off x="606078" y="161605"/>
            <a:ext cx="9940253" cy="685801"/>
          </a:xfrm>
          <a:prstGeom prst="rect">
            <a:avLst/>
          </a:prstGeom>
        </p:spPr>
        <p:txBody>
          <a:bodyPr vert="horz" lIns="0" tIns="0" rIns="0" bIns="0" rtlCol="0" anchor="ctr">
            <a:normAutofit/>
          </a:bodyPr>
          <a:lstStyle/>
          <a:p>
            <a:r>
              <a:rPr kumimoji="1" lang="en-US" altLang="ja-JP" dirty="0"/>
              <a:t>Click to add title</a:t>
            </a:r>
            <a:endParaRPr kumimoji="1" lang="ja-JP" altLang="en-US"/>
          </a:p>
        </p:txBody>
      </p:sp>
      <p:sp>
        <p:nvSpPr>
          <p:cNvPr id="17" name="Footer Placeholder 8">
            <a:extLst>
              <a:ext uri="{FF2B5EF4-FFF2-40B4-BE49-F238E27FC236}">
                <a16:creationId xmlns:a16="http://schemas.microsoft.com/office/drawing/2014/main" id="{4EF39473-C435-3C4E-9C7B-048D52C3CC92}"/>
              </a:ext>
            </a:extLst>
          </p:cNvPr>
          <p:cNvSpPr>
            <a:spLocks noGrp="1"/>
          </p:cNvSpPr>
          <p:nvPr>
            <p:ph type="ftr" sz="quarter" idx="3"/>
          </p:nvPr>
        </p:nvSpPr>
        <p:spPr>
          <a:xfrm>
            <a:off x="7766050" y="6523001"/>
            <a:ext cx="4114800" cy="196131"/>
          </a:xfrm>
          <a:prstGeom prst="rect">
            <a:avLst/>
          </a:prstGeom>
        </p:spPr>
        <p:txBody>
          <a:bodyPr vert="horz" lIns="91440" tIns="45720" rIns="0" bIns="45720" rtlCol="0" anchor="ctr"/>
          <a:lstStyle>
            <a:lvl1pPr algn="r">
              <a:defRPr sz="800" b="1" spc="100" baseline="0">
                <a:solidFill>
                  <a:schemeClr val="tx1"/>
                </a:solidFill>
              </a:defRPr>
            </a:lvl1pPr>
          </a:lstStyle>
          <a:p>
            <a:r>
              <a:rPr lang="en-US" dirty="0"/>
              <a:t> </a:t>
            </a:r>
            <a:endParaRPr lang="en-JP" dirty="0"/>
          </a:p>
        </p:txBody>
      </p:sp>
      <p:sp>
        <p:nvSpPr>
          <p:cNvPr id="21" name="Rectangle 20">
            <a:extLst>
              <a:ext uri="{FF2B5EF4-FFF2-40B4-BE49-F238E27FC236}">
                <a16:creationId xmlns:a16="http://schemas.microsoft.com/office/drawing/2014/main" id="{0FEF9AE6-D84E-9F43-9506-6676EC51B210}"/>
              </a:ext>
            </a:extLst>
          </p:cNvPr>
          <p:cNvSpPr/>
          <p:nvPr userDrawn="1"/>
        </p:nvSpPr>
        <p:spPr>
          <a:xfrm>
            <a:off x="308038" y="161606"/>
            <a:ext cx="54000" cy="68580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dirty="0">
              <a:solidFill>
                <a:schemeClr val="accent1"/>
              </a:solidFill>
            </a:endParaRPr>
          </a:p>
        </p:txBody>
      </p:sp>
      <p:sp>
        <p:nvSpPr>
          <p:cNvPr id="28" name="スライド番号プレースホルダ 5">
            <a:extLst>
              <a:ext uri="{FF2B5EF4-FFF2-40B4-BE49-F238E27FC236}">
                <a16:creationId xmlns:a16="http://schemas.microsoft.com/office/drawing/2014/main" id="{F964ADE6-9B0D-EC45-959C-FEEA5CDDFBA9}"/>
              </a:ext>
            </a:extLst>
          </p:cNvPr>
          <p:cNvSpPr>
            <a:spLocks noGrp="1"/>
          </p:cNvSpPr>
          <p:nvPr>
            <p:ph type="sldNum" sz="quarter" idx="4"/>
          </p:nvPr>
        </p:nvSpPr>
        <p:spPr>
          <a:xfrm>
            <a:off x="311150" y="6523001"/>
            <a:ext cx="294928" cy="196131"/>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a:t>
            </a:fld>
            <a:endParaRPr lang="ja-JP" altLang="en-US"/>
          </a:p>
        </p:txBody>
      </p:sp>
      <p:sp>
        <p:nvSpPr>
          <p:cNvPr id="29" name="Text Placeholder 6">
            <a:extLst>
              <a:ext uri="{FF2B5EF4-FFF2-40B4-BE49-F238E27FC236}">
                <a16:creationId xmlns:a16="http://schemas.microsoft.com/office/drawing/2014/main" id="{870D8562-3CE7-7044-9BB0-2068A81BF5CB}"/>
              </a:ext>
            </a:extLst>
          </p:cNvPr>
          <p:cNvSpPr>
            <a:spLocks noGrp="1"/>
          </p:cNvSpPr>
          <p:nvPr>
            <p:ph type="body" sz="quarter" idx="16" hasCustomPrompt="1"/>
          </p:nvPr>
        </p:nvSpPr>
        <p:spPr>
          <a:xfrm>
            <a:off x="606078" y="6523001"/>
            <a:ext cx="6968348" cy="205613"/>
          </a:xfrm>
          <a:prstGeom prst="rect">
            <a:avLst/>
          </a:prstGeom>
        </p:spPr>
        <p:txBody>
          <a:bodyPr wrap="none" tIns="0" rIns="0" bIns="72000" numCol="1" anchor="ctr">
            <a:noAutofit/>
          </a:bodyPr>
          <a:lstStyle>
            <a:lvl1pPr marL="0" indent="0">
              <a:lnSpc>
                <a:spcPts val="1600"/>
              </a:lnSpc>
              <a:spcBef>
                <a:spcPts val="0"/>
              </a:spcBef>
              <a:spcAft>
                <a:spcPts val="600"/>
              </a:spcAft>
              <a:buFont typeface="Arial" panose="020B0604020202020204" pitchFamily="34" charset="0"/>
              <a:buNone/>
              <a:defRPr sz="800" b="0">
                <a:solidFill>
                  <a:schemeClr val="accent3"/>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dirty="0"/>
              <a:t>Private and confidential. For internal use only.</a:t>
            </a:r>
          </a:p>
        </p:txBody>
      </p:sp>
      <p:sp>
        <p:nvSpPr>
          <p:cNvPr id="19" name="Text Placeholder 2">
            <a:extLst>
              <a:ext uri="{FF2B5EF4-FFF2-40B4-BE49-F238E27FC236}">
                <a16:creationId xmlns:a16="http://schemas.microsoft.com/office/drawing/2014/main" id="{099C450B-0755-7D4A-9672-E700D6F2E50A}"/>
              </a:ext>
            </a:extLst>
          </p:cNvPr>
          <p:cNvSpPr>
            <a:spLocks noGrp="1"/>
          </p:cNvSpPr>
          <p:nvPr>
            <p:ph type="body" sz="quarter" idx="21" hasCustomPrompt="1"/>
          </p:nvPr>
        </p:nvSpPr>
        <p:spPr>
          <a:xfrm>
            <a:off x="311150" y="1491373"/>
            <a:ext cx="11569699" cy="1464957"/>
          </a:xfrm>
        </p:spPr>
        <p:txBody>
          <a:bodyPr tIns="0" rIns="0" bIns="0" numCol="1" spcCol="126000">
            <a:noAutofit/>
          </a:bodyPr>
          <a:lstStyle>
            <a:lvl1pPr marL="0" indent="0">
              <a:lnSpc>
                <a:spcPct val="100000"/>
              </a:lnSpc>
              <a:spcBef>
                <a:spcPts val="0"/>
              </a:spcBef>
              <a:buNone/>
              <a:defRPr sz="1600" b="1"/>
            </a:lvl1pPr>
            <a:lvl2pPr marL="457068" indent="0">
              <a:buNone/>
              <a:defRPr sz="1800" b="1"/>
            </a:lvl2pPr>
            <a:lvl3pPr marL="914149" indent="0">
              <a:buNone/>
              <a:defRPr sz="1800" b="1"/>
            </a:lvl3pPr>
            <a:lvl4pPr marL="1371219" indent="0">
              <a:buNone/>
              <a:defRPr sz="1800" b="1"/>
            </a:lvl4pPr>
            <a:lvl5pPr marL="1828290" indent="0">
              <a:buNone/>
              <a:defRPr sz="1800" b="1"/>
            </a:lvl5pPr>
          </a:lstStyle>
          <a:p>
            <a:pPr lvl="0"/>
            <a:r>
              <a:rPr lang="en-US" dirty="0"/>
              <a:t>This is your Primary Text.</a:t>
            </a:r>
            <a:endParaRPr lang="en-JP" dirty="0"/>
          </a:p>
        </p:txBody>
      </p:sp>
      <p:sp>
        <p:nvSpPr>
          <p:cNvPr id="20" name="Text Placeholder 6">
            <a:extLst>
              <a:ext uri="{FF2B5EF4-FFF2-40B4-BE49-F238E27FC236}">
                <a16:creationId xmlns:a16="http://schemas.microsoft.com/office/drawing/2014/main" id="{705B1BEB-AC9F-9643-A446-ABE1DDB96144}"/>
              </a:ext>
            </a:extLst>
          </p:cNvPr>
          <p:cNvSpPr>
            <a:spLocks noGrp="1"/>
          </p:cNvSpPr>
          <p:nvPr>
            <p:ph type="body" sz="quarter" idx="22" hasCustomPrompt="1"/>
          </p:nvPr>
        </p:nvSpPr>
        <p:spPr>
          <a:xfrm>
            <a:off x="311149" y="1093767"/>
            <a:ext cx="11569699" cy="272786"/>
          </a:xfrm>
        </p:spPr>
        <p:txBody>
          <a:bodyPr tIns="0" rIns="0" bIns="0" numCol="1">
            <a:noAutofit/>
          </a:bodyPr>
          <a:lstStyle>
            <a:lvl1pPr marL="0" indent="0">
              <a:lnSpc>
                <a:spcPct val="100000"/>
              </a:lnSpc>
              <a:spcBef>
                <a:spcPts val="0"/>
              </a:spcBef>
              <a:spcAft>
                <a:spcPts val="600"/>
              </a:spcAft>
              <a:buNone/>
              <a:defRPr sz="20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dirty="0"/>
              <a:t>This is your Primary Title</a:t>
            </a:r>
          </a:p>
        </p:txBody>
      </p:sp>
    </p:spTree>
    <p:extLst>
      <p:ext uri="{BB962C8B-B14F-4D97-AF65-F5344CB8AC3E}">
        <p14:creationId xmlns:p14="http://schemas.microsoft.com/office/powerpoint/2010/main" val="2804114049"/>
      </p:ext>
    </p:extLst>
  </p:cSld>
  <p:clrMapOvr>
    <a:masterClrMapping/>
  </p:clrMapOvr>
  <p:transition spd="slow">
    <p:push dir="u"/>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Advanced Chart Full Width">
    <p:spTree>
      <p:nvGrpSpPr>
        <p:cNvPr id="1" name=""/>
        <p:cNvGrpSpPr/>
        <p:nvPr/>
      </p:nvGrpSpPr>
      <p:grpSpPr>
        <a:xfrm>
          <a:off x="0" y="0"/>
          <a:ext cx="0" cy="0"/>
          <a:chOff x="0" y="0"/>
          <a:chExt cx="0" cy="0"/>
        </a:xfrm>
      </p:grpSpPr>
      <p:sp>
        <p:nvSpPr>
          <p:cNvPr id="8" name="Chart Placeholder 7">
            <a:extLst>
              <a:ext uri="{FF2B5EF4-FFF2-40B4-BE49-F238E27FC236}">
                <a16:creationId xmlns:a16="http://schemas.microsoft.com/office/drawing/2014/main" id="{A6D4E593-FDCC-D14E-9C5E-5F309E415C26}"/>
              </a:ext>
            </a:extLst>
          </p:cNvPr>
          <p:cNvSpPr>
            <a:spLocks noGrp="1"/>
          </p:cNvSpPr>
          <p:nvPr>
            <p:ph type="chart" sz="quarter" idx="21" hasCustomPrompt="1"/>
          </p:nvPr>
        </p:nvSpPr>
        <p:spPr>
          <a:xfrm>
            <a:off x="309223" y="3076286"/>
            <a:ext cx="11571628" cy="3340389"/>
          </a:xfrm>
          <a:prstGeom prst="rect">
            <a:avLst/>
          </a:prstGeom>
        </p:spPr>
        <p:txBody>
          <a:bodyPr>
            <a:normAutofit/>
          </a:bodyPr>
          <a:lstStyle>
            <a:lvl1pPr marL="0" indent="0">
              <a:buNone/>
              <a:defRPr sz="1400"/>
            </a:lvl1pPr>
          </a:lstStyle>
          <a:p>
            <a:r>
              <a:rPr lang="en-JP" dirty="0"/>
              <a:t>Insert Chart</a:t>
            </a:r>
          </a:p>
        </p:txBody>
      </p:sp>
      <p:pic>
        <p:nvPicPr>
          <p:cNvPr id="11" name="Picture 10" descr="Takeda">
            <a:extLst>
              <a:ext uri="{FF2B5EF4-FFF2-40B4-BE49-F238E27FC236}">
                <a16:creationId xmlns:a16="http://schemas.microsoft.com/office/drawing/2014/main" id="{7EBA21A8-EE4B-6E4B-A794-3FEA5B159906}"/>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546331" y="-1615"/>
            <a:ext cx="1696232" cy="940780"/>
          </a:xfrm>
          <a:prstGeom prst="rect">
            <a:avLst/>
          </a:prstGeom>
        </p:spPr>
      </p:pic>
      <p:sp>
        <p:nvSpPr>
          <p:cNvPr id="12" name="タイトル プレースホルダ 1">
            <a:extLst>
              <a:ext uri="{FF2B5EF4-FFF2-40B4-BE49-F238E27FC236}">
                <a16:creationId xmlns:a16="http://schemas.microsoft.com/office/drawing/2014/main" id="{75E45CD2-2EBD-AE47-837E-9F752C565F73}"/>
              </a:ext>
            </a:extLst>
          </p:cNvPr>
          <p:cNvSpPr>
            <a:spLocks noGrp="1"/>
          </p:cNvSpPr>
          <p:nvPr>
            <p:ph type="title" hasCustomPrompt="1"/>
          </p:nvPr>
        </p:nvSpPr>
        <p:spPr>
          <a:xfrm>
            <a:off x="606078" y="161605"/>
            <a:ext cx="9940253" cy="685801"/>
          </a:xfrm>
          <a:prstGeom prst="rect">
            <a:avLst/>
          </a:prstGeom>
        </p:spPr>
        <p:txBody>
          <a:bodyPr vert="horz" lIns="0" tIns="0" rIns="0" bIns="0" rtlCol="0" anchor="ctr">
            <a:normAutofit/>
          </a:bodyPr>
          <a:lstStyle/>
          <a:p>
            <a:r>
              <a:rPr kumimoji="1" lang="en-US" altLang="ja-JP" dirty="0"/>
              <a:t>Click to add title</a:t>
            </a:r>
            <a:endParaRPr kumimoji="1" lang="ja-JP" altLang="en-US"/>
          </a:p>
        </p:txBody>
      </p:sp>
      <p:sp>
        <p:nvSpPr>
          <p:cNvPr id="17" name="Footer Placeholder 8">
            <a:extLst>
              <a:ext uri="{FF2B5EF4-FFF2-40B4-BE49-F238E27FC236}">
                <a16:creationId xmlns:a16="http://schemas.microsoft.com/office/drawing/2014/main" id="{2DC26CE8-1DEF-EE42-861C-B0406E8DC23D}"/>
              </a:ext>
            </a:extLst>
          </p:cNvPr>
          <p:cNvSpPr>
            <a:spLocks noGrp="1"/>
          </p:cNvSpPr>
          <p:nvPr>
            <p:ph type="ftr" sz="quarter" idx="3"/>
          </p:nvPr>
        </p:nvSpPr>
        <p:spPr>
          <a:xfrm>
            <a:off x="7766050" y="6523001"/>
            <a:ext cx="4114800" cy="196131"/>
          </a:xfrm>
          <a:prstGeom prst="rect">
            <a:avLst/>
          </a:prstGeom>
        </p:spPr>
        <p:txBody>
          <a:bodyPr vert="horz" lIns="91440" tIns="45720" rIns="0" bIns="45720" rtlCol="0" anchor="ctr"/>
          <a:lstStyle>
            <a:lvl1pPr algn="r">
              <a:defRPr sz="800" b="1" spc="100" baseline="0">
                <a:solidFill>
                  <a:schemeClr val="tx1"/>
                </a:solidFill>
              </a:defRPr>
            </a:lvl1pPr>
          </a:lstStyle>
          <a:p>
            <a:r>
              <a:rPr lang="en-JP" dirty="0"/>
              <a:t> </a:t>
            </a:r>
          </a:p>
        </p:txBody>
      </p:sp>
      <p:sp>
        <p:nvSpPr>
          <p:cNvPr id="20" name="Rectangle 19">
            <a:extLst>
              <a:ext uri="{FF2B5EF4-FFF2-40B4-BE49-F238E27FC236}">
                <a16:creationId xmlns:a16="http://schemas.microsoft.com/office/drawing/2014/main" id="{4436966D-3DF0-4D41-9D26-4860D147F807}"/>
              </a:ext>
            </a:extLst>
          </p:cNvPr>
          <p:cNvSpPr/>
          <p:nvPr userDrawn="1"/>
        </p:nvSpPr>
        <p:spPr>
          <a:xfrm>
            <a:off x="308038" y="161606"/>
            <a:ext cx="54000" cy="68580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dirty="0">
              <a:solidFill>
                <a:schemeClr val="accent1"/>
              </a:solidFill>
            </a:endParaRPr>
          </a:p>
        </p:txBody>
      </p:sp>
      <p:sp>
        <p:nvSpPr>
          <p:cNvPr id="23" name="スライド番号プレースホルダ 5">
            <a:extLst>
              <a:ext uri="{FF2B5EF4-FFF2-40B4-BE49-F238E27FC236}">
                <a16:creationId xmlns:a16="http://schemas.microsoft.com/office/drawing/2014/main" id="{600920FB-2D44-F645-865D-89FFECB09573}"/>
              </a:ext>
            </a:extLst>
          </p:cNvPr>
          <p:cNvSpPr>
            <a:spLocks noGrp="1"/>
          </p:cNvSpPr>
          <p:nvPr>
            <p:ph type="sldNum" sz="quarter" idx="4"/>
          </p:nvPr>
        </p:nvSpPr>
        <p:spPr>
          <a:xfrm>
            <a:off x="311150" y="6523001"/>
            <a:ext cx="294928" cy="196131"/>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a:t>
            </a:fld>
            <a:endParaRPr lang="ja-JP" altLang="en-US"/>
          </a:p>
        </p:txBody>
      </p:sp>
      <p:sp>
        <p:nvSpPr>
          <p:cNvPr id="24" name="Text Placeholder 6">
            <a:extLst>
              <a:ext uri="{FF2B5EF4-FFF2-40B4-BE49-F238E27FC236}">
                <a16:creationId xmlns:a16="http://schemas.microsoft.com/office/drawing/2014/main" id="{07DE8F7E-1418-1C4C-A62B-2385714992F7}"/>
              </a:ext>
            </a:extLst>
          </p:cNvPr>
          <p:cNvSpPr>
            <a:spLocks noGrp="1"/>
          </p:cNvSpPr>
          <p:nvPr>
            <p:ph type="body" sz="quarter" idx="16" hasCustomPrompt="1"/>
          </p:nvPr>
        </p:nvSpPr>
        <p:spPr>
          <a:xfrm>
            <a:off x="606078" y="6523001"/>
            <a:ext cx="6968348" cy="205613"/>
          </a:xfrm>
          <a:prstGeom prst="rect">
            <a:avLst/>
          </a:prstGeom>
        </p:spPr>
        <p:txBody>
          <a:bodyPr wrap="none" tIns="0" rIns="0" bIns="72000" numCol="1" anchor="ctr">
            <a:noAutofit/>
          </a:bodyPr>
          <a:lstStyle>
            <a:lvl1pPr marL="0" indent="0">
              <a:lnSpc>
                <a:spcPts val="1600"/>
              </a:lnSpc>
              <a:spcBef>
                <a:spcPts val="0"/>
              </a:spcBef>
              <a:spcAft>
                <a:spcPts val="600"/>
              </a:spcAft>
              <a:buFont typeface="Arial" panose="020B0604020202020204" pitchFamily="34" charset="0"/>
              <a:buNone/>
              <a:defRPr sz="800" b="0">
                <a:solidFill>
                  <a:schemeClr val="accent3"/>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dirty="0"/>
              <a:t>Private and confidential. For internal use only.</a:t>
            </a:r>
          </a:p>
        </p:txBody>
      </p:sp>
      <p:sp>
        <p:nvSpPr>
          <p:cNvPr id="14" name="Text Placeholder 2">
            <a:extLst>
              <a:ext uri="{FF2B5EF4-FFF2-40B4-BE49-F238E27FC236}">
                <a16:creationId xmlns:a16="http://schemas.microsoft.com/office/drawing/2014/main" id="{628A960D-6A45-6744-9BDB-7070B443CC64}"/>
              </a:ext>
            </a:extLst>
          </p:cNvPr>
          <p:cNvSpPr>
            <a:spLocks noGrp="1"/>
          </p:cNvSpPr>
          <p:nvPr>
            <p:ph type="body" sz="quarter" idx="20" hasCustomPrompt="1"/>
          </p:nvPr>
        </p:nvSpPr>
        <p:spPr>
          <a:xfrm>
            <a:off x="311150" y="1491373"/>
            <a:ext cx="11569699" cy="1464957"/>
          </a:xfrm>
        </p:spPr>
        <p:txBody>
          <a:bodyPr tIns="0" rIns="0" bIns="0" numCol="1" spcCol="126000">
            <a:noAutofit/>
          </a:bodyPr>
          <a:lstStyle>
            <a:lvl1pPr marL="0" indent="0">
              <a:lnSpc>
                <a:spcPct val="100000"/>
              </a:lnSpc>
              <a:spcBef>
                <a:spcPts val="0"/>
              </a:spcBef>
              <a:buNone/>
              <a:defRPr sz="1600" b="1"/>
            </a:lvl1pPr>
            <a:lvl2pPr marL="457068" indent="0">
              <a:buNone/>
              <a:defRPr sz="1800" b="1"/>
            </a:lvl2pPr>
            <a:lvl3pPr marL="914149" indent="0">
              <a:buNone/>
              <a:defRPr sz="1800" b="1"/>
            </a:lvl3pPr>
            <a:lvl4pPr marL="1371219" indent="0">
              <a:buNone/>
              <a:defRPr sz="1800" b="1"/>
            </a:lvl4pPr>
            <a:lvl5pPr marL="1828290" indent="0">
              <a:buNone/>
              <a:defRPr sz="1800" b="1"/>
            </a:lvl5pPr>
          </a:lstStyle>
          <a:p>
            <a:pPr lvl="0"/>
            <a:r>
              <a:rPr lang="en-US" dirty="0"/>
              <a:t>This is your Primary Text.</a:t>
            </a:r>
            <a:endParaRPr lang="en-JP" dirty="0"/>
          </a:p>
        </p:txBody>
      </p:sp>
      <p:sp>
        <p:nvSpPr>
          <p:cNvPr id="15" name="Text Placeholder 6">
            <a:extLst>
              <a:ext uri="{FF2B5EF4-FFF2-40B4-BE49-F238E27FC236}">
                <a16:creationId xmlns:a16="http://schemas.microsoft.com/office/drawing/2014/main" id="{21493179-5EA4-604B-A9DF-BDA818F0166A}"/>
              </a:ext>
            </a:extLst>
          </p:cNvPr>
          <p:cNvSpPr>
            <a:spLocks noGrp="1"/>
          </p:cNvSpPr>
          <p:nvPr>
            <p:ph type="body" sz="quarter" idx="22" hasCustomPrompt="1"/>
          </p:nvPr>
        </p:nvSpPr>
        <p:spPr>
          <a:xfrm>
            <a:off x="311149" y="1093767"/>
            <a:ext cx="11569699" cy="272786"/>
          </a:xfrm>
        </p:spPr>
        <p:txBody>
          <a:bodyPr tIns="0" rIns="0" bIns="0" numCol="1">
            <a:noAutofit/>
          </a:bodyPr>
          <a:lstStyle>
            <a:lvl1pPr marL="0" indent="0">
              <a:lnSpc>
                <a:spcPct val="100000"/>
              </a:lnSpc>
              <a:spcBef>
                <a:spcPts val="0"/>
              </a:spcBef>
              <a:spcAft>
                <a:spcPts val="600"/>
              </a:spcAft>
              <a:buNone/>
              <a:defRPr sz="20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dirty="0"/>
              <a:t>This is your Primary Title</a:t>
            </a:r>
          </a:p>
        </p:txBody>
      </p:sp>
    </p:spTree>
    <p:extLst>
      <p:ext uri="{BB962C8B-B14F-4D97-AF65-F5344CB8AC3E}">
        <p14:creationId xmlns:p14="http://schemas.microsoft.com/office/powerpoint/2010/main" val="1354790208"/>
      </p:ext>
    </p:extLst>
  </p:cSld>
  <p:clrMapOvr>
    <a:masterClrMapping/>
  </p:clrMapOvr>
  <p:transition spd="slow">
    <p:push dir="u"/>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Advanced Chart 2/3">
    <p:spTree>
      <p:nvGrpSpPr>
        <p:cNvPr id="1" name=""/>
        <p:cNvGrpSpPr/>
        <p:nvPr/>
      </p:nvGrpSpPr>
      <p:grpSpPr>
        <a:xfrm>
          <a:off x="0" y="0"/>
          <a:ext cx="0" cy="0"/>
          <a:chOff x="0" y="0"/>
          <a:chExt cx="0" cy="0"/>
        </a:xfrm>
      </p:grpSpPr>
      <p:sp>
        <p:nvSpPr>
          <p:cNvPr id="8" name="Chart Placeholder 7">
            <a:extLst>
              <a:ext uri="{FF2B5EF4-FFF2-40B4-BE49-F238E27FC236}">
                <a16:creationId xmlns:a16="http://schemas.microsoft.com/office/drawing/2014/main" id="{A6D4E593-FDCC-D14E-9C5E-5F309E415C26}"/>
              </a:ext>
            </a:extLst>
          </p:cNvPr>
          <p:cNvSpPr>
            <a:spLocks noGrp="1"/>
          </p:cNvSpPr>
          <p:nvPr>
            <p:ph type="chart" sz="quarter" idx="21" hasCustomPrompt="1"/>
          </p:nvPr>
        </p:nvSpPr>
        <p:spPr>
          <a:xfrm>
            <a:off x="4227225" y="1093767"/>
            <a:ext cx="7653625" cy="5322908"/>
          </a:xfrm>
          <a:prstGeom prst="rect">
            <a:avLst/>
          </a:prstGeom>
        </p:spPr>
        <p:txBody>
          <a:bodyPr>
            <a:normAutofit/>
          </a:bodyPr>
          <a:lstStyle>
            <a:lvl1pPr marL="0" indent="0">
              <a:buNone/>
              <a:defRPr sz="1400"/>
            </a:lvl1pPr>
          </a:lstStyle>
          <a:p>
            <a:r>
              <a:rPr lang="en-JP" dirty="0"/>
              <a:t>Insert Chart</a:t>
            </a:r>
          </a:p>
        </p:txBody>
      </p:sp>
      <p:sp>
        <p:nvSpPr>
          <p:cNvPr id="9" name="Text Placeholder 6">
            <a:extLst>
              <a:ext uri="{FF2B5EF4-FFF2-40B4-BE49-F238E27FC236}">
                <a16:creationId xmlns:a16="http://schemas.microsoft.com/office/drawing/2014/main" id="{EF65D74B-37DA-0D46-8B56-9B362C84E6B9}"/>
              </a:ext>
            </a:extLst>
          </p:cNvPr>
          <p:cNvSpPr>
            <a:spLocks noGrp="1"/>
          </p:cNvSpPr>
          <p:nvPr>
            <p:ph type="body" sz="quarter" idx="14" hasCustomPrompt="1"/>
          </p:nvPr>
        </p:nvSpPr>
        <p:spPr>
          <a:xfrm>
            <a:off x="311150" y="3178298"/>
            <a:ext cx="3751966" cy="272786"/>
          </a:xfrm>
          <a:prstGeom prst="rect">
            <a:avLst/>
          </a:prstGeom>
        </p:spPr>
        <p:txBody>
          <a:bodyPr tIns="0" rIns="0" bIns="0" numCol="1">
            <a:noAutofit/>
          </a:bodyPr>
          <a:lstStyle>
            <a:lvl1pPr marL="0" indent="0">
              <a:lnSpc>
                <a:spcPct val="100000"/>
              </a:lnSpc>
              <a:spcBef>
                <a:spcPts val="0"/>
              </a:spcBef>
              <a:spcAft>
                <a:spcPts val="600"/>
              </a:spcAft>
              <a:buNone/>
              <a:defRPr sz="18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dirty="0"/>
              <a:t>This is your Secondary Title</a:t>
            </a:r>
          </a:p>
        </p:txBody>
      </p:sp>
      <p:sp>
        <p:nvSpPr>
          <p:cNvPr id="10" name="Text Placeholder 6">
            <a:extLst>
              <a:ext uri="{FF2B5EF4-FFF2-40B4-BE49-F238E27FC236}">
                <a16:creationId xmlns:a16="http://schemas.microsoft.com/office/drawing/2014/main" id="{BF5F6A26-5AAA-884F-A319-DE9881530AA7}"/>
              </a:ext>
            </a:extLst>
          </p:cNvPr>
          <p:cNvSpPr>
            <a:spLocks noGrp="1"/>
          </p:cNvSpPr>
          <p:nvPr>
            <p:ph type="body" sz="quarter" idx="15" hasCustomPrompt="1"/>
          </p:nvPr>
        </p:nvSpPr>
        <p:spPr>
          <a:xfrm>
            <a:off x="311150" y="3575904"/>
            <a:ext cx="3751966" cy="2840771"/>
          </a:xfrm>
          <a:prstGeom prst="rect">
            <a:avLst/>
          </a:prstGeom>
        </p:spPr>
        <p:txBody>
          <a:bodyPr tIns="0" rIns="0" bIns="0" numCol="1">
            <a:noAutofit/>
          </a:bodyPr>
          <a:lstStyle>
            <a:lvl1pPr marL="171450" indent="-171450">
              <a:lnSpc>
                <a:spcPct val="100000"/>
              </a:lnSpc>
              <a:spcBef>
                <a:spcPts val="0"/>
              </a:spcBef>
              <a:spcAft>
                <a:spcPts val="600"/>
              </a:spcAft>
              <a:buFont typeface="Arial" panose="020B0604020202020204" pitchFamily="34" charset="0"/>
              <a:buChar char="•"/>
              <a:defRPr sz="1400" b="0">
                <a:solidFill>
                  <a:schemeClr val="tx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dirty="0"/>
              <a:t>This is your Secondary text.</a:t>
            </a:r>
          </a:p>
        </p:txBody>
      </p:sp>
      <p:pic>
        <p:nvPicPr>
          <p:cNvPr id="12" name="Picture 11" descr="Takeda">
            <a:extLst>
              <a:ext uri="{FF2B5EF4-FFF2-40B4-BE49-F238E27FC236}">
                <a16:creationId xmlns:a16="http://schemas.microsoft.com/office/drawing/2014/main" id="{5D7AA9CA-E651-9E48-B0F3-BDDA45B353E5}"/>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546331" y="-1615"/>
            <a:ext cx="1696232" cy="940780"/>
          </a:xfrm>
          <a:prstGeom prst="rect">
            <a:avLst/>
          </a:prstGeom>
        </p:spPr>
      </p:pic>
      <p:sp>
        <p:nvSpPr>
          <p:cNvPr id="13" name="タイトル プレースホルダ 1">
            <a:extLst>
              <a:ext uri="{FF2B5EF4-FFF2-40B4-BE49-F238E27FC236}">
                <a16:creationId xmlns:a16="http://schemas.microsoft.com/office/drawing/2014/main" id="{2256F400-EDA8-7F44-BF13-278518497C9E}"/>
              </a:ext>
            </a:extLst>
          </p:cNvPr>
          <p:cNvSpPr>
            <a:spLocks noGrp="1"/>
          </p:cNvSpPr>
          <p:nvPr>
            <p:ph type="title" hasCustomPrompt="1"/>
          </p:nvPr>
        </p:nvSpPr>
        <p:spPr>
          <a:xfrm>
            <a:off x="606078" y="161605"/>
            <a:ext cx="9940253" cy="685801"/>
          </a:xfrm>
          <a:prstGeom prst="rect">
            <a:avLst/>
          </a:prstGeom>
        </p:spPr>
        <p:txBody>
          <a:bodyPr vert="horz" lIns="0" tIns="0" rIns="0" bIns="0" rtlCol="0" anchor="ctr">
            <a:normAutofit/>
          </a:bodyPr>
          <a:lstStyle/>
          <a:p>
            <a:r>
              <a:rPr kumimoji="1" lang="en-US" altLang="ja-JP" dirty="0"/>
              <a:t>Click to add title</a:t>
            </a:r>
            <a:endParaRPr kumimoji="1" lang="ja-JP" altLang="en-US"/>
          </a:p>
        </p:txBody>
      </p:sp>
      <p:sp>
        <p:nvSpPr>
          <p:cNvPr id="15" name="Footer Placeholder 8">
            <a:extLst>
              <a:ext uri="{FF2B5EF4-FFF2-40B4-BE49-F238E27FC236}">
                <a16:creationId xmlns:a16="http://schemas.microsoft.com/office/drawing/2014/main" id="{7136781B-A49B-0A42-B748-01C379A12FF6}"/>
              </a:ext>
            </a:extLst>
          </p:cNvPr>
          <p:cNvSpPr>
            <a:spLocks noGrp="1"/>
          </p:cNvSpPr>
          <p:nvPr>
            <p:ph type="ftr" sz="quarter" idx="3"/>
          </p:nvPr>
        </p:nvSpPr>
        <p:spPr>
          <a:xfrm>
            <a:off x="7766050" y="6523001"/>
            <a:ext cx="4114800" cy="196131"/>
          </a:xfrm>
          <a:prstGeom prst="rect">
            <a:avLst/>
          </a:prstGeom>
        </p:spPr>
        <p:txBody>
          <a:bodyPr vert="horz" lIns="91440" tIns="45720" rIns="0" bIns="45720" rtlCol="0" anchor="ctr"/>
          <a:lstStyle>
            <a:lvl1pPr algn="r">
              <a:defRPr sz="800" b="1" spc="100" baseline="0">
                <a:solidFill>
                  <a:schemeClr val="tx1"/>
                </a:solidFill>
              </a:defRPr>
            </a:lvl1pPr>
          </a:lstStyle>
          <a:p>
            <a:r>
              <a:rPr lang="en-JP" dirty="0"/>
              <a:t> </a:t>
            </a:r>
          </a:p>
        </p:txBody>
      </p:sp>
      <p:sp>
        <p:nvSpPr>
          <p:cNvPr id="21" name="Rectangle 20">
            <a:extLst>
              <a:ext uri="{FF2B5EF4-FFF2-40B4-BE49-F238E27FC236}">
                <a16:creationId xmlns:a16="http://schemas.microsoft.com/office/drawing/2014/main" id="{EAC2B0AC-7801-6C42-BA03-0669DC118159}"/>
              </a:ext>
            </a:extLst>
          </p:cNvPr>
          <p:cNvSpPr/>
          <p:nvPr userDrawn="1"/>
        </p:nvSpPr>
        <p:spPr>
          <a:xfrm>
            <a:off x="308038" y="161606"/>
            <a:ext cx="54000" cy="68580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dirty="0">
              <a:solidFill>
                <a:schemeClr val="accent1"/>
              </a:solidFill>
            </a:endParaRPr>
          </a:p>
        </p:txBody>
      </p:sp>
      <p:sp>
        <p:nvSpPr>
          <p:cNvPr id="24" name="スライド番号プレースホルダ 5">
            <a:extLst>
              <a:ext uri="{FF2B5EF4-FFF2-40B4-BE49-F238E27FC236}">
                <a16:creationId xmlns:a16="http://schemas.microsoft.com/office/drawing/2014/main" id="{71FCF96E-3BB8-0745-B029-6B6BE4291274}"/>
              </a:ext>
            </a:extLst>
          </p:cNvPr>
          <p:cNvSpPr>
            <a:spLocks noGrp="1"/>
          </p:cNvSpPr>
          <p:nvPr>
            <p:ph type="sldNum" sz="quarter" idx="4"/>
          </p:nvPr>
        </p:nvSpPr>
        <p:spPr>
          <a:xfrm>
            <a:off x="311150" y="6523001"/>
            <a:ext cx="294928" cy="196131"/>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a:t>
            </a:fld>
            <a:endParaRPr lang="ja-JP" altLang="en-US"/>
          </a:p>
        </p:txBody>
      </p:sp>
      <p:sp>
        <p:nvSpPr>
          <p:cNvPr id="25" name="Text Placeholder 6">
            <a:extLst>
              <a:ext uri="{FF2B5EF4-FFF2-40B4-BE49-F238E27FC236}">
                <a16:creationId xmlns:a16="http://schemas.microsoft.com/office/drawing/2014/main" id="{875659DC-941F-AA40-8336-C3B1BF32BAD6}"/>
              </a:ext>
            </a:extLst>
          </p:cNvPr>
          <p:cNvSpPr>
            <a:spLocks noGrp="1"/>
          </p:cNvSpPr>
          <p:nvPr>
            <p:ph type="body" sz="quarter" idx="16" hasCustomPrompt="1"/>
          </p:nvPr>
        </p:nvSpPr>
        <p:spPr>
          <a:xfrm>
            <a:off x="606078" y="6523001"/>
            <a:ext cx="6968348" cy="205613"/>
          </a:xfrm>
          <a:prstGeom prst="rect">
            <a:avLst/>
          </a:prstGeom>
        </p:spPr>
        <p:txBody>
          <a:bodyPr wrap="none" tIns="0" rIns="0" bIns="72000" numCol="1" anchor="ctr">
            <a:noAutofit/>
          </a:bodyPr>
          <a:lstStyle>
            <a:lvl1pPr marL="0" indent="0">
              <a:lnSpc>
                <a:spcPts val="1600"/>
              </a:lnSpc>
              <a:spcBef>
                <a:spcPts val="0"/>
              </a:spcBef>
              <a:spcAft>
                <a:spcPts val="600"/>
              </a:spcAft>
              <a:buFont typeface="Arial" panose="020B0604020202020204" pitchFamily="34" charset="0"/>
              <a:buNone/>
              <a:defRPr sz="800" b="0">
                <a:solidFill>
                  <a:schemeClr val="accent3"/>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dirty="0"/>
              <a:t>Private and confidential. For internal use only.</a:t>
            </a:r>
          </a:p>
        </p:txBody>
      </p:sp>
      <p:sp>
        <p:nvSpPr>
          <p:cNvPr id="17" name="Text Placeholder 2">
            <a:extLst>
              <a:ext uri="{FF2B5EF4-FFF2-40B4-BE49-F238E27FC236}">
                <a16:creationId xmlns:a16="http://schemas.microsoft.com/office/drawing/2014/main" id="{45375A5A-6A84-7145-B49C-982F84619406}"/>
              </a:ext>
            </a:extLst>
          </p:cNvPr>
          <p:cNvSpPr>
            <a:spLocks noGrp="1"/>
          </p:cNvSpPr>
          <p:nvPr>
            <p:ph type="body" sz="quarter" idx="20" hasCustomPrompt="1"/>
          </p:nvPr>
        </p:nvSpPr>
        <p:spPr>
          <a:xfrm>
            <a:off x="311151" y="1491373"/>
            <a:ext cx="3751965" cy="1464957"/>
          </a:xfrm>
        </p:spPr>
        <p:txBody>
          <a:bodyPr tIns="0" rIns="0" bIns="0" numCol="1" spcCol="126000">
            <a:noAutofit/>
          </a:bodyPr>
          <a:lstStyle>
            <a:lvl1pPr marL="0" indent="0">
              <a:lnSpc>
                <a:spcPct val="100000"/>
              </a:lnSpc>
              <a:spcBef>
                <a:spcPts val="0"/>
              </a:spcBef>
              <a:buNone/>
              <a:defRPr sz="1600" b="1"/>
            </a:lvl1pPr>
            <a:lvl2pPr marL="457068" indent="0">
              <a:buNone/>
              <a:defRPr sz="1800" b="1"/>
            </a:lvl2pPr>
            <a:lvl3pPr marL="914149" indent="0">
              <a:buNone/>
              <a:defRPr sz="1800" b="1"/>
            </a:lvl3pPr>
            <a:lvl4pPr marL="1371219" indent="0">
              <a:buNone/>
              <a:defRPr sz="1800" b="1"/>
            </a:lvl4pPr>
            <a:lvl5pPr marL="1828290" indent="0">
              <a:buNone/>
              <a:defRPr sz="1800" b="1"/>
            </a:lvl5pPr>
          </a:lstStyle>
          <a:p>
            <a:pPr lvl="0"/>
            <a:r>
              <a:rPr lang="en-US" dirty="0"/>
              <a:t>This is your Primary Text.</a:t>
            </a:r>
            <a:endParaRPr lang="en-JP" dirty="0"/>
          </a:p>
        </p:txBody>
      </p:sp>
      <p:sp>
        <p:nvSpPr>
          <p:cNvPr id="18" name="Text Placeholder 6">
            <a:extLst>
              <a:ext uri="{FF2B5EF4-FFF2-40B4-BE49-F238E27FC236}">
                <a16:creationId xmlns:a16="http://schemas.microsoft.com/office/drawing/2014/main" id="{5F7E9041-544E-3547-AC30-65F55E91E1ED}"/>
              </a:ext>
            </a:extLst>
          </p:cNvPr>
          <p:cNvSpPr>
            <a:spLocks noGrp="1"/>
          </p:cNvSpPr>
          <p:nvPr>
            <p:ph type="body" sz="quarter" idx="22" hasCustomPrompt="1"/>
          </p:nvPr>
        </p:nvSpPr>
        <p:spPr>
          <a:xfrm>
            <a:off x="311150" y="1093767"/>
            <a:ext cx="3751965" cy="272786"/>
          </a:xfrm>
        </p:spPr>
        <p:txBody>
          <a:bodyPr tIns="0" rIns="0" bIns="0" numCol="1">
            <a:noAutofit/>
          </a:bodyPr>
          <a:lstStyle>
            <a:lvl1pPr marL="0" indent="0">
              <a:lnSpc>
                <a:spcPct val="100000"/>
              </a:lnSpc>
              <a:spcBef>
                <a:spcPts val="0"/>
              </a:spcBef>
              <a:spcAft>
                <a:spcPts val="600"/>
              </a:spcAft>
              <a:buNone/>
              <a:defRPr sz="20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dirty="0"/>
              <a:t>This is your Primary Title</a:t>
            </a:r>
          </a:p>
        </p:txBody>
      </p:sp>
    </p:spTree>
    <p:extLst>
      <p:ext uri="{BB962C8B-B14F-4D97-AF65-F5344CB8AC3E}">
        <p14:creationId xmlns:p14="http://schemas.microsoft.com/office/powerpoint/2010/main" val="3822941942"/>
      </p:ext>
    </p:extLst>
  </p:cSld>
  <p:clrMapOvr>
    <a:masterClrMapping/>
  </p:clrMapOvr>
  <p:transition spd="slow">
    <p:push dir="u"/>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Advanced Chart 2 Column">
    <p:spTree>
      <p:nvGrpSpPr>
        <p:cNvPr id="1" name=""/>
        <p:cNvGrpSpPr/>
        <p:nvPr/>
      </p:nvGrpSpPr>
      <p:grpSpPr>
        <a:xfrm>
          <a:off x="0" y="0"/>
          <a:ext cx="0" cy="0"/>
          <a:chOff x="0" y="0"/>
          <a:chExt cx="0" cy="0"/>
        </a:xfrm>
      </p:grpSpPr>
      <p:sp>
        <p:nvSpPr>
          <p:cNvPr id="8" name="Chart Placeholder 7">
            <a:extLst>
              <a:ext uri="{FF2B5EF4-FFF2-40B4-BE49-F238E27FC236}">
                <a16:creationId xmlns:a16="http://schemas.microsoft.com/office/drawing/2014/main" id="{A6D4E593-FDCC-D14E-9C5E-5F309E415C26}"/>
              </a:ext>
            </a:extLst>
          </p:cNvPr>
          <p:cNvSpPr>
            <a:spLocks noGrp="1"/>
          </p:cNvSpPr>
          <p:nvPr>
            <p:ph type="chart" sz="quarter" idx="21" hasCustomPrompt="1"/>
          </p:nvPr>
        </p:nvSpPr>
        <p:spPr>
          <a:xfrm>
            <a:off x="309223" y="3076286"/>
            <a:ext cx="5708650" cy="3340389"/>
          </a:xfrm>
          <a:prstGeom prst="rect">
            <a:avLst/>
          </a:prstGeom>
        </p:spPr>
        <p:txBody>
          <a:bodyPr>
            <a:normAutofit/>
          </a:bodyPr>
          <a:lstStyle>
            <a:lvl1pPr marL="0" indent="0">
              <a:buNone/>
              <a:defRPr sz="1400"/>
            </a:lvl1pPr>
          </a:lstStyle>
          <a:p>
            <a:r>
              <a:rPr lang="en-JP" dirty="0"/>
              <a:t>Insert Chart</a:t>
            </a:r>
          </a:p>
        </p:txBody>
      </p:sp>
      <p:sp>
        <p:nvSpPr>
          <p:cNvPr id="9" name="Chart Placeholder 7">
            <a:extLst>
              <a:ext uri="{FF2B5EF4-FFF2-40B4-BE49-F238E27FC236}">
                <a16:creationId xmlns:a16="http://schemas.microsoft.com/office/drawing/2014/main" id="{F1FC7466-185A-8B44-ABF0-5410C1127700}"/>
              </a:ext>
            </a:extLst>
          </p:cNvPr>
          <p:cNvSpPr>
            <a:spLocks noGrp="1"/>
          </p:cNvSpPr>
          <p:nvPr>
            <p:ph type="chart" sz="quarter" idx="22" hasCustomPrompt="1"/>
          </p:nvPr>
        </p:nvSpPr>
        <p:spPr>
          <a:xfrm>
            <a:off x="6206170" y="3076286"/>
            <a:ext cx="5708650" cy="3340389"/>
          </a:xfrm>
          <a:prstGeom prst="rect">
            <a:avLst/>
          </a:prstGeom>
        </p:spPr>
        <p:txBody>
          <a:bodyPr>
            <a:normAutofit/>
          </a:bodyPr>
          <a:lstStyle>
            <a:lvl1pPr marL="0" indent="0">
              <a:buNone/>
              <a:defRPr sz="1400"/>
            </a:lvl1pPr>
          </a:lstStyle>
          <a:p>
            <a:r>
              <a:rPr lang="en-JP" dirty="0"/>
              <a:t>Insert Chart</a:t>
            </a:r>
          </a:p>
        </p:txBody>
      </p:sp>
      <p:pic>
        <p:nvPicPr>
          <p:cNvPr id="10" name="Picture 9" descr="Takeda">
            <a:extLst>
              <a:ext uri="{FF2B5EF4-FFF2-40B4-BE49-F238E27FC236}">
                <a16:creationId xmlns:a16="http://schemas.microsoft.com/office/drawing/2014/main" id="{F183604A-2112-D443-8B35-2DFEE7121A6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546331" y="-1615"/>
            <a:ext cx="1696232" cy="940780"/>
          </a:xfrm>
          <a:prstGeom prst="rect">
            <a:avLst/>
          </a:prstGeom>
        </p:spPr>
      </p:pic>
      <p:sp>
        <p:nvSpPr>
          <p:cNvPr id="12" name="タイトル プレースホルダ 1">
            <a:extLst>
              <a:ext uri="{FF2B5EF4-FFF2-40B4-BE49-F238E27FC236}">
                <a16:creationId xmlns:a16="http://schemas.microsoft.com/office/drawing/2014/main" id="{906CE02B-33D8-B048-A73D-781A3402C2B1}"/>
              </a:ext>
            </a:extLst>
          </p:cNvPr>
          <p:cNvSpPr>
            <a:spLocks noGrp="1"/>
          </p:cNvSpPr>
          <p:nvPr>
            <p:ph type="title" hasCustomPrompt="1"/>
          </p:nvPr>
        </p:nvSpPr>
        <p:spPr>
          <a:xfrm>
            <a:off x="606078" y="161605"/>
            <a:ext cx="9940253" cy="685801"/>
          </a:xfrm>
          <a:prstGeom prst="rect">
            <a:avLst/>
          </a:prstGeom>
        </p:spPr>
        <p:txBody>
          <a:bodyPr vert="horz" lIns="0" tIns="0" rIns="0" bIns="0" rtlCol="0" anchor="ctr">
            <a:normAutofit/>
          </a:bodyPr>
          <a:lstStyle/>
          <a:p>
            <a:r>
              <a:rPr kumimoji="1" lang="en-US" altLang="ja-JP" dirty="0"/>
              <a:t>Click to add title</a:t>
            </a:r>
            <a:endParaRPr kumimoji="1" lang="ja-JP" altLang="en-US"/>
          </a:p>
        </p:txBody>
      </p:sp>
      <p:sp>
        <p:nvSpPr>
          <p:cNvPr id="14" name="Footer Placeholder 8">
            <a:extLst>
              <a:ext uri="{FF2B5EF4-FFF2-40B4-BE49-F238E27FC236}">
                <a16:creationId xmlns:a16="http://schemas.microsoft.com/office/drawing/2014/main" id="{C2587943-8F51-3542-B7BE-5781719445F9}"/>
              </a:ext>
            </a:extLst>
          </p:cNvPr>
          <p:cNvSpPr>
            <a:spLocks noGrp="1"/>
          </p:cNvSpPr>
          <p:nvPr>
            <p:ph type="ftr" sz="quarter" idx="3"/>
          </p:nvPr>
        </p:nvSpPr>
        <p:spPr>
          <a:xfrm>
            <a:off x="7766050" y="6523001"/>
            <a:ext cx="4114800" cy="196131"/>
          </a:xfrm>
          <a:prstGeom prst="rect">
            <a:avLst/>
          </a:prstGeom>
        </p:spPr>
        <p:txBody>
          <a:bodyPr vert="horz" lIns="91440" tIns="45720" rIns="0" bIns="45720" rtlCol="0" anchor="ctr"/>
          <a:lstStyle>
            <a:lvl1pPr algn="r">
              <a:defRPr sz="800" b="1" spc="100" baseline="0">
                <a:solidFill>
                  <a:schemeClr val="tx1"/>
                </a:solidFill>
              </a:defRPr>
            </a:lvl1pPr>
          </a:lstStyle>
          <a:p>
            <a:r>
              <a:rPr lang="en-JP" dirty="0"/>
              <a:t> </a:t>
            </a:r>
          </a:p>
        </p:txBody>
      </p:sp>
      <p:sp>
        <p:nvSpPr>
          <p:cNvPr id="17" name="Rectangle 16">
            <a:extLst>
              <a:ext uri="{FF2B5EF4-FFF2-40B4-BE49-F238E27FC236}">
                <a16:creationId xmlns:a16="http://schemas.microsoft.com/office/drawing/2014/main" id="{B679FB0B-7616-F04F-9B4C-586869A82E96}"/>
              </a:ext>
            </a:extLst>
          </p:cNvPr>
          <p:cNvSpPr/>
          <p:nvPr userDrawn="1"/>
        </p:nvSpPr>
        <p:spPr>
          <a:xfrm>
            <a:off x="308038" y="161606"/>
            <a:ext cx="54000" cy="68580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dirty="0">
              <a:solidFill>
                <a:schemeClr val="accent1"/>
              </a:solidFill>
            </a:endParaRPr>
          </a:p>
        </p:txBody>
      </p:sp>
      <p:sp>
        <p:nvSpPr>
          <p:cNvPr id="22" name="スライド番号プレースホルダ 5">
            <a:extLst>
              <a:ext uri="{FF2B5EF4-FFF2-40B4-BE49-F238E27FC236}">
                <a16:creationId xmlns:a16="http://schemas.microsoft.com/office/drawing/2014/main" id="{8AFBB1AB-19B7-1347-93F8-D14235DD2317}"/>
              </a:ext>
            </a:extLst>
          </p:cNvPr>
          <p:cNvSpPr>
            <a:spLocks noGrp="1"/>
          </p:cNvSpPr>
          <p:nvPr>
            <p:ph type="sldNum" sz="quarter" idx="4"/>
          </p:nvPr>
        </p:nvSpPr>
        <p:spPr>
          <a:xfrm>
            <a:off x="311150" y="6523001"/>
            <a:ext cx="294928" cy="196131"/>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a:t>
            </a:fld>
            <a:endParaRPr lang="ja-JP" altLang="en-US"/>
          </a:p>
        </p:txBody>
      </p:sp>
      <p:sp>
        <p:nvSpPr>
          <p:cNvPr id="23" name="Text Placeholder 6">
            <a:extLst>
              <a:ext uri="{FF2B5EF4-FFF2-40B4-BE49-F238E27FC236}">
                <a16:creationId xmlns:a16="http://schemas.microsoft.com/office/drawing/2014/main" id="{1C168495-CA79-E440-A93B-B87B36748352}"/>
              </a:ext>
            </a:extLst>
          </p:cNvPr>
          <p:cNvSpPr>
            <a:spLocks noGrp="1"/>
          </p:cNvSpPr>
          <p:nvPr>
            <p:ph type="body" sz="quarter" idx="16" hasCustomPrompt="1"/>
          </p:nvPr>
        </p:nvSpPr>
        <p:spPr>
          <a:xfrm>
            <a:off x="606078" y="6523001"/>
            <a:ext cx="6968348" cy="205613"/>
          </a:xfrm>
          <a:prstGeom prst="rect">
            <a:avLst/>
          </a:prstGeom>
        </p:spPr>
        <p:txBody>
          <a:bodyPr wrap="none" tIns="0" rIns="0" bIns="72000" numCol="1" anchor="ctr">
            <a:noAutofit/>
          </a:bodyPr>
          <a:lstStyle>
            <a:lvl1pPr marL="0" indent="0">
              <a:lnSpc>
                <a:spcPts val="1600"/>
              </a:lnSpc>
              <a:spcBef>
                <a:spcPts val="0"/>
              </a:spcBef>
              <a:spcAft>
                <a:spcPts val="600"/>
              </a:spcAft>
              <a:buFont typeface="Arial" panose="020B0604020202020204" pitchFamily="34" charset="0"/>
              <a:buNone/>
              <a:defRPr sz="800" b="0">
                <a:solidFill>
                  <a:schemeClr val="accent3"/>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dirty="0"/>
              <a:t>Private and confidential. For internal use only.</a:t>
            </a:r>
          </a:p>
        </p:txBody>
      </p:sp>
      <p:sp>
        <p:nvSpPr>
          <p:cNvPr id="15" name="Text Placeholder 2">
            <a:extLst>
              <a:ext uri="{FF2B5EF4-FFF2-40B4-BE49-F238E27FC236}">
                <a16:creationId xmlns:a16="http://schemas.microsoft.com/office/drawing/2014/main" id="{F6F06E4B-A978-4E46-AE6C-67B54F7E34D5}"/>
              </a:ext>
            </a:extLst>
          </p:cNvPr>
          <p:cNvSpPr>
            <a:spLocks noGrp="1"/>
          </p:cNvSpPr>
          <p:nvPr>
            <p:ph type="body" sz="quarter" idx="20" hasCustomPrompt="1"/>
          </p:nvPr>
        </p:nvSpPr>
        <p:spPr>
          <a:xfrm>
            <a:off x="311150" y="1491373"/>
            <a:ext cx="11603669" cy="1464957"/>
          </a:xfrm>
        </p:spPr>
        <p:txBody>
          <a:bodyPr tIns="0" rIns="0" bIns="0" numCol="2" spcCol="126000">
            <a:noAutofit/>
          </a:bodyPr>
          <a:lstStyle>
            <a:lvl1pPr marL="0" indent="0">
              <a:lnSpc>
                <a:spcPct val="100000"/>
              </a:lnSpc>
              <a:spcBef>
                <a:spcPts val="0"/>
              </a:spcBef>
              <a:buNone/>
              <a:defRPr sz="1600" b="1"/>
            </a:lvl1pPr>
            <a:lvl2pPr marL="457068" indent="0">
              <a:buNone/>
              <a:defRPr sz="1800" b="1"/>
            </a:lvl2pPr>
            <a:lvl3pPr marL="914149" indent="0">
              <a:buNone/>
              <a:defRPr sz="1800" b="1"/>
            </a:lvl3pPr>
            <a:lvl4pPr marL="1371219" indent="0">
              <a:buNone/>
              <a:defRPr sz="1800" b="1"/>
            </a:lvl4pPr>
            <a:lvl5pPr marL="1828290" indent="0">
              <a:buNone/>
              <a:defRPr sz="1800" b="1"/>
            </a:lvl5pPr>
          </a:lstStyle>
          <a:p>
            <a:pPr lvl="0"/>
            <a:r>
              <a:rPr lang="en-US" dirty="0"/>
              <a:t>This is your Primary Text.</a:t>
            </a:r>
            <a:endParaRPr lang="en-JP" dirty="0"/>
          </a:p>
        </p:txBody>
      </p:sp>
      <p:sp>
        <p:nvSpPr>
          <p:cNvPr id="18" name="Text Placeholder 6">
            <a:extLst>
              <a:ext uri="{FF2B5EF4-FFF2-40B4-BE49-F238E27FC236}">
                <a16:creationId xmlns:a16="http://schemas.microsoft.com/office/drawing/2014/main" id="{3FF373A1-4E48-6C48-A075-153436CF76DC}"/>
              </a:ext>
            </a:extLst>
          </p:cNvPr>
          <p:cNvSpPr>
            <a:spLocks noGrp="1"/>
          </p:cNvSpPr>
          <p:nvPr>
            <p:ph type="body" sz="quarter" idx="23" hasCustomPrompt="1"/>
          </p:nvPr>
        </p:nvSpPr>
        <p:spPr>
          <a:xfrm>
            <a:off x="311149" y="1093767"/>
            <a:ext cx="11603669" cy="272786"/>
          </a:xfrm>
        </p:spPr>
        <p:txBody>
          <a:bodyPr tIns="0" rIns="0" bIns="0" numCol="1">
            <a:noAutofit/>
          </a:bodyPr>
          <a:lstStyle>
            <a:lvl1pPr marL="0" indent="0">
              <a:lnSpc>
                <a:spcPct val="100000"/>
              </a:lnSpc>
              <a:spcBef>
                <a:spcPts val="0"/>
              </a:spcBef>
              <a:spcAft>
                <a:spcPts val="600"/>
              </a:spcAft>
              <a:buNone/>
              <a:defRPr sz="20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dirty="0"/>
              <a:t>This is your Primary Title</a:t>
            </a:r>
          </a:p>
        </p:txBody>
      </p:sp>
    </p:spTree>
    <p:extLst>
      <p:ext uri="{BB962C8B-B14F-4D97-AF65-F5344CB8AC3E}">
        <p14:creationId xmlns:p14="http://schemas.microsoft.com/office/powerpoint/2010/main" val="3161561364"/>
      </p:ext>
    </p:extLst>
  </p:cSld>
  <p:clrMapOvr>
    <a:masterClrMapping/>
  </p:clrMapOvr>
  <p:transition spd="slow">
    <p:push dir="u"/>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Advanced Chart 3 Column">
    <p:spTree>
      <p:nvGrpSpPr>
        <p:cNvPr id="1" name=""/>
        <p:cNvGrpSpPr/>
        <p:nvPr/>
      </p:nvGrpSpPr>
      <p:grpSpPr>
        <a:xfrm>
          <a:off x="0" y="0"/>
          <a:ext cx="0" cy="0"/>
          <a:chOff x="0" y="0"/>
          <a:chExt cx="0" cy="0"/>
        </a:xfrm>
      </p:grpSpPr>
      <p:sp>
        <p:nvSpPr>
          <p:cNvPr id="8" name="Chart Placeholder 7">
            <a:extLst>
              <a:ext uri="{FF2B5EF4-FFF2-40B4-BE49-F238E27FC236}">
                <a16:creationId xmlns:a16="http://schemas.microsoft.com/office/drawing/2014/main" id="{A6D4E593-FDCC-D14E-9C5E-5F309E415C26}"/>
              </a:ext>
            </a:extLst>
          </p:cNvPr>
          <p:cNvSpPr>
            <a:spLocks noGrp="1"/>
          </p:cNvSpPr>
          <p:nvPr>
            <p:ph type="chart" sz="quarter" idx="21" hasCustomPrompt="1"/>
          </p:nvPr>
        </p:nvSpPr>
        <p:spPr>
          <a:xfrm>
            <a:off x="309224" y="3076286"/>
            <a:ext cx="3757810" cy="3340389"/>
          </a:xfrm>
          <a:prstGeom prst="rect">
            <a:avLst/>
          </a:prstGeom>
        </p:spPr>
        <p:txBody>
          <a:bodyPr>
            <a:normAutofit/>
          </a:bodyPr>
          <a:lstStyle>
            <a:lvl1pPr marL="0" indent="0">
              <a:buNone/>
              <a:defRPr sz="1400"/>
            </a:lvl1pPr>
          </a:lstStyle>
          <a:p>
            <a:r>
              <a:rPr lang="en-JP" dirty="0"/>
              <a:t>Insert Chart</a:t>
            </a:r>
          </a:p>
        </p:txBody>
      </p:sp>
      <p:sp>
        <p:nvSpPr>
          <p:cNvPr id="10" name="Chart Placeholder 7">
            <a:extLst>
              <a:ext uri="{FF2B5EF4-FFF2-40B4-BE49-F238E27FC236}">
                <a16:creationId xmlns:a16="http://schemas.microsoft.com/office/drawing/2014/main" id="{8D9BD23C-1777-C442-B4B0-BADF450483EA}"/>
              </a:ext>
            </a:extLst>
          </p:cNvPr>
          <p:cNvSpPr>
            <a:spLocks noGrp="1"/>
          </p:cNvSpPr>
          <p:nvPr>
            <p:ph type="chart" sz="quarter" idx="22" hasCustomPrompt="1"/>
          </p:nvPr>
        </p:nvSpPr>
        <p:spPr>
          <a:xfrm>
            <a:off x="4217095" y="3076286"/>
            <a:ext cx="3757810" cy="3340389"/>
          </a:xfrm>
          <a:prstGeom prst="rect">
            <a:avLst/>
          </a:prstGeom>
        </p:spPr>
        <p:txBody>
          <a:bodyPr>
            <a:normAutofit/>
          </a:bodyPr>
          <a:lstStyle>
            <a:lvl1pPr marL="0" indent="0">
              <a:buNone/>
              <a:defRPr sz="1400"/>
            </a:lvl1pPr>
          </a:lstStyle>
          <a:p>
            <a:r>
              <a:rPr lang="en-JP" dirty="0"/>
              <a:t>Insert Chart</a:t>
            </a:r>
          </a:p>
        </p:txBody>
      </p:sp>
      <p:sp>
        <p:nvSpPr>
          <p:cNvPr id="11" name="Chart Placeholder 7">
            <a:extLst>
              <a:ext uri="{FF2B5EF4-FFF2-40B4-BE49-F238E27FC236}">
                <a16:creationId xmlns:a16="http://schemas.microsoft.com/office/drawing/2014/main" id="{2D7D413C-2FF1-204A-83C6-B7426603B7C2}"/>
              </a:ext>
            </a:extLst>
          </p:cNvPr>
          <p:cNvSpPr>
            <a:spLocks noGrp="1"/>
          </p:cNvSpPr>
          <p:nvPr>
            <p:ph type="chart" sz="quarter" idx="23" hasCustomPrompt="1"/>
          </p:nvPr>
        </p:nvSpPr>
        <p:spPr>
          <a:xfrm>
            <a:off x="8123041" y="3076286"/>
            <a:ext cx="3757810" cy="3340389"/>
          </a:xfrm>
          <a:prstGeom prst="rect">
            <a:avLst/>
          </a:prstGeom>
        </p:spPr>
        <p:txBody>
          <a:bodyPr>
            <a:normAutofit/>
          </a:bodyPr>
          <a:lstStyle>
            <a:lvl1pPr marL="0" indent="0">
              <a:buNone/>
              <a:defRPr sz="1400"/>
            </a:lvl1pPr>
          </a:lstStyle>
          <a:p>
            <a:r>
              <a:rPr lang="en-JP" dirty="0"/>
              <a:t>Insert Chart</a:t>
            </a:r>
          </a:p>
        </p:txBody>
      </p:sp>
      <p:pic>
        <p:nvPicPr>
          <p:cNvPr id="13" name="Picture 12" descr="Takeda">
            <a:extLst>
              <a:ext uri="{FF2B5EF4-FFF2-40B4-BE49-F238E27FC236}">
                <a16:creationId xmlns:a16="http://schemas.microsoft.com/office/drawing/2014/main" id="{0C4979BF-EBB2-214C-8087-7AC4B2163D8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546331" y="-1615"/>
            <a:ext cx="1696232" cy="940780"/>
          </a:xfrm>
          <a:prstGeom prst="rect">
            <a:avLst/>
          </a:prstGeom>
        </p:spPr>
      </p:pic>
      <p:sp>
        <p:nvSpPr>
          <p:cNvPr id="17" name="タイトル プレースホルダ 1">
            <a:extLst>
              <a:ext uri="{FF2B5EF4-FFF2-40B4-BE49-F238E27FC236}">
                <a16:creationId xmlns:a16="http://schemas.microsoft.com/office/drawing/2014/main" id="{2FFB1535-D35E-D242-B225-DDF1C53BB8D4}"/>
              </a:ext>
            </a:extLst>
          </p:cNvPr>
          <p:cNvSpPr>
            <a:spLocks noGrp="1"/>
          </p:cNvSpPr>
          <p:nvPr>
            <p:ph type="title" hasCustomPrompt="1"/>
          </p:nvPr>
        </p:nvSpPr>
        <p:spPr>
          <a:xfrm>
            <a:off x="606078" y="161605"/>
            <a:ext cx="9940253" cy="685801"/>
          </a:xfrm>
          <a:prstGeom prst="rect">
            <a:avLst/>
          </a:prstGeom>
        </p:spPr>
        <p:txBody>
          <a:bodyPr vert="horz" lIns="0" tIns="0" rIns="0" bIns="0" rtlCol="0" anchor="ctr">
            <a:normAutofit/>
          </a:bodyPr>
          <a:lstStyle/>
          <a:p>
            <a:r>
              <a:rPr kumimoji="1" lang="en-US" altLang="ja-JP" dirty="0"/>
              <a:t>Click to add title</a:t>
            </a:r>
            <a:endParaRPr kumimoji="1" lang="ja-JP" altLang="en-US"/>
          </a:p>
        </p:txBody>
      </p:sp>
      <p:sp>
        <p:nvSpPr>
          <p:cNvPr id="19" name="Footer Placeholder 8">
            <a:extLst>
              <a:ext uri="{FF2B5EF4-FFF2-40B4-BE49-F238E27FC236}">
                <a16:creationId xmlns:a16="http://schemas.microsoft.com/office/drawing/2014/main" id="{47DB5E3C-7053-3645-A234-760F5ED1236A}"/>
              </a:ext>
            </a:extLst>
          </p:cNvPr>
          <p:cNvSpPr>
            <a:spLocks noGrp="1"/>
          </p:cNvSpPr>
          <p:nvPr>
            <p:ph type="ftr" sz="quarter" idx="3"/>
          </p:nvPr>
        </p:nvSpPr>
        <p:spPr>
          <a:xfrm>
            <a:off x="7766050" y="6523001"/>
            <a:ext cx="4114800" cy="196131"/>
          </a:xfrm>
          <a:prstGeom prst="rect">
            <a:avLst/>
          </a:prstGeom>
        </p:spPr>
        <p:txBody>
          <a:bodyPr vert="horz" lIns="91440" tIns="45720" rIns="0" bIns="45720" rtlCol="0" anchor="ctr"/>
          <a:lstStyle>
            <a:lvl1pPr algn="r">
              <a:defRPr sz="800" b="1" spc="100" baseline="0">
                <a:solidFill>
                  <a:schemeClr val="tx1"/>
                </a:solidFill>
              </a:defRPr>
            </a:lvl1pPr>
          </a:lstStyle>
          <a:p>
            <a:r>
              <a:rPr lang="en-JP" dirty="0"/>
              <a:t> </a:t>
            </a:r>
          </a:p>
        </p:txBody>
      </p:sp>
      <p:sp>
        <p:nvSpPr>
          <p:cNvPr id="22" name="Rectangle 21">
            <a:extLst>
              <a:ext uri="{FF2B5EF4-FFF2-40B4-BE49-F238E27FC236}">
                <a16:creationId xmlns:a16="http://schemas.microsoft.com/office/drawing/2014/main" id="{DEFC8CB7-67E9-8A46-B53F-F34ACE18BE87}"/>
              </a:ext>
            </a:extLst>
          </p:cNvPr>
          <p:cNvSpPr/>
          <p:nvPr userDrawn="1"/>
        </p:nvSpPr>
        <p:spPr>
          <a:xfrm>
            <a:off x="308038" y="161606"/>
            <a:ext cx="54000" cy="68580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dirty="0">
              <a:solidFill>
                <a:schemeClr val="accent1"/>
              </a:solidFill>
            </a:endParaRPr>
          </a:p>
        </p:txBody>
      </p:sp>
      <p:sp>
        <p:nvSpPr>
          <p:cNvPr id="25" name="スライド番号プレースホルダ 5">
            <a:extLst>
              <a:ext uri="{FF2B5EF4-FFF2-40B4-BE49-F238E27FC236}">
                <a16:creationId xmlns:a16="http://schemas.microsoft.com/office/drawing/2014/main" id="{5EB1023E-4E73-AD49-83B0-D7B458250C6F}"/>
              </a:ext>
            </a:extLst>
          </p:cNvPr>
          <p:cNvSpPr>
            <a:spLocks noGrp="1"/>
          </p:cNvSpPr>
          <p:nvPr>
            <p:ph type="sldNum" sz="quarter" idx="4"/>
          </p:nvPr>
        </p:nvSpPr>
        <p:spPr>
          <a:xfrm>
            <a:off x="311150" y="6523001"/>
            <a:ext cx="294928" cy="196131"/>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a:t>
            </a:fld>
            <a:endParaRPr lang="ja-JP" altLang="en-US"/>
          </a:p>
        </p:txBody>
      </p:sp>
      <p:sp>
        <p:nvSpPr>
          <p:cNvPr id="26" name="Text Placeholder 6">
            <a:extLst>
              <a:ext uri="{FF2B5EF4-FFF2-40B4-BE49-F238E27FC236}">
                <a16:creationId xmlns:a16="http://schemas.microsoft.com/office/drawing/2014/main" id="{4942DB0C-137A-4E4C-B926-77CEECC512A8}"/>
              </a:ext>
            </a:extLst>
          </p:cNvPr>
          <p:cNvSpPr>
            <a:spLocks noGrp="1"/>
          </p:cNvSpPr>
          <p:nvPr>
            <p:ph type="body" sz="quarter" idx="16" hasCustomPrompt="1"/>
          </p:nvPr>
        </p:nvSpPr>
        <p:spPr>
          <a:xfrm>
            <a:off x="606078" y="6523001"/>
            <a:ext cx="6968348" cy="205613"/>
          </a:xfrm>
          <a:prstGeom prst="rect">
            <a:avLst/>
          </a:prstGeom>
        </p:spPr>
        <p:txBody>
          <a:bodyPr wrap="none" tIns="0" rIns="0" bIns="72000" numCol="1" anchor="ctr">
            <a:noAutofit/>
          </a:bodyPr>
          <a:lstStyle>
            <a:lvl1pPr marL="0" indent="0">
              <a:lnSpc>
                <a:spcPts val="1600"/>
              </a:lnSpc>
              <a:spcBef>
                <a:spcPts val="0"/>
              </a:spcBef>
              <a:spcAft>
                <a:spcPts val="600"/>
              </a:spcAft>
              <a:buFont typeface="Arial" panose="020B0604020202020204" pitchFamily="34" charset="0"/>
              <a:buNone/>
              <a:defRPr sz="800" b="0">
                <a:solidFill>
                  <a:schemeClr val="accent3"/>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dirty="0"/>
              <a:t>Private and confidential. For internal use only.</a:t>
            </a:r>
          </a:p>
        </p:txBody>
      </p:sp>
      <p:sp>
        <p:nvSpPr>
          <p:cNvPr id="15" name="Text Placeholder 2">
            <a:extLst>
              <a:ext uri="{FF2B5EF4-FFF2-40B4-BE49-F238E27FC236}">
                <a16:creationId xmlns:a16="http://schemas.microsoft.com/office/drawing/2014/main" id="{AD1171B1-AEC6-164D-8FE0-E0B9353A55BF}"/>
              </a:ext>
            </a:extLst>
          </p:cNvPr>
          <p:cNvSpPr>
            <a:spLocks noGrp="1"/>
          </p:cNvSpPr>
          <p:nvPr>
            <p:ph type="body" sz="quarter" idx="20" hasCustomPrompt="1"/>
          </p:nvPr>
        </p:nvSpPr>
        <p:spPr>
          <a:xfrm>
            <a:off x="311150" y="1491373"/>
            <a:ext cx="11569699" cy="1464957"/>
          </a:xfrm>
        </p:spPr>
        <p:txBody>
          <a:bodyPr tIns="0" rIns="0" bIns="0" numCol="2" spcCol="126000">
            <a:noAutofit/>
          </a:bodyPr>
          <a:lstStyle>
            <a:lvl1pPr marL="0" indent="0">
              <a:lnSpc>
                <a:spcPct val="100000"/>
              </a:lnSpc>
              <a:spcBef>
                <a:spcPts val="0"/>
              </a:spcBef>
              <a:buNone/>
              <a:defRPr sz="1600" b="1"/>
            </a:lvl1pPr>
            <a:lvl2pPr marL="457068" indent="0">
              <a:buNone/>
              <a:defRPr sz="1800" b="1"/>
            </a:lvl2pPr>
            <a:lvl3pPr marL="914149" indent="0">
              <a:buNone/>
              <a:defRPr sz="1800" b="1"/>
            </a:lvl3pPr>
            <a:lvl4pPr marL="1371219" indent="0">
              <a:buNone/>
              <a:defRPr sz="1800" b="1"/>
            </a:lvl4pPr>
            <a:lvl5pPr marL="1828290" indent="0">
              <a:buNone/>
              <a:defRPr sz="1800" b="1"/>
            </a:lvl5pPr>
          </a:lstStyle>
          <a:p>
            <a:pPr lvl="0"/>
            <a:r>
              <a:rPr lang="en-US" dirty="0"/>
              <a:t>This is your Primary Text.</a:t>
            </a:r>
            <a:endParaRPr lang="en-JP" dirty="0"/>
          </a:p>
        </p:txBody>
      </p:sp>
      <p:sp>
        <p:nvSpPr>
          <p:cNvPr id="18" name="Text Placeholder 6">
            <a:extLst>
              <a:ext uri="{FF2B5EF4-FFF2-40B4-BE49-F238E27FC236}">
                <a16:creationId xmlns:a16="http://schemas.microsoft.com/office/drawing/2014/main" id="{66C4AA1F-8B09-5544-9C70-388A6E2940C9}"/>
              </a:ext>
            </a:extLst>
          </p:cNvPr>
          <p:cNvSpPr>
            <a:spLocks noGrp="1"/>
          </p:cNvSpPr>
          <p:nvPr>
            <p:ph type="body" sz="quarter" idx="24" hasCustomPrompt="1"/>
          </p:nvPr>
        </p:nvSpPr>
        <p:spPr>
          <a:xfrm>
            <a:off x="311149" y="1093767"/>
            <a:ext cx="11569699" cy="272786"/>
          </a:xfrm>
        </p:spPr>
        <p:txBody>
          <a:bodyPr tIns="0" rIns="0" bIns="0" numCol="1">
            <a:noAutofit/>
          </a:bodyPr>
          <a:lstStyle>
            <a:lvl1pPr marL="0" indent="0">
              <a:lnSpc>
                <a:spcPct val="100000"/>
              </a:lnSpc>
              <a:spcBef>
                <a:spcPts val="0"/>
              </a:spcBef>
              <a:spcAft>
                <a:spcPts val="600"/>
              </a:spcAft>
              <a:buNone/>
              <a:defRPr sz="20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dirty="0"/>
              <a:t>This is your Primary Title</a:t>
            </a:r>
          </a:p>
        </p:txBody>
      </p:sp>
    </p:spTree>
    <p:extLst>
      <p:ext uri="{BB962C8B-B14F-4D97-AF65-F5344CB8AC3E}">
        <p14:creationId xmlns:p14="http://schemas.microsoft.com/office/powerpoint/2010/main" val="378292908"/>
      </p:ext>
    </p:extLst>
  </p:cSld>
  <p:clrMapOvr>
    <a:masterClrMapping/>
  </p:clrMapOvr>
  <p:transition spd="slow">
    <p:push dir="u"/>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Page 2 ">
    <p:spTree>
      <p:nvGrpSpPr>
        <p:cNvPr id="1" name=""/>
        <p:cNvGrpSpPr/>
        <p:nvPr/>
      </p:nvGrpSpPr>
      <p:grpSpPr>
        <a:xfrm>
          <a:off x="0" y="0"/>
          <a:ext cx="0" cy="0"/>
          <a:chOff x="0" y="0"/>
          <a:chExt cx="0" cy="0"/>
        </a:xfrm>
      </p:grpSpPr>
      <p:sp>
        <p:nvSpPr>
          <p:cNvPr id="33" name="Title 1">
            <a:extLst>
              <a:ext uri="{FF2B5EF4-FFF2-40B4-BE49-F238E27FC236}">
                <a16:creationId xmlns:a16="http://schemas.microsoft.com/office/drawing/2014/main" id="{E02383DA-65B3-044E-9E1B-2CC00A0B1CC6}"/>
              </a:ext>
            </a:extLst>
          </p:cNvPr>
          <p:cNvSpPr>
            <a:spLocks noGrp="1"/>
          </p:cNvSpPr>
          <p:nvPr>
            <p:ph type="ctrTitle" hasCustomPrompt="1"/>
          </p:nvPr>
        </p:nvSpPr>
        <p:spPr>
          <a:xfrm>
            <a:off x="1194730" y="2303030"/>
            <a:ext cx="4354731" cy="1125969"/>
          </a:xfrm>
          <a:prstGeom prst="rect">
            <a:avLst/>
          </a:prstGeom>
        </p:spPr>
        <p:txBody>
          <a:bodyPr wrap="square" lIns="0" tIns="0" rIns="0" bIns="0" anchor="t" anchorCtr="0">
            <a:normAutofit/>
          </a:bodyPr>
          <a:lstStyle>
            <a:lvl1pPr>
              <a:lnSpc>
                <a:spcPts val="3800"/>
              </a:lnSpc>
              <a:defRPr sz="3600" b="1" i="0" baseline="0">
                <a:solidFill>
                  <a:schemeClr val="tx1"/>
                </a:solidFill>
                <a:latin typeface="Calibri" panose="020F0502020204030204" pitchFamily="34" charset="0"/>
                <a:ea typeface="メイリオ" pitchFamily="50" charset="-128"/>
                <a:cs typeface="Calibri" pitchFamily="34" charset="0"/>
              </a:defRPr>
            </a:lvl1pPr>
          </a:lstStyle>
          <a:p>
            <a:r>
              <a:rPr lang="en-GB" dirty="0"/>
              <a:t>Click to add title</a:t>
            </a:r>
          </a:p>
        </p:txBody>
      </p:sp>
      <p:sp>
        <p:nvSpPr>
          <p:cNvPr id="20" name="Picture Placeholder 3">
            <a:extLst>
              <a:ext uri="{FF2B5EF4-FFF2-40B4-BE49-F238E27FC236}">
                <a16:creationId xmlns:a16="http://schemas.microsoft.com/office/drawing/2014/main" id="{902F3095-EA6E-F94A-AF04-18ED691DEB75}"/>
              </a:ext>
            </a:extLst>
          </p:cNvPr>
          <p:cNvSpPr>
            <a:spLocks noGrp="1"/>
          </p:cNvSpPr>
          <p:nvPr>
            <p:ph type="pic" sz="quarter" idx="17"/>
          </p:nvPr>
        </p:nvSpPr>
        <p:spPr>
          <a:xfrm>
            <a:off x="5866513" y="376180"/>
            <a:ext cx="6326533" cy="6108535"/>
          </a:xfrm>
          <a:custGeom>
            <a:avLst/>
            <a:gdLst>
              <a:gd name="connsiteX0" fmla="*/ 0 w 6462532"/>
              <a:gd name="connsiteY0" fmla="*/ 3052818 h 6105636"/>
              <a:gd name="connsiteX1" fmla="*/ 3052818 w 6462532"/>
              <a:gd name="connsiteY1" fmla="*/ 0 h 6105636"/>
              <a:gd name="connsiteX2" fmla="*/ 3409714 w 6462532"/>
              <a:gd name="connsiteY2" fmla="*/ 0 h 6105636"/>
              <a:gd name="connsiteX3" fmla="*/ 6462532 w 6462532"/>
              <a:gd name="connsiteY3" fmla="*/ 3052818 h 6105636"/>
              <a:gd name="connsiteX4" fmla="*/ 6462532 w 6462532"/>
              <a:gd name="connsiteY4" fmla="*/ 3052818 h 6105636"/>
              <a:gd name="connsiteX5" fmla="*/ 3409714 w 6462532"/>
              <a:gd name="connsiteY5" fmla="*/ 6105636 h 6105636"/>
              <a:gd name="connsiteX6" fmla="*/ 3052818 w 6462532"/>
              <a:gd name="connsiteY6" fmla="*/ 6105636 h 6105636"/>
              <a:gd name="connsiteX7" fmla="*/ 0 w 6462532"/>
              <a:gd name="connsiteY7" fmla="*/ 3052818 h 6105636"/>
              <a:gd name="connsiteX0" fmla="*/ 0 w 7309764"/>
              <a:gd name="connsiteY0" fmla="*/ 3052818 h 6105636"/>
              <a:gd name="connsiteX1" fmla="*/ 3052818 w 7309764"/>
              <a:gd name="connsiteY1" fmla="*/ 0 h 6105636"/>
              <a:gd name="connsiteX2" fmla="*/ 6592752 w 7309764"/>
              <a:gd name="connsiteY2" fmla="*/ 46298 h 6105636"/>
              <a:gd name="connsiteX3" fmla="*/ 6462532 w 7309764"/>
              <a:gd name="connsiteY3" fmla="*/ 3052818 h 6105636"/>
              <a:gd name="connsiteX4" fmla="*/ 6462532 w 7309764"/>
              <a:gd name="connsiteY4" fmla="*/ 3052818 h 6105636"/>
              <a:gd name="connsiteX5" fmla="*/ 3409714 w 7309764"/>
              <a:gd name="connsiteY5" fmla="*/ 6105636 h 6105636"/>
              <a:gd name="connsiteX6" fmla="*/ 3052818 w 7309764"/>
              <a:gd name="connsiteY6" fmla="*/ 6105636 h 6105636"/>
              <a:gd name="connsiteX7" fmla="*/ 0 w 7309764"/>
              <a:gd name="connsiteY7" fmla="*/ 3052818 h 6105636"/>
              <a:gd name="connsiteX0" fmla="*/ 0 w 7309764"/>
              <a:gd name="connsiteY0" fmla="*/ 3060215 h 6113033"/>
              <a:gd name="connsiteX1" fmla="*/ 3052818 w 7309764"/>
              <a:gd name="connsiteY1" fmla="*/ 7397 h 6113033"/>
              <a:gd name="connsiteX2" fmla="*/ 6592752 w 7309764"/>
              <a:gd name="connsiteY2" fmla="*/ 53695 h 6113033"/>
              <a:gd name="connsiteX3" fmla="*/ 6462532 w 7309764"/>
              <a:gd name="connsiteY3" fmla="*/ 3060215 h 6113033"/>
              <a:gd name="connsiteX4" fmla="*/ 6462532 w 7309764"/>
              <a:gd name="connsiteY4" fmla="*/ 3060215 h 6113033"/>
              <a:gd name="connsiteX5" fmla="*/ 3409714 w 7309764"/>
              <a:gd name="connsiteY5" fmla="*/ 6113033 h 6113033"/>
              <a:gd name="connsiteX6" fmla="*/ 3052818 w 7309764"/>
              <a:gd name="connsiteY6" fmla="*/ 6113033 h 6113033"/>
              <a:gd name="connsiteX7" fmla="*/ 0 w 7309764"/>
              <a:gd name="connsiteY7" fmla="*/ 3060215 h 6113033"/>
              <a:gd name="connsiteX0" fmla="*/ 0 w 7309764"/>
              <a:gd name="connsiteY0" fmla="*/ 3052818 h 6105636"/>
              <a:gd name="connsiteX1" fmla="*/ 3052818 w 7309764"/>
              <a:gd name="connsiteY1" fmla="*/ 0 h 6105636"/>
              <a:gd name="connsiteX2" fmla="*/ 6592752 w 7309764"/>
              <a:gd name="connsiteY2" fmla="*/ 46298 h 6105636"/>
              <a:gd name="connsiteX3" fmla="*/ 6462532 w 7309764"/>
              <a:gd name="connsiteY3" fmla="*/ 3052818 h 6105636"/>
              <a:gd name="connsiteX4" fmla="*/ 6462532 w 7309764"/>
              <a:gd name="connsiteY4" fmla="*/ 3052818 h 6105636"/>
              <a:gd name="connsiteX5" fmla="*/ 3409714 w 7309764"/>
              <a:gd name="connsiteY5" fmla="*/ 6105636 h 6105636"/>
              <a:gd name="connsiteX6" fmla="*/ 3052818 w 7309764"/>
              <a:gd name="connsiteY6" fmla="*/ 6105636 h 6105636"/>
              <a:gd name="connsiteX7" fmla="*/ 0 w 7309764"/>
              <a:gd name="connsiteY7" fmla="*/ 3052818 h 6105636"/>
              <a:gd name="connsiteX0" fmla="*/ 0 w 7162978"/>
              <a:gd name="connsiteY0" fmla="*/ 3052818 h 6105636"/>
              <a:gd name="connsiteX1" fmla="*/ 3052818 w 7162978"/>
              <a:gd name="connsiteY1" fmla="*/ 0 h 6105636"/>
              <a:gd name="connsiteX2" fmla="*/ 6395982 w 7162978"/>
              <a:gd name="connsiteY2" fmla="*/ 11574 h 6105636"/>
              <a:gd name="connsiteX3" fmla="*/ 6462532 w 7162978"/>
              <a:gd name="connsiteY3" fmla="*/ 3052818 h 6105636"/>
              <a:gd name="connsiteX4" fmla="*/ 6462532 w 7162978"/>
              <a:gd name="connsiteY4" fmla="*/ 3052818 h 6105636"/>
              <a:gd name="connsiteX5" fmla="*/ 3409714 w 7162978"/>
              <a:gd name="connsiteY5" fmla="*/ 6105636 h 6105636"/>
              <a:gd name="connsiteX6" fmla="*/ 3052818 w 7162978"/>
              <a:gd name="connsiteY6" fmla="*/ 6105636 h 6105636"/>
              <a:gd name="connsiteX7" fmla="*/ 0 w 7162978"/>
              <a:gd name="connsiteY7" fmla="*/ 3052818 h 6105636"/>
              <a:gd name="connsiteX0" fmla="*/ 0 w 7162978"/>
              <a:gd name="connsiteY0" fmla="*/ 3052818 h 6105636"/>
              <a:gd name="connsiteX1" fmla="*/ 3052818 w 7162978"/>
              <a:gd name="connsiteY1" fmla="*/ 0 h 6105636"/>
              <a:gd name="connsiteX2" fmla="*/ 6395982 w 7162978"/>
              <a:gd name="connsiteY2" fmla="*/ 11574 h 6105636"/>
              <a:gd name="connsiteX3" fmla="*/ 6462532 w 7162978"/>
              <a:gd name="connsiteY3" fmla="*/ 3052818 h 6105636"/>
              <a:gd name="connsiteX4" fmla="*/ 6462532 w 7162978"/>
              <a:gd name="connsiteY4" fmla="*/ 3052818 h 6105636"/>
              <a:gd name="connsiteX5" fmla="*/ 3409714 w 7162978"/>
              <a:gd name="connsiteY5" fmla="*/ 6105636 h 6105636"/>
              <a:gd name="connsiteX6" fmla="*/ 3052818 w 7162978"/>
              <a:gd name="connsiteY6" fmla="*/ 6105636 h 6105636"/>
              <a:gd name="connsiteX7" fmla="*/ 0 w 7162978"/>
              <a:gd name="connsiteY7" fmla="*/ 3052818 h 6105636"/>
              <a:gd name="connsiteX0" fmla="*/ 0 w 7162978"/>
              <a:gd name="connsiteY0" fmla="*/ 3052818 h 6105636"/>
              <a:gd name="connsiteX1" fmla="*/ 3052818 w 7162978"/>
              <a:gd name="connsiteY1" fmla="*/ 0 h 6105636"/>
              <a:gd name="connsiteX2" fmla="*/ 6395982 w 7162978"/>
              <a:gd name="connsiteY2" fmla="*/ 11574 h 6105636"/>
              <a:gd name="connsiteX3" fmla="*/ 6462532 w 7162978"/>
              <a:gd name="connsiteY3" fmla="*/ 3052818 h 6105636"/>
              <a:gd name="connsiteX4" fmla="*/ 6462532 w 7162978"/>
              <a:gd name="connsiteY4" fmla="*/ 3052818 h 6105636"/>
              <a:gd name="connsiteX5" fmla="*/ 3409714 w 7162978"/>
              <a:gd name="connsiteY5" fmla="*/ 6105636 h 6105636"/>
              <a:gd name="connsiteX6" fmla="*/ 3052818 w 7162978"/>
              <a:gd name="connsiteY6" fmla="*/ 6105636 h 6105636"/>
              <a:gd name="connsiteX7" fmla="*/ 0 w 7162978"/>
              <a:gd name="connsiteY7" fmla="*/ 3052818 h 6105636"/>
              <a:gd name="connsiteX0" fmla="*/ 0 w 7162978"/>
              <a:gd name="connsiteY0" fmla="*/ 3052818 h 6105636"/>
              <a:gd name="connsiteX1" fmla="*/ 3052818 w 7162978"/>
              <a:gd name="connsiteY1" fmla="*/ 0 h 6105636"/>
              <a:gd name="connsiteX2" fmla="*/ 6395982 w 7162978"/>
              <a:gd name="connsiteY2" fmla="*/ 11574 h 6105636"/>
              <a:gd name="connsiteX3" fmla="*/ 6462532 w 7162978"/>
              <a:gd name="connsiteY3" fmla="*/ 3052818 h 6105636"/>
              <a:gd name="connsiteX4" fmla="*/ 6462532 w 7162978"/>
              <a:gd name="connsiteY4" fmla="*/ 3052818 h 6105636"/>
              <a:gd name="connsiteX5" fmla="*/ 3409714 w 7162978"/>
              <a:gd name="connsiteY5" fmla="*/ 6105636 h 6105636"/>
              <a:gd name="connsiteX6" fmla="*/ 3052818 w 7162978"/>
              <a:gd name="connsiteY6" fmla="*/ 6105636 h 6105636"/>
              <a:gd name="connsiteX7" fmla="*/ 0 w 7162978"/>
              <a:gd name="connsiteY7" fmla="*/ 3052818 h 6105636"/>
              <a:gd name="connsiteX0" fmla="*/ 0 w 6750471"/>
              <a:gd name="connsiteY0" fmla="*/ 3052818 h 6105636"/>
              <a:gd name="connsiteX1" fmla="*/ 3052818 w 6750471"/>
              <a:gd name="connsiteY1" fmla="*/ 0 h 6105636"/>
              <a:gd name="connsiteX2" fmla="*/ 6395982 w 6750471"/>
              <a:gd name="connsiteY2" fmla="*/ 11574 h 6105636"/>
              <a:gd name="connsiteX3" fmla="*/ 6462532 w 6750471"/>
              <a:gd name="connsiteY3" fmla="*/ 3052818 h 6105636"/>
              <a:gd name="connsiteX4" fmla="*/ 6462532 w 6750471"/>
              <a:gd name="connsiteY4" fmla="*/ 3052818 h 6105636"/>
              <a:gd name="connsiteX5" fmla="*/ 3409714 w 6750471"/>
              <a:gd name="connsiteY5" fmla="*/ 6105636 h 6105636"/>
              <a:gd name="connsiteX6" fmla="*/ 3052818 w 6750471"/>
              <a:gd name="connsiteY6" fmla="*/ 6105636 h 6105636"/>
              <a:gd name="connsiteX7" fmla="*/ 0 w 6750471"/>
              <a:gd name="connsiteY7" fmla="*/ 3052818 h 6105636"/>
              <a:gd name="connsiteX0" fmla="*/ 0 w 6462532"/>
              <a:gd name="connsiteY0" fmla="*/ 3052818 h 6105636"/>
              <a:gd name="connsiteX1" fmla="*/ 3052818 w 6462532"/>
              <a:gd name="connsiteY1" fmla="*/ 0 h 6105636"/>
              <a:gd name="connsiteX2" fmla="*/ 6395982 w 6462532"/>
              <a:gd name="connsiteY2" fmla="*/ 11574 h 6105636"/>
              <a:gd name="connsiteX3" fmla="*/ 6462532 w 6462532"/>
              <a:gd name="connsiteY3" fmla="*/ 3052818 h 6105636"/>
              <a:gd name="connsiteX4" fmla="*/ 6462532 w 6462532"/>
              <a:gd name="connsiteY4" fmla="*/ 3052818 h 6105636"/>
              <a:gd name="connsiteX5" fmla="*/ 3409714 w 6462532"/>
              <a:gd name="connsiteY5" fmla="*/ 6105636 h 6105636"/>
              <a:gd name="connsiteX6" fmla="*/ 3052818 w 6462532"/>
              <a:gd name="connsiteY6" fmla="*/ 6105636 h 6105636"/>
              <a:gd name="connsiteX7" fmla="*/ 0 w 6462532"/>
              <a:gd name="connsiteY7" fmla="*/ 3052818 h 6105636"/>
              <a:gd name="connsiteX0" fmla="*/ 0 w 6477004"/>
              <a:gd name="connsiteY0" fmla="*/ 3052819 h 6105637"/>
              <a:gd name="connsiteX1" fmla="*/ 3052818 w 6477004"/>
              <a:gd name="connsiteY1" fmla="*/ 1 h 6105637"/>
              <a:gd name="connsiteX2" fmla="*/ 6477004 w 6477004"/>
              <a:gd name="connsiteY2" fmla="*/ 0 h 6105637"/>
              <a:gd name="connsiteX3" fmla="*/ 6462532 w 6477004"/>
              <a:gd name="connsiteY3" fmla="*/ 3052819 h 6105637"/>
              <a:gd name="connsiteX4" fmla="*/ 6462532 w 6477004"/>
              <a:gd name="connsiteY4" fmla="*/ 3052819 h 6105637"/>
              <a:gd name="connsiteX5" fmla="*/ 3409714 w 6477004"/>
              <a:gd name="connsiteY5" fmla="*/ 6105637 h 6105637"/>
              <a:gd name="connsiteX6" fmla="*/ 3052818 w 6477004"/>
              <a:gd name="connsiteY6" fmla="*/ 6105637 h 6105637"/>
              <a:gd name="connsiteX7" fmla="*/ 0 w 6477004"/>
              <a:gd name="connsiteY7" fmla="*/ 3052819 h 6105637"/>
              <a:gd name="connsiteX0" fmla="*/ 0 w 6477004"/>
              <a:gd name="connsiteY0" fmla="*/ 3052819 h 6105637"/>
              <a:gd name="connsiteX1" fmla="*/ 3052818 w 6477004"/>
              <a:gd name="connsiteY1" fmla="*/ 1 h 6105637"/>
              <a:gd name="connsiteX2" fmla="*/ 6477004 w 6477004"/>
              <a:gd name="connsiteY2" fmla="*/ 0 h 6105637"/>
              <a:gd name="connsiteX3" fmla="*/ 6462532 w 6477004"/>
              <a:gd name="connsiteY3" fmla="*/ 3052819 h 6105637"/>
              <a:gd name="connsiteX4" fmla="*/ 5756477 w 6477004"/>
              <a:gd name="connsiteY4" fmla="*/ 3018095 h 6105637"/>
              <a:gd name="connsiteX5" fmla="*/ 3409714 w 6477004"/>
              <a:gd name="connsiteY5" fmla="*/ 6105637 h 6105637"/>
              <a:gd name="connsiteX6" fmla="*/ 3052818 w 6477004"/>
              <a:gd name="connsiteY6" fmla="*/ 6105637 h 6105637"/>
              <a:gd name="connsiteX7" fmla="*/ 0 w 6477004"/>
              <a:gd name="connsiteY7" fmla="*/ 3052819 h 6105637"/>
              <a:gd name="connsiteX0" fmla="*/ 0 w 6477004"/>
              <a:gd name="connsiteY0" fmla="*/ 3052819 h 6105637"/>
              <a:gd name="connsiteX1" fmla="*/ 3052818 w 6477004"/>
              <a:gd name="connsiteY1" fmla="*/ 1 h 6105637"/>
              <a:gd name="connsiteX2" fmla="*/ 6477004 w 6477004"/>
              <a:gd name="connsiteY2" fmla="*/ 0 h 6105637"/>
              <a:gd name="connsiteX3" fmla="*/ 6462532 w 6477004"/>
              <a:gd name="connsiteY3" fmla="*/ 3052819 h 6105637"/>
              <a:gd name="connsiteX4" fmla="*/ 3409714 w 6477004"/>
              <a:gd name="connsiteY4" fmla="*/ 6105637 h 6105637"/>
              <a:gd name="connsiteX5" fmla="*/ 3052818 w 6477004"/>
              <a:gd name="connsiteY5" fmla="*/ 6105637 h 6105637"/>
              <a:gd name="connsiteX6" fmla="*/ 0 w 6477004"/>
              <a:gd name="connsiteY6" fmla="*/ 3052819 h 6105637"/>
              <a:gd name="connsiteX0" fmla="*/ 0 w 6477004"/>
              <a:gd name="connsiteY0" fmla="*/ 3052819 h 6108535"/>
              <a:gd name="connsiteX1" fmla="*/ 3052818 w 6477004"/>
              <a:gd name="connsiteY1" fmla="*/ 1 h 6108535"/>
              <a:gd name="connsiteX2" fmla="*/ 6477004 w 6477004"/>
              <a:gd name="connsiteY2" fmla="*/ 0 h 6108535"/>
              <a:gd name="connsiteX3" fmla="*/ 6462532 w 6477004"/>
              <a:gd name="connsiteY3" fmla="*/ 6108535 h 6108535"/>
              <a:gd name="connsiteX4" fmla="*/ 3409714 w 6477004"/>
              <a:gd name="connsiteY4" fmla="*/ 6105637 h 6108535"/>
              <a:gd name="connsiteX5" fmla="*/ 3052818 w 6477004"/>
              <a:gd name="connsiteY5" fmla="*/ 6105637 h 6108535"/>
              <a:gd name="connsiteX6" fmla="*/ 0 w 6477004"/>
              <a:gd name="connsiteY6" fmla="*/ 3052819 h 6108535"/>
              <a:gd name="connsiteX0" fmla="*/ 0 w 6477004"/>
              <a:gd name="connsiteY0" fmla="*/ 3052819 h 6108535"/>
              <a:gd name="connsiteX1" fmla="*/ 3052818 w 6477004"/>
              <a:gd name="connsiteY1" fmla="*/ 1 h 6108535"/>
              <a:gd name="connsiteX2" fmla="*/ 6477004 w 6477004"/>
              <a:gd name="connsiteY2" fmla="*/ 0 h 6108535"/>
              <a:gd name="connsiteX3" fmla="*/ 6323635 w 6477004"/>
              <a:gd name="connsiteY3" fmla="*/ 6108535 h 6108535"/>
              <a:gd name="connsiteX4" fmla="*/ 3409714 w 6477004"/>
              <a:gd name="connsiteY4" fmla="*/ 6105637 h 6108535"/>
              <a:gd name="connsiteX5" fmla="*/ 3052818 w 6477004"/>
              <a:gd name="connsiteY5" fmla="*/ 6105637 h 6108535"/>
              <a:gd name="connsiteX6" fmla="*/ 0 w 6477004"/>
              <a:gd name="connsiteY6" fmla="*/ 3052819 h 6108535"/>
              <a:gd name="connsiteX0" fmla="*/ 0 w 6326533"/>
              <a:gd name="connsiteY0" fmla="*/ 3052819 h 6108535"/>
              <a:gd name="connsiteX1" fmla="*/ 3052818 w 6326533"/>
              <a:gd name="connsiteY1" fmla="*/ 1 h 6108535"/>
              <a:gd name="connsiteX2" fmla="*/ 6326533 w 6326533"/>
              <a:gd name="connsiteY2" fmla="*/ 0 h 6108535"/>
              <a:gd name="connsiteX3" fmla="*/ 6323635 w 6326533"/>
              <a:gd name="connsiteY3" fmla="*/ 6108535 h 6108535"/>
              <a:gd name="connsiteX4" fmla="*/ 3409714 w 6326533"/>
              <a:gd name="connsiteY4" fmla="*/ 6105637 h 6108535"/>
              <a:gd name="connsiteX5" fmla="*/ 3052818 w 6326533"/>
              <a:gd name="connsiteY5" fmla="*/ 6105637 h 6108535"/>
              <a:gd name="connsiteX6" fmla="*/ 0 w 6326533"/>
              <a:gd name="connsiteY6" fmla="*/ 3052819 h 61085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326533" h="6108535">
                <a:moveTo>
                  <a:pt x="0" y="3052819"/>
                </a:moveTo>
                <a:cubicBezTo>
                  <a:pt x="0" y="1366794"/>
                  <a:pt x="1366793" y="1"/>
                  <a:pt x="3052818" y="1"/>
                </a:cubicBezTo>
                <a:lnTo>
                  <a:pt x="6326533" y="0"/>
                </a:lnTo>
                <a:lnTo>
                  <a:pt x="6323635" y="6108535"/>
                </a:lnTo>
                <a:lnTo>
                  <a:pt x="3409714" y="6105637"/>
                </a:lnTo>
                <a:lnTo>
                  <a:pt x="3052818" y="6105637"/>
                </a:lnTo>
                <a:cubicBezTo>
                  <a:pt x="1366793" y="6105637"/>
                  <a:pt x="0" y="4738844"/>
                  <a:pt x="0" y="3052819"/>
                </a:cubicBezTo>
                <a:close/>
              </a:path>
            </a:pathLst>
          </a:custGeom>
          <a:noFill/>
        </p:spPr>
        <p:txBody>
          <a:bodyPr>
            <a:normAutofit/>
          </a:bodyPr>
          <a:lstStyle>
            <a:lvl1pPr marL="0" indent="0">
              <a:buNone/>
              <a:defRPr sz="2400">
                <a:solidFill>
                  <a:schemeClr val="bg1"/>
                </a:solidFill>
              </a:defRPr>
            </a:lvl1pPr>
          </a:lstStyle>
          <a:p>
            <a:r>
              <a:rPr lang="zh-CN" altLang="en-US"/>
              <a:t>单击图标添加图片</a:t>
            </a:r>
            <a:endParaRPr lang="en-US" dirty="0"/>
          </a:p>
        </p:txBody>
      </p:sp>
      <p:pic>
        <p:nvPicPr>
          <p:cNvPr id="9" name="Picture 8" descr="Takeda">
            <a:extLst>
              <a:ext uri="{FF2B5EF4-FFF2-40B4-BE49-F238E27FC236}">
                <a16:creationId xmlns:a16="http://schemas.microsoft.com/office/drawing/2014/main" id="{F83AE827-0C93-0344-8F1E-82C9D7F8CD5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74417" y="-10972"/>
            <a:ext cx="2251710" cy="1248865"/>
          </a:xfrm>
          <a:prstGeom prst="rect">
            <a:avLst/>
          </a:prstGeom>
        </p:spPr>
      </p:pic>
      <p:pic>
        <p:nvPicPr>
          <p:cNvPr id="19" name="Picture 18">
            <a:extLst>
              <a:ext uri="{FF2B5EF4-FFF2-40B4-BE49-F238E27FC236}">
                <a16:creationId xmlns:a16="http://schemas.microsoft.com/office/drawing/2014/main" id="{C219044E-3CA3-8043-AF11-ED42DE4ECFF4}"/>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194730" y="6367253"/>
            <a:ext cx="1958578" cy="117462"/>
          </a:xfrm>
          <a:prstGeom prst="rect">
            <a:avLst/>
          </a:prstGeom>
        </p:spPr>
      </p:pic>
      <p:sp>
        <p:nvSpPr>
          <p:cNvPr id="29" name="Text Placeholder 2">
            <a:extLst>
              <a:ext uri="{FF2B5EF4-FFF2-40B4-BE49-F238E27FC236}">
                <a16:creationId xmlns:a16="http://schemas.microsoft.com/office/drawing/2014/main" id="{8F239D86-1AC3-1D48-9675-22CEFBB263F8}"/>
              </a:ext>
            </a:extLst>
          </p:cNvPr>
          <p:cNvSpPr>
            <a:spLocks noGrp="1"/>
          </p:cNvSpPr>
          <p:nvPr>
            <p:ph type="body" sz="quarter" idx="27" hasCustomPrompt="1"/>
          </p:nvPr>
        </p:nvSpPr>
        <p:spPr>
          <a:xfrm>
            <a:off x="1194729" y="3835926"/>
            <a:ext cx="4354732" cy="234001"/>
          </a:xfrm>
          <a:prstGeom prst="rect">
            <a:avLst/>
          </a:prstGeom>
        </p:spPr>
        <p:txBody>
          <a:bodyPr lIns="0" tIns="0" rIns="0" bIns="0">
            <a:noAutofit/>
          </a:bodyPr>
          <a:lstStyle>
            <a:lvl1pPr marL="0" indent="0">
              <a:buNone/>
              <a:defRPr sz="1400" b="0" i="0">
                <a:solidFill>
                  <a:schemeClr val="tx1"/>
                </a:solidFill>
                <a:latin typeface="Calibri" panose="020F0502020204030204" pitchFamily="34" charset="0"/>
                <a:cs typeface="Calibri" panose="020F0502020204030204" pitchFamily="34" charset="0"/>
              </a:defRPr>
            </a:lvl1pPr>
            <a:lvl2pPr marL="457068" indent="0">
              <a:buNone/>
              <a:defRPr sz="1400">
                <a:solidFill>
                  <a:schemeClr val="tx1"/>
                </a:solidFill>
              </a:defRPr>
            </a:lvl2pPr>
            <a:lvl3pPr marL="914149" indent="0">
              <a:buNone/>
              <a:defRPr sz="1400">
                <a:solidFill>
                  <a:schemeClr val="tx1"/>
                </a:solidFill>
              </a:defRPr>
            </a:lvl3pPr>
            <a:lvl4pPr marL="1371219" indent="0">
              <a:buNone/>
              <a:defRPr sz="1400">
                <a:solidFill>
                  <a:schemeClr val="tx1"/>
                </a:solidFill>
              </a:defRPr>
            </a:lvl4pPr>
            <a:lvl5pPr marL="1828290" indent="0">
              <a:buNone/>
              <a:defRPr sz="1400">
                <a:solidFill>
                  <a:schemeClr val="tx1"/>
                </a:solidFill>
              </a:defRPr>
            </a:lvl5pPr>
          </a:lstStyle>
          <a:p>
            <a:pPr lvl="0"/>
            <a:r>
              <a:rPr lang="en-US" dirty="0"/>
              <a:t>Title of Position</a:t>
            </a:r>
          </a:p>
        </p:txBody>
      </p:sp>
      <p:sp>
        <p:nvSpPr>
          <p:cNvPr id="30" name="Text Placeholder 2">
            <a:extLst>
              <a:ext uri="{FF2B5EF4-FFF2-40B4-BE49-F238E27FC236}">
                <a16:creationId xmlns:a16="http://schemas.microsoft.com/office/drawing/2014/main" id="{91BF6710-27B9-2444-8317-2C64F0D30847}"/>
              </a:ext>
            </a:extLst>
          </p:cNvPr>
          <p:cNvSpPr>
            <a:spLocks noGrp="1"/>
          </p:cNvSpPr>
          <p:nvPr>
            <p:ph type="body" sz="quarter" idx="28" hasCustomPrompt="1"/>
          </p:nvPr>
        </p:nvSpPr>
        <p:spPr>
          <a:xfrm>
            <a:off x="1194729" y="4094940"/>
            <a:ext cx="4354732" cy="234001"/>
          </a:xfrm>
          <a:prstGeom prst="rect">
            <a:avLst/>
          </a:prstGeom>
        </p:spPr>
        <p:txBody>
          <a:bodyPr lIns="0" tIns="0" rIns="0" bIns="0">
            <a:noAutofit/>
          </a:bodyPr>
          <a:lstStyle>
            <a:lvl1pPr marL="0" indent="0">
              <a:buNone/>
              <a:defRPr sz="1400" b="0" i="0">
                <a:solidFill>
                  <a:schemeClr val="tx1"/>
                </a:solidFill>
                <a:latin typeface="Calibri" panose="020F0502020204030204" pitchFamily="34" charset="0"/>
                <a:cs typeface="Calibri" panose="020F0502020204030204" pitchFamily="34" charset="0"/>
              </a:defRPr>
            </a:lvl1pPr>
            <a:lvl2pPr marL="457068" indent="0">
              <a:buNone/>
              <a:defRPr sz="1400">
                <a:solidFill>
                  <a:schemeClr val="tx1"/>
                </a:solidFill>
              </a:defRPr>
            </a:lvl2pPr>
            <a:lvl3pPr marL="914149" indent="0">
              <a:buNone/>
              <a:defRPr sz="1400">
                <a:solidFill>
                  <a:schemeClr val="tx1"/>
                </a:solidFill>
              </a:defRPr>
            </a:lvl3pPr>
            <a:lvl4pPr marL="1371219" indent="0">
              <a:buNone/>
              <a:defRPr sz="1400">
                <a:solidFill>
                  <a:schemeClr val="tx1"/>
                </a:solidFill>
              </a:defRPr>
            </a:lvl4pPr>
            <a:lvl5pPr marL="1828290" indent="0">
              <a:buNone/>
              <a:defRPr sz="1400">
                <a:solidFill>
                  <a:schemeClr val="tx1"/>
                </a:solidFill>
              </a:defRPr>
            </a:lvl5pPr>
          </a:lstStyle>
          <a:p>
            <a:pPr lvl="0"/>
            <a:r>
              <a:rPr lang="en-US" dirty="0"/>
              <a:t>Department</a:t>
            </a:r>
          </a:p>
        </p:txBody>
      </p:sp>
      <p:sp>
        <p:nvSpPr>
          <p:cNvPr id="31" name="Text Placeholder 2">
            <a:extLst>
              <a:ext uri="{FF2B5EF4-FFF2-40B4-BE49-F238E27FC236}">
                <a16:creationId xmlns:a16="http://schemas.microsoft.com/office/drawing/2014/main" id="{669B2D41-B11D-9D45-B189-F838AC342B07}"/>
              </a:ext>
            </a:extLst>
          </p:cNvPr>
          <p:cNvSpPr>
            <a:spLocks noGrp="1"/>
          </p:cNvSpPr>
          <p:nvPr>
            <p:ph type="body" sz="quarter" idx="29" hasCustomPrompt="1"/>
          </p:nvPr>
        </p:nvSpPr>
        <p:spPr>
          <a:xfrm>
            <a:off x="1194729" y="4349427"/>
            <a:ext cx="4354732" cy="234001"/>
          </a:xfrm>
          <a:prstGeom prst="rect">
            <a:avLst/>
          </a:prstGeom>
        </p:spPr>
        <p:txBody>
          <a:bodyPr lIns="0" tIns="0" rIns="0" bIns="0">
            <a:noAutofit/>
          </a:bodyPr>
          <a:lstStyle>
            <a:lvl1pPr marL="0" indent="0">
              <a:buNone/>
              <a:defRPr sz="1400" b="0" i="0">
                <a:solidFill>
                  <a:schemeClr val="tx1"/>
                </a:solidFill>
                <a:latin typeface="Calibri" panose="020F0502020204030204" pitchFamily="34" charset="0"/>
                <a:cs typeface="Calibri" panose="020F0502020204030204" pitchFamily="34" charset="0"/>
              </a:defRPr>
            </a:lvl1pPr>
            <a:lvl2pPr marL="457068" indent="0">
              <a:buNone/>
              <a:defRPr sz="1400">
                <a:solidFill>
                  <a:schemeClr val="tx1"/>
                </a:solidFill>
              </a:defRPr>
            </a:lvl2pPr>
            <a:lvl3pPr marL="914149" indent="0">
              <a:buNone/>
              <a:defRPr sz="1400">
                <a:solidFill>
                  <a:schemeClr val="tx1"/>
                </a:solidFill>
              </a:defRPr>
            </a:lvl3pPr>
            <a:lvl4pPr marL="1371219" indent="0">
              <a:buNone/>
              <a:defRPr sz="1400">
                <a:solidFill>
                  <a:schemeClr val="tx1"/>
                </a:solidFill>
              </a:defRPr>
            </a:lvl4pPr>
            <a:lvl5pPr marL="1828290" indent="0">
              <a:buNone/>
              <a:defRPr sz="1400">
                <a:solidFill>
                  <a:schemeClr val="tx1"/>
                </a:solidFill>
              </a:defRPr>
            </a:lvl5pPr>
          </a:lstStyle>
          <a:p>
            <a:pPr lvl="0"/>
            <a:r>
              <a:rPr lang="en-US" dirty="0"/>
              <a:t>Date</a:t>
            </a:r>
          </a:p>
        </p:txBody>
      </p:sp>
      <p:sp>
        <p:nvSpPr>
          <p:cNvPr id="32" name="Text Placeholder 2">
            <a:extLst>
              <a:ext uri="{FF2B5EF4-FFF2-40B4-BE49-F238E27FC236}">
                <a16:creationId xmlns:a16="http://schemas.microsoft.com/office/drawing/2014/main" id="{D7467C81-9D88-4140-B42C-28DFB5646475}"/>
              </a:ext>
            </a:extLst>
          </p:cNvPr>
          <p:cNvSpPr>
            <a:spLocks noGrp="1"/>
          </p:cNvSpPr>
          <p:nvPr>
            <p:ph type="body" sz="quarter" idx="30" hasCustomPrompt="1"/>
          </p:nvPr>
        </p:nvSpPr>
        <p:spPr>
          <a:xfrm>
            <a:off x="1194729" y="3577405"/>
            <a:ext cx="4354732" cy="234001"/>
          </a:xfrm>
          <a:prstGeom prst="rect">
            <a:avLst/>
          </a:prstGeom>
        </p:spPr>
        <p:txBody>
          <a:bodyPr lIns="0" tIns="0" rIns="0" bIns="0">
            <a:noAutofit/>
          </a:bodyPr>
          <a:lstStyle>
            <a:lvl1pPr marL="0" indent="0">
              <a:buNone/>
              <a:defRPr sz="1400" b="0" i="0">
                <a:solidFill>
                  <a:schemeClr val="tx1"/>
                </a:solidFill>
                <a:latin typeface="Calibri" panose="020F0502020204030204" pitchFamily="34" charset="0"/>
                <a:cs typeface="Calibri" panose="020F0502020204030204" pitchFamily="34" charset="0"/>
              </a:defRPr>
            </a:lvl1pPr>
            <a:lvl2pPr marL="457068" indent="0">
              <a:buNone/>
              <a:defRPr sz="1400">
                <a:solidFill>
                  <a:schemeClr val="tx1"/>
                </a:solidFill>
              </a:defRPr>
            </a:lvl2pPr>
            <a:lvl3pPr marL="914149" indent="0">
              <a:buNone/>
              <a:defRPr sz="1400">
                <a:solidFill>
                  <a:schemeClr val="tx1"/>
                </a:solidFill>
              </a:defRPr>
            </a:lvl3pPr>
            <a:lvl4pPr marL="1371219" indent="0">
              <a:buNone/>
              <a:defRPr sz="1400">
                <a:solidFill>
                  <a:schemeClr val="tx1"/>
                </a:solidFill>
              </a:defRPr>
            </a:lvl4pPr>
            <a:lvl5pPr marL="1828290" indent="0">
              <a:buNone/>
              <a:defRPr sz="1400">
                <a:solidFill>
                  <a:schemeClr val="tx1"/>
                </a:solidFill>
              </a:defRPr>
            </a:lvl5pPr>
          </a:lstStyle>
          <a:p>
            <a:pPr lvl="0"/>
            <a:r>
              <a:rPr lang="en-US" dirty="0"/>
              <a:t>Presenter Name</a:t>
            </a:r>
          </a:p>
        </p:txBody>
      </p:sp>
    </p:spTree>
    <p:extLst>
      <p:ext uri="{BB962C8B-B14F-4D97-AF65-F5344CB8AC3E}">
        <p14:creationId xmlns:p14="http://schemas.microsoft.com/office/powerpoint/2010/main" val="4074573485"/>
      </p:ext>
    </p:extLst>
  </p:cSld>
  <p:clrMapOvr>
    <a:masterClrMapping/>
  </p:clrMapOvr>
  <p:transition spd="slow">
    <p:push dir="u"/>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Title Page 2 ">
    <p:spTree>
      <p:nvGrpSpPr>
        <p:cNvPr id="1" name=""/>
        <p:cNvGrpSpPr/>
        <p:nvPr/>
      </p:nvGrpSpPr>
      <p:grpSpPr>
        <a:xfrm>
          <a:off x="0" y="0"/>
          <a:ext cx="0" cy="0"/>
          <a:chOff x="0" y="0"/>
          <a:chExt cx="0" cy="0"/>
        </a:xfrm>
      </p:grpSpPr>
      <p:sp>
        <p:nvSpPr>
          <p:cNvPr id="33" name="Title 1">
            <a:extLst>
              <a:ext uri="{FF2B5EF4-FFF2-40B4-BE49-F238E27FC236}">
                <a16:creationId xmlns:a16="http://schemas.microsoft.com/office/drawing/2014/main" id="{E02383DA-65B3-044E-9E1B-2CC00A0B1CC6}"/>
              </a:ext>
            </a:extLst>
          </p:cNvPr>
          <p:cNvSpPr>
            <a:spLocks noGrp="1"/>
          </p:cNvSpPr>
          <p:nvPr>
            <p:ph type="ctrTitle" hasCustomPrompt="1"/>
          </p:nvPr>
        </p:nvSpPr>
        <p:spPr>
          <a:xfrm>
            <a:off x="1194730" y="2303030"/>
            <a:ext cx="6862150" cy="1125969"/>
          </a:xfrm>
          <a:prstGeom prst="rect">
            <a:avLst/>
          </a:prstGeom>
        </p:spPr>
        <p:txBody>
          <a:bodyPr wrap="square" lIns="0" tIns="0" rIns="0" bIns="0" anchor="t" anchorCtr="0">
            <a:normAutofit/>
          </a:bodyPr>
          <a:lstStyle>
            <a:lvl1pPr>
              <a:lnSpc>
                <a:spcPts val="3800"/>
              </a:lnSpc>
              <a:defRPr sz="3600" b="1" i="0" baseline="0">
                <a:solidFill>
                  <a:schemeClr val="tx1"/>
                </a:solidFill>
                <a:latin typeface="Calibri" panose="020F0502020204030204" pitchFamily="34" charset="0"/>
                <a:ea typeface="メイリオ" pitchFamily="50" charset="-128"/>
                <a:cs typeface="Calibri" pitchFamily="34" charset="0"/>
              </a:defRPr>
            </a:lvl1pPr>
          </a:lstStyle>
          <a:p>
            <a:r>
              <a:rPr lang="en-GB" dirty="0"/>
              <a:t>Click to add title</a:t>
            </a:r>
          </a:p>
        </p:txBody>
      </p:sp>
      <p:sp>
        <p:nvSpPr>
          <p:cNvPr id="29" name="Text Placeholder 2">
            <a:extLst>
              <a:ext uri="{FF2B5EF4-FFF2-40B4-BE49-F238E27FC236}">
                <a16:creationId xmlns:a16="http://schemas.microsoft.com/office/drawing/2014/main" id="{8F239D86-1AC3-1D48-9675-22CEFBB263F8}"/>
              </a:ext>
            </a:extLst>
          </p:cNvPr>
          <p:cNvSpPr>
            <a:spLocks noGrp="1"/>
          </p:cNvSpPr>
          <p:nvPr>
            <p:ph type="body" sz="quarter" idx="27" hasCustomPrompt="1"/>
          </p:nvPr>
        </p:nvSpPr>
        <p:spPr>
          <a:xfrm>
            <a:off x="1194729" y="3835926"/>
            <a:ext cx="6862150" cy="263075"/>
          </a:xfrm>
          <a:prstGeom prst="rect">
            <a:avLst/>
          </a:prstGeom>
        </p:spPr>
        <p:txBody>
          <a:bodyPr lIns="0" tIns="0" rIns="0" bIns="0">
            <a:noAutofit/>
          </a:bodyPr>
          <a:lstStyle>
            <a:lvl1pPr marL="0" indent="0">
              <a:buNone/>
              <a:defRPr sz="1400" b="0" i="0">
                <a:solidFill>
                  <a:schemeClr val="tx1"/>
                </a:solidFill>
                <a:latin typeface="Calibri" panose="020F0502020204030204" pitchFamily="34" charset="0"/>
                <a:cs typeface="Calibri" panose="020F0502020204030204" pitchFamily="34" charset="0"/>
              </a:defRPr>
            </a:lvl1pPr>
            <a:lvl2pPr marL="457068" indent="0">
              <a:buNone/>
              <a:defRPr sz="1400">
                <a:solidFill>
                  <a:schemeClr val="tx1"/>
                </a:solidFill>
              </a:defRPr>
            </a:lvl2pPr>
            <a:lvl3pPr marL="914149" indent="0">
              <a:buNone/>
              <a:defRPr sz="1400">
                <a:solidFill>
                  <a:schemeClr val="tx1"/>
                </a:solidFill>
              </a:defRPr>
            </a:lvl3pPr>
            <a:lvl4pPr marL="1371219" indent="0">
              <a:buNone/>
              <a:defRPr sz="1400">
                <a:solidFill>
                  <a:schemeClr val="tx1"/>
                </a:solidFill>
              </a:defRPr>
            </a:lvl4pPr>
            <a:lvl5pPr marL="1828290" indent="0">
              <a:buNone/>
              <a:defRPr sz="1400">
                <a:solidFill>
                  <a:schemeClr val="tx1"/>
                </a:solidFill>
              </a:defRPr>
            </a:lvl5pPr>
          </a:lstStyle>
          <a:p>
            <a:pPr lvl="0"/>
            <a:r>
              <a:rPr lang="en-US" dirty="0"/>
              <a:t>Title of Position</a:t>
            </a:r>
          </a:p>
        </p:txBody>
      </p:sp>
      <p:sp>
        <p:nvSpPr>
          <p:cNvPr id="30" name="Text Placeholder 2">
            <a:extLst>
              <a:ext uri="{FF2B5EF4-FFF2-40B4-BE49-F238E27FC236}">
                <a16:creationId xmlns:a16="http://schemas.microsoft.com/office/drawing/2014/main" id="{91BF6710-27B9-2444-8317-2C64F0D30847}"/>
              </a:ext>
            </a:extLst>
          </p:cNvPr>
          <p:cNvSpPr>
            <a:spLocks noGrp="1"/>
          </p:cNvSpPr>
          <p:nvPr>
            <p:ph type="body" sz="quarter" idx="28" hasCustomPrompt="1"/>
          </p:nvPr>
        </p:nvSpPr>
        <p:spPr>
          <a:xfrm>
            <a:off x="1194729" y="4094940"/>
            <a:ext cx="6862150" cy="263075"/>
          </a:xfrm>
          <a:prstGeom prst="rect">
            <a:avLst/>
          </a:prstGeom>
        </p:spPr>
        <p:txBody>
          <a:bodyPr lIns="0" tIns="0" rIns="0" bIns="0">
            <a:noAutofit/>
          </a:bodyPr>
          <a:lstStyle>
            <a:lvl1pPr marL="0" indent="0">
              <a:buNone/>
              <a:defRPr sz="1400" b="0" i="0">
                <a:solidFill>
                  <a:schemeClr val="tx1"/>
                </a:solidFill>
                <a:latin typeface="Calibri" panose="020F0502020204030204" pitchFamily="34" charset="0"/>
                <a:cs typeface="Calibri" panose="020F0502020204030204" pitchFamily="34" charset="0"/>
              </a:defRPr>
            </a:lvl1pPr>
            <a:lvl2pPr marL="457068" indent="0">
              <a:buNone/>
              <a:defRPr sz="1400">
                <a:solidFill>
                  <a:schemeClr val="tx1"/>
                </a:solidFill>
              </a:defRPr>
            </a:lvl2pPr>
            <a:lvl3pPr marL="914149" indent="0">
              <a:buNone/>
              <a:defRPr sz="1400">
                <a:solidFill>
                  <a:schemeClr val="tx1"/>
                </a:solidFill>
              </a:defRPr>
            </a:lvl3pPr>
            <a:lvl4pPr marL="1371219" indent="0">
              <a:buNone/>
              <a:defRPr sz="1400">
                <a:solidFill>
                  <a:schemeClr val="tx1"/>
                </a:solidFill>
              </a:defRPr>
            </a:lvl4pPr>
            <a:lvl5pPr marL="1828290" indent="0">
              <a:buNone/>
              <a:defRPr sz="1400">
                <a:solidFill>
                  <a:schemeClr val="tx1"/>
                </a:solidFill>
              </a:defRPr>
            </a:lvl5pPr>
          </a:lstStyle>
          <a:p>
            <a:pPr lvl="0"/>
            <a:r>
              <a:rPr lang="en-US" dirty="0"/>
              <a:t>Department</a:t>
            </a:r>
          </a:p>
        </p:txBody>
      </p:sp>
      <p:sp>
        <p:nvSpPr>
          <p:cNvPr id="31" name="Text Placeholder 2">
            <a:extLst>
              <a:ext uri="{FF2B5EF4-FFF2-40B4-BE49-F238E27FC236}">
                <a16:creationId xmlns:a16="http://schemas.microsoft.com/office/drawing/2014/main" id="{669B2D41-B11D-9D45-B189-F838AC342B07}"/>
              </a:ext>
            </a:extLst>
          </p:cNvPr>
          <p:cNvSpPr>
            <a:spLocks noGrp="1"/>
          </p:cNvSpPr>
          <p:nvPr>
            <p:ph type="body" sz="quarter" idx="29" hasCustomPrompt="1"/>
          </p:nvPr>
        </p:nvSpPr>
        <p:spPr>
          <a:xfrm>
            <a:off x="1194729" y="4349427"/>
            <a:ext cx="6862150" cy="263075"/>
          </a:xfrm>
          <a:prstGeom prst="rect">
            <a:avLst/>
          </a:prstGeom>
        </p:spPr>
        <p:txBody>
          <a:bodyPr lIns="0" tIns="0" rIns="0" bIns="0">
            <a:noAutofit/>
          </a:bodyPr>
          <a:lstStyle>
            <a:lvl1pPr marL="0" indent="0">
              <a:buNone/>
              <a:defRPr sz="1400" b="0" i="0">
                <a:solidFill>
                  <a:schemeClr val="tx1"/>
                </a:solidFill>
                <a:latin typeface="Calibri" panose="020F0502020204030204" pitchFamily="34" charset="0"/>
                <a:cs typeface="Calibri" panose="020F0502020204030204" pitchFamily="34" charset="0"/>
              </a:defRPr>
            </a:lvl1pPr>
            <a:lvl2pPr marL="457068" indent="0">
              <a:buNone/>
              <a:defRPr sz="1400">
                <a:solidFill>
                  <a:schemeClr val="tx1"/>
                </a:solidFill>
              </a:defRPr>
            </a:lvl2pPr>
            <a:lvl3pPr marL="914149" indent="0">
              <a:buNone/>
              <a:defRPr sz="1400">
                <a:solidFill>
                  <a:schemeClr val="tx1"/>
                </a:solidFill>
              </a:defRPr>
            </a:lvl3pPr>
            <a:lvl4pPr marL="1371219" indent="0">
              <a:buNone/>
              <a:defRPr sz="1400">
                <a:solidFill>
                  <a:schemeClr val="tx1"/>
                </a:solidFill>
              </a:defRPr>
            </a:lvl4pPr>
            <a:lvl5pPr marL="1828290" indent="0">
              <a:buNone/>
              <a:defRPr sz="1400">
                <a:solidFill>
                  <a:schemeClr val="tx1"/>
                </a:solidFill>
              </a:defRPr>
            </a:lvl5pPr>
          </a:lstStyle>
          <a:p>
            <a:pPr lvl="0"/>
            <a:r>
              <a:rPr lang="en-US" dirty="0"/>
              <a:t>Date</a:t>
            </a:r>
          </a:p>
        </p:txBody>
      </p:sp>
      <p:sp>
        <p:nvSpPr>
          <p:cNvPr id="32" name="Text Placeholder 2">
            <a:extLst>
              <a:ext uri="{FF2B5EF4-FFF2-40B4-BE49-F238E27FC236}">
                <a16:creationId xmlns:a16="http://schemas.microsoft.com/office/drawing/2014/main" id="{D7467C81-9D88-4140-B42C-28DFB5646475}"/>
              </a:ext>
            </a:extLst>
          </p:cNvPr>
          <p:cNvSpPr>
            <a:spLocks noGrp="1"/>
          </p:cNvSpPr>
          <p:nvPr>
            <p:ph type="body" sz="quarter" idx="30" hasCustomPrompt="1"/>
          </p:nvPr>
        </p:nvSpPr>
        <p:spPr>
          <a:xfrm>
            <a:off x="1194729" y="3577405"/>
            <a:ext cx="6862150" cy="263075"/>
          </a:xfrm>
          <a:prstGeom prst="rect">
            <a:avLst/>
          </a:prstGeom>
        </p:spPr>
        <p:txBody>
          <a:bodyPr lIns="0" tIns="0" rIns="0" bIns="0">
            <a:noAutofit/>
          </a:bodyPr>
          <a:lstStyle>
            <a:lvl1pPr marL="0" indent="0">
              <a:buNone/>
              <a:defRPr sz="1400" b="0" i="0">
                <a:solidFill>
                  <a:schemeClr val="tx1"/>
                </a:solidFill>
                <a:latin typeface="Calibri" panose="020F0502020204030204" pitchFamily="34" charset="0"/>
                <a:cs typeface="Calibri" panose="020F0502020204030204" pitchFamily="34" charset="0"/>
              </a:defRPr>
            </a:lvl1pPr>
            <a:lvl2pPr marL="457068" indent="0">
              <a:buNone/>
              <a:defRPr sz="1400">
                <a:solidFill>
                  <a:schemeClr val="tx1"/>
                </a:solidFill>
              </a:defRPr>
            </a:lvl2pPr>
            <a:lvl3pPr marL="914149" indent="0">
              <a:buNone/>
              <a:defRPr sz="1400">
                <a:solidFill>
                  <a:schemeClr val="tx1"/>
                </a:solidFill>
              </a:defRPr>
            </a:lvl3pPr>
            <a:lvl4pPr marL="1371219" indent="0">
              <a:buNone/>
              <a:defRPr sz="1400">
                <a:solidFill>
                  <a:schemeClr val="tx1"/>
                </a:solidFill>
              </a:defRPr>
            </a:lvl4pPr>
            <a:lvl5pPr marL="1828290" indent="0">
              <a:buNone/>
              <a:defRPr sz="1400">
                <a:solidFill>
                  <a:schemeClr val="tx1"/>
                </a:solidFill>
              </a:defRPr>
            </a:lvl5pPr>
          </a:lstStyle>
          <a:p>
            <a:pPr lvl="0"/>
            <a:r>
              <a:rPr lang="en-US" dirty="0"/>
              <a:t>Presenter Name</a:t>
            </a:r>
          </a:p>
        </p:txBody>
      </p:sp>
      <p:sp>
        <p:nvSpPr>
          <p:cNvPr id="14" name="Text Placeholder 2">
            <a:extLst>
              <a:ext uri="{FF2B5EF4-FFF2-40B4-BE49-F238E27FC236}">
                <a16:creationId xmlns:a16="http://schemas.microsoft.com/office/drawing/2014/main" id="{B9909778-A51F-784D-ACA4-EC5DBA48BE16}"/>
              </a:ext>
            </a:extLst>
          </p:cNvPr>
          <p:cNvSpPr>
            <a:spLocks noGrp="1"/>
          </p:cNvSpPr>
          <p:nvPr>
            <p:ph type="body" sz="quarter" idx="16" hasCustomPrompt="1"/>
          </p:nvPr>
        </p:nvSpPr>
        <p:spPr>
          <a:xfrm>
            <a:off x="1194729" y="6319955"/>
            <a:ext cx="7699670" cy="234001"/>
          </a:xfrm>
        </p:spPr>
        <p:txBody>
          <a:bodyPr tIns="0" rIns="0" bIns="0" anchor="ctr" anchorCtr="0">
            <a:noAutofit/>
          </a:bodyPr>
          <a:lstStyle>
            <a:lvl1pPr marL="0" marR="0" indent="0" algn="l" defTabSz="914150" rtl="0" eaLnBrk="1" fontAlgn="auto" latinLnBrk="0" hangingPunct="1">
              <a:lnSpc>
                <a:spcPct val="100000"/>
              </a:lnSpc>
              <a:spcBef>
                <a:spcPct val="20000"/>
              </a:spcBef>
              <a:spcAft>
                <a:spcPts val="0"/>
              </a:spcAft>
              <a:buClr>
                <a:srgbClr val="4C4948"/>
              </a:buClr>
              <a:buSzTx/>
              <a:buFont typeface="Arial" panose="020B0604020202020204" pitchFamily="34" charset="0"/>
              <a:buNone/>
              <a:tabLst/>
              <a:defRPr sz="800"/>
            </a:lvl1pPr>
            <a:lvl2pPr>
              <a:defRPr sz="800"/>
            </a:lvl2pPr>
            <a:lvl3pPr>
              <a:defRPr sz="800"/>
            </a:lvl3pPr>
            <a:lvl4pPr>
              <a:defRPr sz="800"/>
            </a:lvl4pPr>
            <a:lvl5pPr>
              <a:defRPr sz="800"/>
            </a:lvl5pPr>
          </a:lstStyle>
          <a:p>
            <a:pPr marL="0" marR="0" lvl="0" indent="0" algn="l" defTabSz="914150" rtl="0" eaLnBrk="1" fontAlgn="auto" latinLnBrk="0" hangingPunct="1">
              <a:lnSpc>
                <a:spcPct val="100000"/>
              </a:lnSpc>
              <a:spcBef>
                <a:spcPct val="20000"/>
              </a:spcBef>
              <a:spcAft>
                <a:spcPts val="0"/>
              </a:spcAft>
              <a:buClr>
                <a:srgbClr val="4C4948"/>
              </a:buClr>
              <a:buSzTx/>
              <a:buFont typeface="Arial" panose="020B0604020202020204" pitchFamily="34" charset="0"/>
              <a:buNone/>
              <a:tabLst/>
              <a:defRPr/>
            </a:pPr>
            <a:r>
              <a:rPr lang="en-US" dirty="0"/>
              <a:t>Private and confidential. For internal use only.</a:t>
            </a:r>
          </a:p>
        </p:txBody>
      </p:sp>
    </p:spTree>
    <p:extLst>
      <p:ext uri="{BB962C8B-B14F-4D97-AF65-F5344CB8AC3E}">
        <p14:creationId xmlns:p14="http://schemas.microsoft.com/office/powerpoint/2010/main" val="661019747"/>
      </p:ext>
    </p:extLst>
  </p:cSld>
  <p:clrMapOvr>
    <a:masterClrMapping/>
  </p:clrMapOvr>
  <p:transition spd="slow">
    <p:push dir="u"/>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Standard 1-Column Text">
    <p:spTree>
      <p:nvGrpSpPr>
        <p:cNvPr id="1" name=""/>
        <p:cNvGrpSpPr/>
        <p:nvPr/>
      </p:nvGrpSpPr>
      <p:grpSpPr>
        <a:xfrm>
          <a:off x="0" y="0"/>
          <a:ext cx="0" cy="0"/>
          <a:chOff x="0" y="0"/>
          <a:chExt cx="0" cy="0"/>
        </a:xfrm>
      </p:grpSpPr>
      <p:sp>
        <p:nvSpPr>
          <p:cNvPr id="12" name="Text Placeholder 6">
            <a:extLst>
              <a:ext uri="{FF2B5EF4-FFF2-40B4-BE49-F238E27FC236}">
                <a16:creationId xmlns:a16="http://schemas.microsoft.com/office/drawing/2014/main" id="{FD2406EE-A554-5348-AE6D-4D8B343E6201}"/>
              </a:ext>
            </a:extLst>
          </p:cNvPr>
          <p:cNvSpPr>
            <a:spLocks noGrp="1"/>
          </p:cNvSpPr>
          <p:nvPr>
            <p:ph type="body" sz="quarter" idx="15" hasCustomPrompt="1"/>
          </p:nvPr>
        </p:nvSpPr>
        <p:spPr>
          <a:xfrm>
            <a:off x="311150" y="1102385"/>
            <a:ext cx="11569700" cy="5328857"/>
          </a:xfrm>
          <a:prstGeom prst="rect">
            <a:avLst/>
          </a:prstGeom>
        </p:spPr>
        <p:txBody>
          <a:bodyPr tIns="0" rIns="0" bIns="0" numCol="1">
            <a:normAutofit/>
          </a:bodyPr>
          <a:lstStyle>
            <a:lvl1pPr marL="0" indent="0">
              <a:lnSpc>
                <a:spcPct val="100000"/>
              </a:lnSpc>
              <a:spcBef>
                <a:spcPts val="0"/>
              </a:spcBef>
              <a:spcAft>
                <a:spcPts val="600"/>
              </a:spcAft>
              <a:buFont typeface="Arial" panose="020B0604020202020204" pitchFamily="34" charset="0"/>
              <a:buNone/>
              <a:defRPr sz="1600" b="0">
                <a:solidFill>
                  <a:schemeClr val="tx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dirty="0"/>
              <a:t>This is a one-column layout. Click to add content</a:t>
            </a:r>
          </a:p>
        </p:txBody>
      </p:sp>
      <p:sp>
        <p:nvSpPr>
          <p:cNvPr id="19" name="Footer Placeholder 8">
            <a:extLst>
              <a:ext uri="{FF2B5EF4-FFF2-40B4-BE49-F238E27FC236}">
                <a16:creationId xmlns:a16="http://schemas.microsoft.com/office/drawing/2014/main" id="{CDA06C55-0643-C148-AAB1-C4BB26FD7B26}"/>
              </a:ext>
            </a:extLst>
          </p:cNvPr>
          <p:cNvSpPr>
            <a:spLocks noGrp="1"/>
          </p:cNvSpPr>
          <p:nvPr>
            <p:ph type="ftr" sz="quarter" idx="3"/>
          </p:nvPr>
        </p:nvSpPr>
        <p:spPr>
          <a:xfrm>
            <a:off x="7766050" y="6523001"/>
            <a:ext cx="4114800" cy="196131"/>
          </a:xfrm>
          <a:prstGeom prst="rect">
            <a:avLst/>
          </a:prstGeom>
        </p:spPr>
        <p:txBody>
          <a:bodyPr vert="horz" lIns="0" tIns="0" rIns="0" bIns="0" rtlCol="0" anchor="ctr"/>
          <a:lstStyle>
            <a:lvl1pPr algn="r">
              <a:defRPr sz="800" b="1" spc="100" baseline="0">
                <a:solidFill>
                  <a:schemeClr val="tx1"/>
                </a:solidFill>
              </a:defRPr>
            </a:lvl1pPr>
          </a:lstStyle>
          <a:p>
            <a:r>
              <a:rPr lang="en-JP" dirty="0"/>
              <a:t> </a:t>
            </a:r>
          </a:p>
        </p:txBody>
      </p:sp>
      <p:pic>
        <p:nvPicPr>
          <p:cNvPr id="14" name="Picture 13" descr="Takeda">
            <a:extLst>
              <a:ext uri="{FF2B5EF4-FFF2-40B4-BE49-F238E27FC236}">
                <a16:creationId xmlns:a16="http://schemas.microsoft.com/office/drawing/2014/main" id="{A75F5BF7-D49E-8A49-AE81-CB31E57D5A75}"/>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546331" y="-1615"/>
            <a:ext cx="1696232" cy="940780"/>
          </a:xfrm>
          <a:prstGeom prst="rect">
            <a:avLst/>
          </a:prstGeom>
        </p:spPr>
      </p:pic>
      <p:sp>
        <p:nvSpPr>
          <p:cNvPr id="22" name="タイトル プレースホルダ 1">
            <a:extLst>
              <a:ext uri="{FF2B5EF4-FFF2-40B4-BE49-F238E27FC236}">
                <a16:creationId xmlns:a16="http://schemas.microsoft.com/office/drawing/2014/main" id="{86D2E5B8-9E2B-DB46-A55A-5F26569C4F99}"/>
              </a:ext>
            </a:extLst>
          </p:cNvPr>
          <p:cNvSpPr>
            <a:spLocks noGrp="1"/>
          </p:cNvSpPr>
          <p:nvPr>
            <p:ph type="title" hasCustomPrompt="1"/>
          </p:nvPr>
        </p:nvSpPr>
        <p:spPr>
          <a:xfrm>
            <a:off x="606078" y="161605"/>
            <a:ext cx="9940253" cy="685801"/>
          </a:xfrm>
          <a:prstGeom prst="rect">
            <a:avLst/>
          </a:prstGeom>
        </p:spPr>
        <p:txBody>
          <a:bodyPr vert="horz" lIns="0" tIns="0" rIns="0" bIns="0" rtlCol="0" anchor="ctr">
            <a:normAutofit/>
          </a:bodyPr>
          <a:lstStyle/>
          <a:p>
            <a:r>
              <a:rPr kumimoji="1" lang="en-US" altLang="ja-JP" dirty="0"/>
              <a:t>Click to add title</a:t>
            </a:r>
            <a:endParaRPr kumimoji="1" lang="ja-JP" altLang="en-US"/>
          </a:p>
        </p:txBody>
      </p:sp>
      <p:sp>
        <p:nvSpPr>
          <p:cNvPr id="20" name="スライド番号プレースホルダ 5">
            <a:extLst>
              <a:ext uri="{FF2B5EF4-FFF2-40B4-BE49-F238E27FC236}">
                <a16:creationId xmlns:a16="http://schemas.microsoft.com/office/drawing/2014/main" id="{51A4825E-63A1-564F-BC3A-FBC167ECE5EB}"/>
              </a:ext>
            </a:extLst>
          </p:cNvPr>
          <p:cNvSpPr>
            <a:spLocks noGrp="1"/>
          </p:cNvSpPr>
          <p:nvPr>
            <p:ph type="sldNum" sz="quarter" idx="4"/>
          </p:nvPr>
        </p:nvSpPr>
        <p:spPr>
          <a:xfrm>
            <a:off x="311150" y="6523001"/>
            <a:ext cx="294928" cy="196131"/>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a:t>
            </a:fld>
            <a:endParaRPr lang="ja-JP" altLang="en-US"/>
          </a:p>
        </p:txBody>
      </p:sp>
      <p:sp>
        <p:nvSpPr>
          <p:cNvPr id="21" name="Rectangle 20">
            <a:extLst>
              <a:ext uri="{FF2B5EF4-FFF2-40B4-BE49-F238E27FC236}">
                <a16:creationId xmlns:a16="http://schemas.microsoft.com/office/drawing/2014/main" id="{FCF9CDB0-5730-E246-B31F-F5963CF8EFDC}"/>
              </a:ext>
            </a:extLst>
          </p:cNvPr>
          <p:cNvSpPr/>
          <p:nvPr userDrawn="1"/>
        </p:nvSpPr>
        <p:spPr>
          <a:xfrm>
            <a:off x="308038" y="161606"/>
            <a:ext cx="54000" cy="68580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dirty="0">
              <a:solidFill>
                <a:schemeClr val="accent1"/>
              </a:solidFill>
            </a:endParaRPr>
          </a:p>
        </p:txBody>
      </p:sp>
      <p:sp>
        <p:nvSpPr>
          <p:cNvPr id="24" name="Text Placeholder 6">
            <a:extLst>
              <a:ext uri="{FF2B5EF4-FFF2-40B4-BE49-F238E27FC236}">
                <a16:creationId xmlns:a16="http://schemas.microsoft.com/office/drawing/2014/main" id="{44EB3013-FCB4-1B4E-A9F2-FD57CF727CCC}"/>
              </a:ext>
            </a:extLst>
          </p:cNvPr>
          <p:cNvSpPr>
            <a:spLocks noGrp="1"/>
          </p:cNvSpPr>
          <p:nvPr>
            <p:ph type="body" sz="quarter" idx="16" hasCustomPrompt="1"/>
          </p:nvPr>
        </p:nvSpPr>
        <p:spPr>
          <a:xfrm>
            <a:off x="606078" y="6523001"/>
            <a:ext cx="6968348" cy="205613"/>
          </a:xfrm>
          <a:prstGeom prst="rect">
            <a:avLst/>
          </a:prstGeom>
        </p:spPr>
        <p:txBody>
          <a:bodyPr wrap="none" tIns="0" rIns="0" bIns="72000" numCol="1" anchor="ctr">
            <a:noAutofit/>
          </a:bodyPr>
          <a:lstStyle>
            <a:lvl1pPr marL="0" indent="0">
              <a:lnSpc>
                <a:spcPts val="1600"/>
              </a:lnSpc>
              <a:spcBef>
                <a:spcPts val="0"/>
              </a:spcBef>
              <a:spcAft>
                <a:spcPts val="600"/>
              </a:spcAft>
              <a:buFont typeface="Arial" panose="020B0604020202020204" pitchFamily="34" charset="0"/>
              <a:buNone/>
              <a:defRPr sz="800" b="0">
                <a:solidFill>
                  <a:schemeClr val="accent3"/>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dirty="0"/>
              <a:t>Private and confidential. For internal use only.</a:t>
            </a:r>
          </a:p>
        </p:txBody>
      </p:sp>
    </p:spTree>
    <p:extLst>
      <p:ext uri="{BB962C8B-B14F-4D97-AF65-F5344CB8AC3E}">
        <p14:creationId xmlns:p14="http://schemas.microsoft.com/office/powerpoint/2010/main" val="851679422"/>
      </p:ext>
    </p:extLst>
  </p:cSld>
  <p:clrMapOvr>
    <a:masterClrMapping/>
  </p:clrMapOvr>
  <p:transition spd="slow">
    <p:push dir="u"/>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Standard 2-Column Text">
    <p:spTree>
      <p:nvGrpSpPr>
        <p:cNvPr id="1" name=""/>
        <p:cNvGrpSpPr/>
        <p:nvPr/>
      </p:nvGrpSpPr>
      <p:grpSpPr>
        <a:xfrm>
          <a:off x="0" y="0"/>
          <a:ext cx="0" cy="0"/>
          <a:chOff x="0" y="0"/>
          <a:chExt cx="0" cy="0"/>
        </a:xfrm>
      </p:grpSpPr>
      <p:sp>
        <p:nvSpPr>
          <p:cNvPr id="12" name="Text Placeholder 6">
            <a:extLst>
              <a:ext uri="{FF2B5EF4-FFF2-40B4-BE49-F238E27FC236}">
                <a16:creationId xmlns:a16="http://schemas.microsoft.com/office/drawing/2014/main" id="{FD2406EE-A554-5348-AE6D-4D8B343E6201}"/>
              </a:ext>
            </a:extLst>
          </p:cNvPr>
          <p:cNvSpPr>
            <a:spLocks noGrp="1"/>
          </p:cNvSpPr>
          <p:nvPr>
            <p:ph type="body" sz="quarter" idx="15" hasCustomPrompt="1"/>
          </p:nvPr>
        </p:nvSpPr>
        <p:spPr>
          <a:xfrm>
            <a:off x="311150" y="1102385"/>
            <a:ext cx="11569700" cy="5328857"/>
          </a:xfrm>
          <a:prstGeom prst="rect">
            <a:avLst/>
          </a:prstGeom>
        </p:spPr>
        <p:txBody>
          <a:bodyPr tIns="0" rIns="0" bIns="0" numCol="2" spcCol="540000">
            <a:normAutofit/>
          </a:bodyPr>
          <a:lstStyle>
            <a:lvl1pPr marL="0" indent="0">
              <a:lnSpc>
                <a:spcPct val="100000"/>
              </a:lnSpc>
              <a:spcBef>
                <a:spcPts val="0"/>
              </a:spcBef>
              <a:spcAft>
                <a:spcPts val="600"/>
              </a:spcAft>
              <a:buFont typeface="Arial" panose="020B0604020202020204" pitchFamily="34" charset="0"/>
              <a:buNone/>
              <a:defRPr sz="1600" b="0">
                <a:solidFill>
                  <a:schemeClr val="tx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dirty="0"/>
              <a:t>This is a two-column layout. Click to add content. </a:t>
            </a:r>
          </a:p>
        </p:txBody>
      </p:sp>
      <p:sp>
        <p:nvSpPr>
          <p:cNvPr id="19" name="Footer Placeholder 8">
            <a:extLst>
              <a:ext uri="{FF2B5EF4-FFF2-40B4-BE49-F238E27FC236}">
                <a16:creationId xmlns:a16="http://schemas.microsoft.com/office/drawing/2014/main" id="{CDA06C55-0643-C148-AAB1-C4BB26FD7B26}"/>
              </a:ext>
            </a:extLst>
          </p:cNvPr>
          <p:cNvSpPr>
            <a:spLocks noGrp="1"/>
          </p:cNvSpPr>
          <p:nvPr>
            <p:ph type="ftr" sz="quarter" idx="3"/>
          </p:nvPr>
        </p:nvSpPr>
        <p:spPr>
          <a:xfrm>
            <a:off x="7766050" y="6523001"/>
            <a:ext cx="4114800" cy="196131"/>
          </a:xfrm>
          <a:prstGeom prst="rect">
            <a:avLst/>
          </a:prstGeom>
        </p:spPr>
        <p:txBody>
          <a:bodyPr vert="horz" lIns="0" tIns="0" rIns="0" bIns="0" rtlCol="0" anchor="ctr"/>
          <a:lstStyle>
            <a:lvl1pPr algn="r">
              <a:defRPr sz="800" b="1" spc="100" baseline="0">
                <a:solidFill>
                  <a:schemeClr val="tx1"/>
                </a:solidFill>
              </a:defRPr>
            </a:lvl1pPr>
          </a:lstStyle>
          <a:p>
            <a:r>
              <a:rPr lang="en-JP" dirty="0"/>
              <a:t> </a:t>
            </a:r>
          </a:p>
        </p:txBody>
      </p:sp>
      <p:pic>
        <p:nvPicPr>
          <p:cNvPr id="14" name="Picture 13" descr="Takeda">
            <a:extLst>
              <a:ext uri="{FF2B5EF4-FFF2-40B4-BE49-F238E27FC236}">
                <a16:creationId xmlns:a16="http://schemas.microsoft.com/office/drawing/2014/main" id="{A75F5BF7-D49E-8A49-AE81-CB31E57D5A75}"/>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546331" y="-1615"/>
            <a:ext cx="1696232" cy="940780"/>
          </a:xfrm>
          <a:prstGeom prst="rect">
            <a:avLst/>
          </a:prstGeom>
        </p:spPr>
      </p:pic>
      <p:sp>
        <p:nvSpPr>
          <p:cNvPr id="22" name="タイトル プレースホルダ 1">
            <a:extLst>
              <a:ext uri="{FF2B5EF4-FFF2-40B4-BE49-F238E27FC236}">
                <a16:creationId xmlns:a16="http://schemas.microsoft.com/office/drawing/2014/main" id="{86D2E5B8-9E2B-DB46-A55A-5F26569C4F99}"/>
              </a:ext>
            </a:extLst>
          </p:cNvPr>
          <p:cNvSpPr>
            <a:spLocks noGrp="1"/>
          </p:cNvSpPr>
          <p:nvPr>
            <p:ph type="title" hasCustomPrompt="1"/>
          </p:nvPr>
        </p:nvSpPr>
        <p:spPr>
          <a:xfrm>
            <a:off x="606078" y="161605"/>
            <a:ext cx="9940253" cy="685801"/>
          </a:xfrm>
          <a:prstGeom prst="rect">
            <a:avLst/>
          </a:prstGeom>
        </p:spPr>
        <p:txBody>
          <a:bodyPr vert="horz" lIns="0" tIns="0" rIns="0" bIns="0" rtlCol="0" anchor="ctr">
            <a:normAutofit/>
          </a:bodyPr>
          <a:lstStyle/>
          <a:p>
            <a:r>
              <a:rPr kumimoji="1" lang="en-US" altLang="ja-JP" dirty="0"/>
              <a:t>Two-column layout. Click to add title</a:t>
            </a:r>
            <a:endParaRPr kumimoji="1" lang="ja-JP" altLang="en-US"/>
          </a:p>
        </p:txBody>
      </p:sp>
      <p:sp>
        <p:nvSpPr>
          <p:cNvPr id="13" name="Rectangle 12">
            <a:extLst>
              <a:ext uri="{FF2B5EF4-FFF2-40B4-BE49-F238E27FC236}">
                <a16:creationId xmlns:a16="http://schemas.microsoft.com/office/drawing/2014/main" id="{F49634AC-7DDA-D44D-88DB-5850289DD643}"/>
              </a:ext>
            </a:extLst>
          </p:cNvPr>
          <p:cNvSpPr/>
          <p:nvPr userDrawn="1"/>
        </p:nvSpPr>
        <p:spPr>
          <a:xfrm>
            <a:off x="308038" y="161606"/>
            <a:ext cx="54000" cy="68580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dirty="0">
              <a:solidFill>
                <a:schemeClr val="accent1"/>
              </a:solidFill>
            </a:endParaRPr>
          </a:p>
        </p:txBody>
      </p:sp>
      <p:sp>
        <p:nvSpPr>
          <p:cNvPr id="20" name="スライド番号プレースホルダ 5">
            <a:extLst>
              <a:ext uri="{FF2B5EF4-FFF2-40B4-BE49-F238E27FC236}">
                <a16:creationId xmlns:a16="http://schemas.microsoft.com/office/drawing/2014/main" id="{E22A984C-7436-8C4C-83C8-F2AD67592041}"/>
              </a:ext>
            </a:extLst>
          </p:cNvPr>
          <p:cNvSpPr>
            <a:spLocks noGrp="1"/>
          </p:cNvSpPr>
          <p:nvPr>
            <p:ph type="sldNum" sz="quarter" idx="4"/>
          </p:nvPr>
        </p:nvSpPr>
        <p:spPr>
          <a:xfrm>
            <a:off x="311150" y="6523001"/>
            <a:ext cx="294928" cy="196131"/>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a:t>
            </a:fld>
            <a:endParaRPr lang="ja-JP" altLang="en-US"/>
          </a:p>
        </p:txBody>
      </p:sp>
      <p:sp>
        <p:nvSpPr>
          <p:cNvPr id="21" name="Text Placeholder 6">
            <a:extLst>
              <a:ext uri="{FF2B5EF4-FFF2-40B4-BE49-F238E27FC236}">
                <a16:creationId xmlns:a16="http://schemas.microsoft.com/office/drawing/2014/main" id="{0A6720AD-4FA4-A146-AEEB-A4E558BAA3EA}"/>
              </a:ext>
            </a:extLst>
          </p:cNvPr>
          <p:cNvSpPr>
            <a:spLocks noGrp="1"/>
          </p:cNvSpPr>
          <p:nvPr>
            <p:ph type="body" sz="quarter" idx="16" hasCustomPrompt="1"/>
          </p:nvPr>
        </p:nvSpPr>
        <p:spPr>
          <a:xfrm>
            <a:off x="606078" y="6523001"/>
            <a:ext cx="6968348" cy="205613"/>
          </a:xfrm>
          <a:prstGeom prst="rect">
            <a:avLst/>
          </a:prstGeom>
        </p:spPr>
        <p:txBody>
          <a:bodyPr wrap="none" tIns="0" rIns="0" bIns="72000" numCol="1" anchor="ctr">
            <a:noAutofit/>
          </a:bodyPr>
          <a:lstStyle>
            <a:lvl1pPr marL="0" indent="0">
              <a:lnSpc>
                <a:spcPts val="1600"/>
              </a:lnSpc>
              <a:spcBef>
                <a:spcPts val="0"/>
              </a:spcBef>
              <a:spcAft>
                <a:spcPts val="600"/>
              </a:spcAft>
              <a:buFont typeface="Arial" panose="020B0604020202020204" pitchFamily="34" charset="0"/>
              <a:buNone/>
              <a:defRPr sz="800" b="0">
                <a:solidFill>
                  <a:schemeClr val="accent3"/>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dirty="0"/>
              <a:t>Private and confidential. For internal use only.</a:t>
            </a:r>
          </a:p>
        </p:txBody>
      </p:sp>
    </p:spTree>
    <p:extLst>
      <p:ext uri="{BB962C8B-B14F-4D97-AF65-F5344CB8AC3E}">
        <p14:creationId xmlns:p14="http://schemas.microsoft.com/office/powerpoint/2010/main" val="1208037409"/>
      </p:ext>
    </p:extLst>
  </p:cSld>
  <p:clrMapOvr>
    <a:masterClrMapping/>
  </p:clrMapOvr>
  <p:transition spd="slow">
    <p:push dir="u"/>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ection Title Page">
    <p:spTree>
      <p:nvGrpSpPr>
        <p:cNvPr id="1" name=""/>
        <p:cNvGrpSpPr/>
        <p:nvPr/>
      </p:nvGrpSpPr>
      <p:grpSpPr>
        <a:xfrm>
          <a:off x="0" y="0"/>
          <a:ext cx="0" cy="0"/>
          <a:chOff x="0" y="0"/>
          <a:chExt cx="0" cy="0"/>
        </a:xfrm>
      </p:grpSpPr>
      <p:sp>
        <p:nvSpPr>
          <p:cNvPr id="33" name="Title 1">
            <a:extLst>
              <a:ext uri="{FF2B5EF4-FFF2-40B4-BE49-F238E27FC236}">
                <a16:creationId xmlns:a16="http://schemas.microsoft.com/office/drawing/2014/main" id="{E02383DA-65B3-044E-9E1B-2CC00A0B1CC6}"/>
              </a:ext>
            </a:extLst>
          </p:cNvPr>
          <p:cNvSpPr>
            <a:spLocks noGrp="1"/>
          </p:cNvSpPr>
          <p:nvPr>
            <p:ph type="ctrTitle" hasCustomPrompt="1"/>
          </p:nvPr>
        </p:nvSpPr>
        <p:spPr>
          <a:xfrm>
            <a:off x="1194730" y="2303030"/>
            <a:ext cx="4354731" cy="2279130"/>
          </a:xfrm>
          <a:prstGeom prst="rect">
            <a:avLst/>
          </a:prstGeom>
        </p:spPr>
        <p:txBody>
          <a:bodyPr wrap="square" lIns="0" tIns="0" rIns="0" bIns="0" anchor="ctr" anchorCtr="0">
            <a:normAutofit/>
          </a:bodyPr>
          <a:lstStyle>
            <a:lvl1pPr>
              <a:lnSpc>
                <a:spcPts val="3800"/>
              </a:lnSpc>
              <a:defRPr sz="3600" b="1" i="0" baseline="0">
                <a:solidFill>
                  <a:schemeClr val="tx1"/>
                </a:solidFill>
                <a:latin typeface="Calibri" panose="020F0502020204030204" pitchFamily="34" charset="0"/>
                <a:ea typeface="メイリオ" pitchFamily="50" charset="-128"/>
                <a:cs typeface="Calibri" pitchFamily="34" charset="0"/>
              </a:defRPr>
            </a:lvl1pPr>
          </a:lstStyle>
          <a:p>
            <a:r>
              <a:rPr lang="en-GB" dirty="0"/>
              <a:t>Click to add section title</a:t>
            </a:r>
          </a:p>
        </p:txBody>
      </p:sp>
      <p:sp>
        <p:nvSpPr>
          <p:cNvPr id="28" name="Rectangle 27">
            <a:extLst>
              <a:ext uri="{FF2B5EF4-FFF2-40B4-BE49-F238E27FC236}">
                <a16:creationId xmlns:a16="http://schemas.microsoft.com/office/drawing/2014/main" id="{92F9C2FE-7E43-3948-92F0-0CEA804BDBFE}"/>
              </a:ext>
            </a:extLst>
          </p:cNvPr>
          <p:cNvSpPr/>
          <p:nvPr userDrawn="1"/>
        </p:nvSpPr>
        <p:spPr>
          <a:xfrm>
            <a:off x="749005" y="2110246"/>
            <a:ext cx="97200" cy="270718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kumimoji="0" lang="en-US" altLang="en-US" sz="1800" dirty="0">
              <a:solidFill>
                <a:srgbClr val="FFFFFF"/>
              </a:solidFill>
            </a:endParaRPr>
          </a:p>
        </p:txBody>
      </p:sp>
      <p:sp>
        <p:nvSpPr>
          <p:cNvPr id="13" name="Picture Placeholder 9">
            <a:extLst>
              <a:ext uri="{FF2B5EF4-FFF2-40B4-BE49-F238E27FC236}">
                <a16:creationId xmlns:a16="http://schemas.microsoft.com/office/drawing/2014/main" id="{46656F8F-0621-5F47-BF80-4A4E365A2D91}"/>
              </a:ext>
            </a:extLst>
          </p:cNvPr>
          <p:cNvSpPr>
            <a:spLocks noGrp="1"/>
          </p:cNvSpPr>
          <p:nvPr>
            <p:ph type="pic" sz="quarter" idx="10"/>
          </p:nvPr>
        </p:nvSpPr>
        <p:spPr>
          <a:xfrm>
            <a:off x="6642541" y="-1"/>
            <a:ext cx="5565823" cy="6416675"/>
          </a:xfrm>
          <a:custGeom>
            <a:avLst/>
            <a:gdLst>
              <a:gd name="connsiteX0" fmla="*/ 0 w 10888662"/>
              <a:gd name="connsiteY0" fmla="*/ 579722 h 6442075"/>
              <a:gd name="connsiteX1" fmla="*/ 579722 w 10888662"/>
              <a:gd name="connsiteY1" fmla="*/ 0 h 6442075"/>
              <a:gd name="connsiteX2" fmla="*/ 10308940 w 10888662"/>
              <a:gd name="connsiteY2" fmla="*/ 0 h 6442075"/>
              <a:gd name="connsiteX3" fmla="*/ 10888662 w 10888662"/>
              <a:gd name="connsiteY3" fmla="*/ 579722 h 6442075"/>
              <a:gd name="connsiteX4" fmla="*/ 10888662 w 10888662"/>
              <a:gd name="connsiteY4" fmla="*/ 5862353 h 6442075"/>
              <a:gd name="connsiteX5" fmla="*/ 10308940 w 10888662"/>
              <a:gd name="connsiteY5" fmla="*/ 6442075 h 6442075"/>
              <a:gd name="connsiteX6" fmla="*/ 579722 w 10888662"/>
              <a:gd name="connsiteY6" fmla="*/ 6442075 h 6442075"/>
              <a:gd name="connsiteX7" fmla="*/ 0 w 10888662"/>
              <a:gd name="connsiteY7" fmla="*/ 5862353 h 6442075"/>
              <a:gd name="connsiteX8" fmla="*/ 0 w 10888662"/>
              <a:gd name="connsiteY8" fmla="*/ 579722 h 6442075"/>
              <a:gd name="connsiteX0" fmla="*/ 0 w 10888662"/>
              <a:gd name="connsiteY0" fmla="*/ 659657 h 6522010"/>
              <a:gd name="connsiteX1" fmla="*/ 10308940 w 10888662"/>
              <a:gd name="connsiteY1" fmla="*/ 79935 h 6522010"/>
              <a:gd name="connsiteX2" fmla="*/ 10888662 w 10888662"/>
              <a:gd name="connsiteY2" fmla="*/ 659657 h 6522010"/>
              <a:gd name="connsiteX3" fmla="*/ 10888662 w 10888662"/>
              <a:gd name="connsiteY3" fmla="*/ 5942288 h 6522010"/>
              <a:gd name="connsiteX4" fmla="*/ 10308940 w 10888662"/>
              <a:gd name="connsiteY4" fmla="*/ 6522010 h 6522010"/>
              <a:gd name="connsiteX5" fmla="*/ 579722 w 10888662"/>
              <a:gd name="connsiteY5" fmla="*/ 6522010 h 6522010"/>
              <a:gd name="connsiteX6" fmla="*/ 0 w 10888662"/>
              <a:gd name="connsiteY6" fmla="*/ 5942288 h 6522010"/>
              <a:gd name="connsiteX7" fmla="*/ 0 w 10888662"/>
              <a:gd name="connsiteY7" fmla="*/ 659657 h 6522010"/>
              <a:gd name="connsiteX0" fmla="*/ 0 w 10888662"/>
              <a:gd name="connsiteY0" fmla="*/ 579722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579722 h 6442075"/>
              <a:gd name="connsiteX0" fmla="*/ 0 w 10888662"/>
              <a:gd name="connsiteY0" fmla="*/ 129257 h 6569679"/>
              <a:gd name="connsiteX1" fmla="*/ 10308940 w 10888662"/>
              <a:gd name="connsiteY1" fmla="*/ 127604 h 6569679"/>
              <a:gd name="connsiteX2" fmla="*/ 10888662 w 10888662"/>
              <a:gd name="connsiteY2" fmla="*/ 707326 h 6569679"/>
              <a:gd name="connsiteX3" fmla="*/ 10888662 w 10888662"/>
              <a:gd name="connsiteY3" fmla="*/ 5989957 h 6569679"/>
              <a:gd name="connsiteX4" fmla="*/ 10308940 w 10888662"/>
              <a:gd name="connsiteY4" fmla="*/ 6569679 h 6569679"/>
              <a:gd name="connsiteX5" fmla="*/ 579722 w 10888662"/>
              <a:gd name="connsiteY5" fmla="*/ 6569679 h 6569679"/>
              <a:gd name="connsiteX6" fmla="*/ 0 w 10888662"/>
              <a:gd name="connsiteY6" fmla="*/ 5989957 h 6569679"/>
              <a:gd name="connsiteX7" fmla="*/ 0 w 10888662"/>
              <a:gd name="connsiteY7" fmla="*/ 129257 h 6569679"/>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9657299 w 10888662"/>
              <a:gd name="connsiteY4" fmla="*/ 55276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522010"/>
              <a:gd name="connsiteX1" fmla="*/ 10308940 w 10888662"/>
              <a:gd name="connsiteY1" fmla="*/ 0 h 6522010"/>
              <a:gd name="connsiteX2" fmla="*/ 10888662 w 10888662"/>
              <a:gd name="connsiteY2" fmla="*/ 579722 h 6522010"/>
              <a:gd name="connsiteX3" fmla="*/ 10888662 w 10888662"/>
              <a:gd name="connsiteY3" fmla="*/ 5862353 h 6522010"/>
              <a:gd name="connsiteX4" fmla="*/ 579722 w 10888662"/>
              <a:gd name="connsiteY4" fmla="*/ 6442075 h 6522010"/>
              <a:gd name="connsiteX5" fmla="*/ 0 w 10888662"/>
              <a:gd name="connsiteY5" fmla="*/ 5862353 h 6522010"/>
              <a:gd name="connsiteX6" fmla="*/ 0 w 10888662"/>
              <a:gd name="connsiteY6" fmla="*/ 1653 h 6522010"/>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579722 w 10888662"/>
              <a:gd name="connsiteY4" fmla="*/ 6442075 h 6442075"/>
              <a:gd name="connsiteX5" fmla="*/ 0 w 10888662"/>
              <a:gd name="connsiteY5" fmla="*/ 5862353 h 6442075"/>
              <a:gd name="connsiteX6" fmla="*/ 0 w 10888662"/>
              <a:gd name="connsiteY6" fmla="*/ 1653 h 6442075"/>
              <a:gd name="connsiteX0" fmla="*/ 0 w 10888662"/>
              <a:gd name="connsiteY0" fmla="*/ 1653 h 6585432"/>
              <a:gd name="connsiteX1" fmla="*/ 10308940 w 10888662"/>
              <a:gd name="connsiteY1" fmla="*/ 0 h 6585432"/>
              <a:gd name="connsiteX2" fmla="*/ 10888662 w 10888662"/>
              <a:gd name="connsiteY2" fmla="*/ 579722 h 6585432"/>
              <a:gd name="connsiteX3" fmla="*/ 10878151 w 10888662"/>
              <a:gd name="connsiteY3" fmla="*/ 6461442 h 6585432"/>
              <a:gd name="connsiteX4" fmla="*/ 579722 w 10888662"/>
              <a:gd name="connsiteY4" fmla="*/ 6442075 h 6585432"/>
              <a:gd name="connsiteX5" fmla="*/ 0 w 10888662"/>
              <a:gd name="connsiteY5" fmla="*/ 5862353 h 6585432"/>
              <a:gd name="connsiteX6" fmla="*/ 0 w 10888662"/>
              <a:gd name="connsiteY6" fmla="*/ 1653 h 6585432"/>
              <a:gd name="connsiteX0" fmla="*/ 0 w 10888662"/>
              <a:gd name="connsiteY0" fmla="*/ 1653 h 6577502"/>
              <a:gd name="connsiteX1" fmla="*/ 10308940 w 10888662"/>
              <a:gd name="connsiteY1" fmla="*/ 0 h 6577502"/>
              <a:gd name="connsiteX2" fmla="*/ 10888662 w 10888662"/>
              <a:gd name="connsiteY2" fmla="*/ 579722 h 6577502"/>
              <a:gd name="connsiteX3" fmla="*/ 10878151 w 10888662"/>
              <a:gd name="connsiteY3" fmla="*/ 6450932 h 6577502"/>
              <a:gd name="connsiteX4" fmla="*/ 579722 w 10888662"/>
              <a:gd name="connsiteY4" fmla="*/ 6442075 h 6577502"/>
              <a:gd name="connsiteX5" fmla="*/ 0 w 10888662"/>
              <a:gd name="connsiteY5" fmla="*/ 5862353 h 6577502"/>
              <a:gd name="connsiteX6" fmla="*/ 0 w 10888662"/>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0888662"/>
              <a:gd name="connsiteY0" fmla="*/ 1653 h 6450932"/>
              <a:gd name="connsiteX1" fmla="*/ 10308940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0999550"/>
              <a:gd name="connsiteY0" fmla="*/ 1653 h 6450932"/>
              <a:gd name="connsiteX1" fmla="*/ 10844968 w 10999550"/>
              <a:gd name="connsiteY1" fmla="*/ 0 h 6450932"/>
              <a:gd name="connsiteX2" fmla="*/ 10888662 w 10999550"/>
              <a:gd name="connsiteY2" fmla="*/ 579722 h 6450932"/>
              <a:gd name="connsiteX3" fmla="*/ 10878151 w 10999550"/>
              <a:gd name="connsiteY3" fmla="*/ 6450932 h 6450932"/>
              <a:gd name="connsiteX4" fmla="*/ 579722 w 10999550"/>
              <a:gd name="connsiteY4" fmla="*/ 6442075 h 6450932"/>
              <a:gd name="connsiteX5" fmla="*/ 0 w 10999550"/>
              <a:gd name="connsiteY5" fmla="*/ 5862353 h 6450932"/>
              <a:gd name="connsiteX6" fmla="*/ 0 w 10999550"/>
              <a:gd name="connsiteY6" fmla="*/ 1653 h 6450932"/>
              <a:gd name="connsiteX0" fmla="*/ 0 w 11022020"/>
              <a:gd name="connsiteY0" fmla="*/ 1653 h 6450932"/>
              <a:gd name="connsiteX1" fmla="*/ 10876499 w 11022020"/>
              <a:gd name="connsiteY1" fmla="*/ 0 h 6450932"/>
              <a:gd name="connsiteX2" fmla="*/ 10888662 w 11022020"/>
              <a:gd name="connsiteY2" fmla="*/ 579722 h 6450932"/>
              <a:gd name="connsiteX3" fmla="*/ 10878151 w 11022020"/>
              <a:gd name="connsiteY3" fmla="*/ 6450932 h 6450932"/>
              <a:gd name="connsiteX4" fmla="*/ 579722 w 11022020"/>
              <a:gd name="connsiteY4" fmla="*/ 6442075 h 6450932"/>
              <a:gd name="connsiteX5" fmla="*/ 0 w 11022020"/>
              <a:gd name="connsiteY5" fmla="*/ 5862353 h 6450932"/>
              <a:gd name="connsiteX6" fmla="*/ 0 w 11022020"/>
              <a:gd name="connsiteY6" fmla="*/ 1653 h 6450932"/>
              <a:gd name="connsiteX0" fmla="*/ 0 w 10888662"/>
              <a:gd name="connsiteY0" fmla="*/ 1653 h 6450932"/>
              <a:gd name="connsiteX1" fmla="*/ 10876499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2200990"/>
              <a:gd name="connsiteY0" fmla="*/ 1653 h 6450932"/>
              <a:gd name="connsiteX1" fmla="*/ 10876499 w 12200990"/>
              <a:gd name="connsiteY1" fmla="*/ 0 h 6450932"/>
              <a:gd name="connsiteX2" fmla="*/ 10878151 w 12200990"/>
              <a:gd name="connsiteY2" fmla="*/ 6450932 h 6450932"/>
              <a:gd name="connsiteX3" fmla="*/ 579722 w 12200990"/>
              <a:gd name="connsiteY3" fmla="*/ 6442075 h 6450932"/>
              <a:gd name="connsiteX4" fmla="*/ 0 w 12200990"/>
              <a:gd name="connsiteY4" fmla="*/ 5862353 h 6450932"/>
              <a:gd name="connsiteX5" fmla="*/ 0 w 12200990"/>
              <a:gd name="connsiteY5" fmla="*/ 1653 h 6450932"/>
              <a:gd name="connsiteX0" fmla="*/ 0 w 11640630"/>
              <a:gd name="connsiteY0" fmla="*/ 1653 h 6450932"/>
              <a:gd name="connsiteX1" fmla="*/ 10876499 w 11640630"/>
              <a:gd name="connsiteY1" fmla="*/ 0 h 6450932"/>
              <a:gd name="connsiteX2" fmla="*/ 10878151 w 11640630"/>
              <a:gd name="connsiteY2" fmla="*/ 6450932 h 6450932"/>
              <a:gd name="connsiteX3" fmla="*/ 579722 w 11640630"/>
              <a:gd name="connsiteY3" fmla="*/ 6442075 h 6450932"/>
              <a:gd name="connsiteX4" fmla="*/ 0 w 11640630"/>
              <a:gd name="connsiteY4" fmla="*/ 5862353 h 6450932"/>
              <a:gd name="connsiteX5" fmla="*/ 0 w 11640630"/>
              <a:gd name="connsiteY5" fmla="*/ 1653 h 6450932"/>
              <a:gd name="connsiteX0" fmla="*/ 0 w 10878151"/>
              <a:gd name="connsiteY0" fmla="*/ 1653 h 6450932"/>
              <a:gd name="connsiteX1" fmla="*/ 10876499 w 10878151"/>
              <a:gd name="connsiteY1" fmla="*/ 0 h 6450932"/>
              <a:gd name="connsiteX2" fmla="*/ 10878151 w 10878151"/>
              <a:gd name="connsiteY2" fmla="*/ 6450932 h 6450932"/>
              <a:gd name="connsiteX3" fmla="*/ 579722 w 10878151"/>
              <a:gd name="connsiteY3" fmla="*/ 6442075 h 6450932"/>
              <a:gd name="connsiteX4" fmla="*/ 0 w 10878151"/>
              <a:gd name="connsiteY4" fmla="*/ 5862353 h 6450932"/>
              <a:gd name="connsiteX5" fmla="*/ 0 w 10878151"/>
              <a:gd name="connsiteY5" fmla="*/ 1653 h 6450932"/>
              <a:gd name="connsiteX0" fmla="*/ 0 w 11843451"/>
              <a:gd name="connsiteY0" fmla="*/ 1653 h 6450932"/>
              <a:gd name="connsiteX1" fmla="*/ 11843451 w 11843451"/>
              <a:gd name="connsiteY1" fmla="*/ 0 h 6450932"/>
              <a:gd name="connsiteX2" fmla="*/ 10878151 w 11843451"/>
              <a:gd name="connsiteY2" fmla="*/ 6450932 h 6450932"/>
              <a:gd name="connsiteX3" fmla="*/ 579722 w 11843451"/>
              <a:gd name="connsiteY3" fmla="*/ 6442075 h 6450932"/>
              <a:gd name="connsiteX4" fmla="*/ 0 w 11843451"/>
              <a:gd name="connsiteY4" fmla="*/ 5862353 h 6450932"/>
              <a:gd name="connsiteX5" fmla="*/ 0 w 11843451"/>
              <a:gd name="connsiteY5" fmla="*/ 1653 h 6450932"/>
              <a:gd name="connsiteX0" fmla="*/ 0 w 11855613"/>
              <a:gd name="connsiteY0" fmla="*/ 1653 h 6450932"/>
              <a:gd name="connsiteX1" fmla="*/ 11843451 w 11855613"/>
              <a:gd name="connsiteY1" fmla="*/ 0 h 6450932"/>
              <a:gd name="connsiteX2" fmla="*/ 11855613 w 11855613"/>
              <a:gd name="connsiteY2" fmla="*/ 6450932 h 6450932"/>
              <a:gd name="connsiteX3" fmla="*/ 579722 w 11855613"/>
              <a:gd name="connsiteY3" fmla="*/ 6442075 h 6450932"/>
              <a:gd name="connsiteX4" fmla="*/ 0 w 11855613"/>
              <a:gd name="connsiteY4" fmla="*/ 5862353 h 6450932"/>
              <a:gd name="connsiteX5" fmla="*/ 0 w 11855613"/>
              <a:gd name="connsiteY5" fmla="*/ 1653 h 6450932"/>
              <a:gd name="connsiteX0" fmla="*/ 0 w 11864472"/>
              <a:gd name="connsiteY0" fmla="*/ 1653 h 6450932"/>
              <a:gd name="connsiteX1" fmla="*/ 11864472 w 11864472"/>
              <a:gd name="connsiteY1" fmla="*/ 0 h 6450932"/>
              <a:gd name="connsiteX2" fmla="*/ 11855613 w 11864472"/>
              <a:gd name="connsiteY2" fmla="*/ 6450932 h 6450932"/>
              <a:gd name="connsiteX3" fmla="*/ 579722 w 11864472"/>
              <a:gd name="connsiteY3" fmla="*/ 6442075 h 6450932"/>
              <a:gd name="connsiteX4" fmla="*/ 0 w 11864472"/>
              <a:gd name="connsiteY4" fmla="*/ 5862353 h 6450932"/>
              <a:gd name="connsiteX5" fmla="*/ 0 w 11864472"/>
              <a:gd name="connsiteY5" fmla="*/ 1653 h 6450932"/>
              <a:gd name="connsiteX0" fmla="*/ 0 w 11864472"/>
              <a:gd name="connsiteY0" fmla="*/ 1653 h 6442075"/>
              <a:gd name="connsiteX1" fmla="*/ 11864472 w 11864472"/>
              <a:gd name="connsiteY1" fmla="*/ 0 h 6442075"/>
              <a:gd name="connsiteX2" fmla="*/ 11855613 w 11864472"/>
              <a:gd name="connsiteY2" fmla="*/ 6440421 h 6442075"/>
              <a:gd name="connsiteX3" fmla="*/ 579722 w 11864472"/>
              <a:gd name="connsiteY3" fmla="*/ 6442075 h 6442075"/>
              <a:gd name="connsiteX4" fmla="*/ 0 w 11864472"/>
              <a:gd name="connsiteY4" fmla="*/ 5862353 h 6442075"/>
              <a:gd name="connsiteX5" fmla="*/ 0 w 11864472"/>
              <a:gd name="connsiteY5" fmla="*/ 1653 h 6442075"/>
              <a:gd name="connsiteX0" fmla="*/ 0 w 11864472"/>
              <a:gd name="connsiteY0" fmla="*/ 0 h 6630428"/>
              <a:gd name="connsiteX1" fmla="*/ 11864472 w 11864472"/>
              <a:gd name="connsiteY1" fmla="*/ 188353 h 6630428"/>
              <a:gd name="connsiteX2" fmla="*/ 11855613 w 11864472"/>
              <a:gd name="connsiteY2" fmla="*/ 6628774 h 6630428"/>
              <a:gd name="connsiteX3" fmla="*/ 579722 w 11864472"/>
              <a:gd name="connsiteY3" fmla="*/ 6630428 h 6630428"/>
              <a:gd name="connsiteX4" fmla="*/ 0 w 11864472"/>
              <a:gd name="connsiteY4" fmla="*/ 6050706 h 6630428"/>
              <a:gd name="connsiteX5" fmla="*/ 0 w 11864472"/>
              <a:gd name="connsiteY5" fmla="*/ 0 h 6630428"/>
              <a:gd name="connsiteX0" fmla="*/ 0 w 11864472"/>
              <a:gd name="connsiteY0" fmla="*/ 13527 h 6643955"/>
              <a:gd name="connsiteX1" fmla="*/ 11864472 w 11864472"/>
              <a:gd name="connsiteY1" fmla="*/ 0 h 6643955"/>
              <a:gd name="connsiteX2" fmla="*/ 11855613 w 11864472"/>
              <a:gd name="connsiteY2" fmla="*/ 6642301 h 6643955"/>
              <a:gd name="connsiteX3" fmla="*/ 579722 w 11864472"/>
              <a:gd name="connsiteY3" fmla="*/ 6643955 h 6643955"/>
              <a:gd name="connsiteX4" fmla="*/ 0 w 11864472"/>
              <a:gd name="connsiteY4" fmla="*/ 6064233 h 6643955"/>
              <a:gd name="connsiteX5" fmla="*/ 0 w 11864472"/>
              <a:gd name="connsiteY5" fmla="*/ 13527 h 6643955"/>
              <a:gd name="connsiteX0" fmla="*/ 0 w 11864472"/>
              <a:gd name="connsiteY0" fmla="*/ 1319813 h 6643955"/>
              <a:gd name="connsiteX1" fmla="*/ 11864472 w 11864472"/>
              <a:gd name="connsiteY1" fmla="*/ 0 h 6643955"/>
              <a:gd name="connsiteX2" fmla="*/ 11855613 w 11864472"/>
              <a:gd name="connsiteY2" fmla="*/ 6642301 h 6643955"/>
              <a:gd name="connsiteX3" fmla="*/ 579722 w 11864472"/>
              <a:gd name="connsiteY3" fmla="*/ 6643955 h 6643955"/>
              <a:gd name="connsiteX4" fmla="*/ 0 w 11864472"/>
              <a:gd name="connsiteY4" fmla="*/ 6064233 h 6643955"/>
              <a:gd name="connsiteX5" fmla="*/ 0 w 11864472"/>
              <a:gd name="connsiteY5" fmla="*/ 1319813 h 6643955"/>
              <a:gd name="connsiteX0" fmla="*/ 0 w 11864472"/>
              <a:gd name="connsiteY0" fmla="*/ 13527 h 5337669"/>
              <a:gd name="connsiteX1" fmla="*/ 11864472 w 11864472"/>
              <a:gd name="connsiteY1" fmla="*/ 0 h 5337669"/>
              <a:gd name="connsiteX2" fmla="*/ 11855613 w 11864472"/>
              <a:gd name="connsiteY2" fmla="*/ 5336015 h 5337669"/>
              <a:gd name="connsiteX3" fmla="*/ 579722 w 11864472"/>
              <a:gd name="connsiteY3" fmla="*/ 5337669 h 5337669"/>
              <a:gd name="connsiteX4" fmla="*/ 0 w 11864472"/>
              <a:gd name="connsiteY4" fmla="*/ 4757947 h 5337669"/>
              <a:gd name="connsiteX5" fmla="*/ 0 w 11864472"/>
              <a:gd name="connsiteY5" fmla="*/ 13527 h 5337669"/>
              <a:gd name="connsiteX0" fmla="*/ 0 w 11864472"/>
              <a:gd name="connsiteY0" fmla="*/ 1652 h 5337669"/>
              <a:gd name="connsiteX1" fmla="*/ 11864472 w 11864472"/>
              <a:gd name="connsiteY1" fmla="*/ 0 h 5337669"/>
              <a:gd name="connsiteX2" fmla="*/ 11855613 w 11864472"/>
              <a:gd name="connsiteY2" fmla="*/ 5336015 h 5337669"/>
              <a:gd name="connsiteX3" fmla="*/ 579722 w 11864472"/>
              <a:gd name="connsiteY3" fmla="*/ 5337669 h 5337669"/>
              <a:gd name="connsiteX4" fmla="*/ 0 w 11864472"/>
              <a:gd name="connsiteY4" fmla="*/ 4757947 h 5337669"/>
              <a:gd name="connsiteX5" fmla="*/ 0 w 11864472"/>
              <a:gd name="connsiteY5" fmla="*/ 1652 h 5337669"/>
              <a:gd name="connsiteX0" fmla="*/ 0 w 11864472"/>
              <a:gd name="connsiteY0" fmla="*/ 2201927 h 5337669"/>
              <a:gd name="connsiteX1" fmla="*/ 11864472 w 11864472"/>
              <a:gd name="connsiteY1" fmla="*/ 0 h 5337669"/>
              <a:gd name="connsiteX2" fmla="*/ 11855613 w 11864472"/>
              <a:gd name="connsiteY2" fmla="*/ 5336015 h 5337669"/>
              <a:gd name="connsiteX3" fmla="*/ 579722 w 11864472"/>
              <a:gd name="connsiteY3" fmla="*/ 5337669 h 5337669"/>
              <a:gd name="connsiteX4" fmla="*/ 0 w 11864472"/>
              <a:gd name="connsiteY4" fmla="*/ 4757947 h 5337669"/>
              <a:gd name="connsiteX5" fmla="*/ 0 w 11864472"/>
              <a:gd name="connsiteY5" fmla="*/ 2201927 h 5337669"/>
              <a:gd name="connsiteX0" fmla="*/ 0 w 11864472"/>
              <a:gd name="connsiteY0" fmla="*/ 1652 h 3137394"/>
              <a:gd name="connsiteX1" fmla="*/ 11864472 w 11864472"/>
              <a:gd name="connsiteY1" fmla="*/ 0 h 3137394"/>
              <a:gd name="connsiteX2" fmla="*/ 11855613 w 11864472"/>
              <a:gd name="connsiteY2" fmla="*/ 3135740 h 3137394"/>
              <a:gd name="connsiteX3" fmla="*/ 579722 w 11864472"/>
              <a:gd name="connsiteY3" fmla="*/ 3137394 h 3137394"/>
              <a:gd name="connsiteX4" fmla="*/ 0 w 11864472"/>
              <a:gd name="connsiteY4" fmla="*/ 2557672 h 3137394"/>
              <a:gd name="connsiteX5" fmla="*/ 0 w 11864472"/>
              <a:gd name="connsiteY5" fmla="*/ 1652 h 3137394"/>
              <a:gd name="connsiteX0" fmla="*/ 0 w 11864472"/>
              <a:gd name="connsiteY0" fmla="*/ 0 h 3420555"/>
              <a:gd name="connsiteX1" fmla="*/ 11864472 w 11864472"/>
              <a:gd name="connsiteY1" fmla="*/ 283161 h 3420555"/>
              <a:gd name="connsiteX2" fmla="*/ 11855613 w 11864472"/>
              <a:gd name="connsiteY2" fmla="*/ 3418901 h 3420555"/>
              <a:gd name="connsiteX3" fmla="*/ 579722 w 11864472"/>
              <a:gd name="connsiteY3" fmla="*/ 3420555 h 3420555"/>
              <a:gd name="connsiteX4" fmla="*/ 0 w 11864472"/>
              <a:gd name="connsiteY4" fmla="*/ 2840833 h 3420555"/>
              <a:gd name="connsiteX5" fmla="*/ 0 w 11864472"/>
              <a:gd name="connsiteY5" fmla="*/ 0 h 3420555"/>
              <a:gd name="connsiteX0" fmla="*/ 0 w 11864472"/>
              <a:gd name="connsiteY0" fmla="*/ 1652 h 3422207"/>
              <a:gd name="connsiteX1" fmla="*/ 11864472 w 11864472"/>
              <a:gd name="connsiteY1" fmla="*/ 0 h 3422207"/>
              <a:gd name="connsiteX2" fmla="*/ 11855613 w 11864472"/>
              <a:gd name="connsiteY2" fmla="*/ 3420553 h 3422207"/>
              <a:gd name="connsiteX3" fmla="*/ 579722 w 11864472"/>
              <a:gd name="connsiteY3" fmla="*/ 3422207 h 3422207"/>
              <a:gd name="connsiteX4" fmla="*/ 0 w 11864472"/>
              <a:gd name="connsiteY4" fmla="*/ 2842485 h 3422207"/>
              <a:gd name="connsiteX5" fmla="*/ 0 w 11864472"/>
              <a:gd name="connsiteY5" fmla="*/ 1652 h 3422207"/>
              <a:gd name="connsiteX0" fmla="*/ 0 w 11855613"/>
              <a:gd name="connsiteY0" fmla="*/ 0 h 3420555"/>
              <a:gd name="connsiteX1" fmla="*/ 11834492 w 11855613"/>
              <a:gd name="connsiteY1" fmla="*/ 58309 h 3420555"/>
              <a:gd name="connsiteX2" fmla="*/ 11855613 w 11855613"/>
              <a:gd name="connsiteY2" fmla="*/ 3418901 h 3420555"/>
              <a:gd name="connsiteX3" fmla="*/ 579722 w 11855613"/>
              <a:gd name="connsiteY3" fmla="*/ 3420555 h 3420555"/>
              <a:gd name="connsiteX4" fmla="*/ 0 w 11855613"/>
              <a:gd name="connsiteY4" fmla="*/ 2840833 h 3420555"/>
              <a:gd name="connsiteX5" fmla="*/ 0 w 11855613"/>
              <a:gd name="connsiteY5" fmla="*/ 0 h 3420555"/>
              <a:gd name="connsiteX0" fmla="*/ 0 w 11855613"/>
              <a:gd name="connsiteY0" fmla="*/ 1652 h 3362246"/>
              <a:gd name="connsiteX1" fmla="*/ 11834492 w 11855613"/>
              <a:gd name="connsiteY1" fmla="*/ 0 h 3362246"/>
              <a:gd name="connsiteX2" fmla="*/ 11855613 w 11855613"/>
              <a:gd name="connsiteY2" fmla="*/ 3360592 h 3362246"/>
              <a:gd name="connsiteX3" fmla="*/ 579722 w 11855613"/>
              <a:gd name="connsiteY3" fmla="*/ 3362246 h 3362246"/>
              <a:gd name="connsiteX4" fmla="*/ 0 w 11855613"/>
              <a:gd name="connsiteY4" fmla="*/ 2782524 h 3362246"/>
              <a:gd name="connsiteX5" fmla="*/ 0 w 11855613"/>
              <a:gd name="connsiteY5" fmla="*/ 1652 h 3362246"/>
              <a:gd name="connsiteX0" fmla="*/ 0 w 11864473"/>
              <a:gd name="connsiteY0" fmla="*/ 0 h 3360594"/>
              <a:gd name="connsiteX1" fmla="*/ 11864473 w 11864473"/>
              <a:gd name="connsiteY1" fmla="*/ 13338 h 3360594"/>
              <a:gd name="connsiteX2" fmla="*/ 11855613 w 11864473"/>
              <a:gd name="connsiteY2" fmla="*/ 3358940 h 3360594"/>
              <a:gd name="connsiteX3" fmla="*/ 579722 w 11864473"/>
              <a:gd name="connsiteY3" fmla="*/ 3360594 h 3360594"/>
              <a:gd name="connsiteX4" fmla="*/ 0 w 11864473"/>
              <a:gd name="connsiteY4" fmla="*/ 2780872 h 3360594"/>
              <a:gd name="connsiteX5" fmla="*/ 0 w 11864473"/>
              <a:gd name="connsiteY5" fmla="*/ 0 h 3360594"/>
              <a:gd name="connsiteX0" fmla="*/ 0 w 11864473"/>
              <a:gd name="connsiteY0" fmla="*/ 1652 h 3362246"/>
              <a:gd name="connsiteX1" fmla="*/ 11864473 w 11864473"/>
              <a:gd name="connsiteY1" fmla="*/ 0 h 3362246"/>
              <a:gd name="connsiteX2" fmla="*/ 11855613 w 11864473"/>
              <a:gd name="connsiteY2" fmla="*/ 3360592 h 3362246"/>
              <a:gd name="connsiteX3" fmla="*/ 579722 w 11864473"/>
              <a:gd name="connsiteY3" fmla="*/ 3362246 h 3362246"/>
              <a:gd name="connsiteX4" fmla="*/ 0 w 11864473"/>
              <a:gd name="connsiteY4" fmla="*/ 2782524 h 3362246"/>
              <a:gd name="connsiteX5" fmla="*/ 0 w 11864473"/>
              <a:gd name="connsiteY5" fmla="*/ 1652 h 3362246"/>
              <a:gd name="connsiteX0" fmla="*/ 0 w 11855629"/>
              <a:gd name="connsiteY0" fmla="*/ 1652 h 3362246"/>
              <a:gd name="connsiteX1" fmla="*/ 11459359 w 11855629"/>
              <a:gd name="connsiteY1" fmla="*/ 0 h 3362246"/>
              <a:gd name="connsiteX2" fmla="*/ 11855613 w 11855629"/>
              <a:gd name="connsiteY2" fmla="*/ 3360592 h 3362246"/>
              <a:gd name="connsiteX3" fmla="*/ 579722 w 11855629"/>
              <a:gd name="connsiteY3" fmla="*/ 3362246 h 3362246"/>
              <a:gd name="connsiteX4" fmla="*/ 0 w 11855629"/>
              <a:gd name="connsiteY4" fmla="*/ 2782524 h 3362246"/>
              <a:gd name="connsiteX5" fmla="*/ 0 w 11855629"/>
              <a:gd name="connsiteY5" fmla="*/ 1652 h 3362246"/>
              <a:gd name="connsiteX0" fmla="*/ 0 w 11459359"/>
              <a:gd name="connsiteY0" fmla="*/ 1652 h 3362246"/>
              <a:gd name="connsiteX1" fmla="*/ 11459359 w 11459359"/>
              <a:gd name="connsiteY1" fmla="*/ 0 h 3362246"/>
              <a:gd name="connsiteX2" fmla="*/ 11438924 w 11459359"/>
              <a:gd name="connsiteY2" fmla="*/ 3360592 h 3362246"/>
              <a:gd name="connsiteX3" fmla="*/ 579722 w 11459359"/>
              <a:gd name="connsiteY3" fmla="*/ 3362246 h 3362246"/>
              <a:gd name="connsiteX4" fmla="*/ 0 w 11459359"/>
              <a:gd name="connsiteY4" fmla="*/ 2782524 h 3362246"/>
              <a:gd name="connsiteX5" fmla="*/ 0 w 11459359"/>
              <a:gd name="connsiteY5" fmla="*/ 1652 h 3362246"/>
              <a:gd name="connsiteX0" fmla="*/ 0 w 11459359"/>
              <a:gd name="connsiteY0" fmla="*/ 1652 h 3362246"/>
              <a:gd name="connsiteX1" fmla="*/ 11459359 w 11459359"/>
              <a:gd name="connsiteY1" fmla="*/ 0 h 3362246"/>
              <a:gd name="connsiteX2" fmla="*/ 11438924 w 11459359"/>
              <a:gd name="connsiteY2" fmla="*/ 3360592 h 3362246"/>
              <a:gd name="connsiteX3" fmla="*/ 1584742 w 11459359"/>
              <a:gd name="connsiteY3" fmla="*/ 3362246 h 3362246"/>
              <a:gd name="connsiteX4" fmla="*/ 0 w 11459359"/>
              <a:gd name="connsiteY4" fmla="*/ 2782524 h 3362246"/>
              <a:gd name="connsiteX5" fmla="*/ 0 w 11459359"/>
              <a:gd name="connsiteY5" fmla="*/ 1652 h 3362246"/>
              <a:gd name="connsiteX0" fmla="*/ 0 w 11459359"/>
              <a:gd name="connsiteY0" fmla="*/ 1652 h 3360592"/>
              <a:gd name="connsiteX1" fmla="*/ 11459359 w 11459359"/>
              <a:gd name="connsiteY1" fmla="*/ 0 h 3360592"/>
              <a:gd name="connsiteX2" fmla="*/ 11438924 w 11459359"/>
              <a:gd name="connsiteY2" fmla="*/ 3360592 h 3360592"/>
              <a:gd name="connsiteX3" fmla="*/ 1188396 w 11459359"/>
              <a:gd name="connsiteY3" fmla="*/ 3358591 h 3360592"/>
              <a:gd name="connsiteX4" fmla="*/ 0 w 11459359"/>
              <a:gd name="connsiteY4" fmla="*/ 2782524 h 3360592"/>
              <a:gd name="connsiteX5" fmla="*/ 0 w 11459359"/>
              <a:gd name="connsiteY5" fmla="*/ 1652 h 3360592"/>
              <a:gd name="connsiteX0" fmla="*/ 0 w 11459359"/>
              <a:gd name="connsiteY0" fmla="*/ 1652 h 3360592"/>
              <a:gd name="connsiteX1" fmla="*/ 11459359 w 11459359"/>
              <a:gd name="connsiteY1" fmla="*/ 0 h 3360592"/>
              <a:gd name="connsiteX2" fmla="*/ 11438924 w 11459359"/>
              <a:gd name="connsiteY2" fmla="*/ 3360592 h 3360592"/>
              <a:gd name="connsiteX3" fmla="*/ 1188396 w 11459359"/>
              <a:gd name="connsiteY3" fmla="*/ 3358591 h 3360592"/>
              <a:gd name="connsiteX4" fmla="*/ 0 w 11459359"/>
              <a:gd name="connsiteY4" fmla="*/ 2946995 h 3360592"/>
              <a:gd name="connsiteX5" fmla="*/ 0 w 11459359"/>
              <a:gd name="connsiteY5" fmla="*/ 1652 h 3360592"/>
              <a:gd name="connsiteX0" fmla="*/ 0 w 11459359"/>
              <a:gd name="connsiteY0" fmla="*/ 1652 h 3360592"/>
              <a:gd name="connsiteX1" fmla="*/ 11459359 w 11459359"/>
              <a:gd name="connsiteY1" fmla="*/ 0 h 3360592"/>
              <a:gd name="connsiteX2" fmla="*/ 11438924 w 11459359"/>
              <a:gd name="connsiteY2" fmla="*/ 3360592 h 3360592"/>
              <a:gd name="connsiteX3" fmla="*/ 1188396 w 11459359"/>
              <a:gd name="connsiteY3" fmla="*/ 3358591 h 3360592"/>
              <a:gd name="connsiteX4" fmla="*/ 0 w 11459359"/>
              <a:gd name="connsiteY4" fmla="*/ 2946995 h 3360592"/>
              <a:gd name="connsiteX5" fmla="*/ 0 w 11459359"/>
              <a:gd name="connsiteY5" fmla="*/ 1652 h 3360592"/>
              <a:gd name="connsiteX0" fmla="*/ 0 w 11459359"/>
              <a:gd name="connsiteY0" fmla="*/ 1652 h 3360592"/>
              <a:gd name="connsiteX1" fmla="*/ 11459359 w 11459359"/>
              <a:gd name="connsiteY1" fmla="*/ 0 h 3360592"/>
              <a:gd name="connsiteX2" fmla="*/ 11438924 w 11459359"/>
              <a:gd name="connsiteY2" fmla="*/ 3360592 h 3360592"/>
              <a:gd name="connsiteX3" fmla="*/ 1188396 w 11459359"/>
              <a:gd name="connsiteY3" fmla="*/ 3358591 h 3360592"/>
              <a:gd name="connsiteX4" fmla="*/ 0 w 11459359"/>
              <a:gd name="connsiteY4" fmla="*/ 2946995 h 3360592"/>
              <a:gd name="connsiteX5" fmla="*/ 0 w 11459359"/>
              <a:gd name="connsiteY5" fmla="*/ 1652 h 33605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459359" h="3360592">
                <a:moveTo>
                  <a:pt x="0" y="1652"/>
                </a:moveTo>
                <a:lnTo>
                  <a:pt x="11459359" y="0"/>
                </a:lnTo>
                <a:cubicBezTo>
                  <a:pt x="11456406" y="1115201"/>
                  <a:pt x="11441877" y="2245391"/>
                  <a:pt x="11438924" y="3360592"/>
                </a:cubicBezTo>
                <a:lnTo>
                  <a:pt x="1188396" y="3358591"/>
                </a:lnTo>
                <a:cubicBezTo>
                  <a:pt x="848612" y="3356903"/>
                  <a:pt x="0" y="3267167"/>
                  <a:pt x="0" y="2946995"/>
                </a:cubicBezTo>
                <a:lnTo>
                  <a:pt x="0" y="1652"/>
                </a:lnTo>
                <a:close/>
              </a:path>
            </a:pathLst>
          </a:custGeom>
          <a:noFill/>
        </p:spPr>
        <p:txBody>
          <a:bodyPr/>
          <a:lstStyle>
            <a:lvl1pPr marL="0" indent="0">
              <a:buNone/>
              <a:defRPr sz="2400">
                <a:solidFill>
                  <a:schemeClr val="bg1"/>
                </a:solidFill>
              </a:defRPr>
            </a:lvl1pPr>
          </a:lstStyle>
          <a:p>
            <a:r>
              <a:rPr lang="zh-CN" altLang="en-US"/>
              <a:t>单击图标添加图片</a:t>
            </a:r>
            <a:endParaRPr lang="en-JP" dirty="0"/>
          </a:p>
        </p:txBody>
      </p:sp>
    </p:spTree>
    <p:extLst>
      <p:ext uri="{BB962C8B-B14F-4D97-AF65-F5344CB8AC3E}">
        <p14:creationId xmlns:p14="http://schemas.microsoft.com/office/powerpoint/2010/main" val="3341281494"/>
      </p:ext>
    </p:extLst>
  </p:cSld>
  <p:clrMapOvr>
    <a:masterClrMapping/>
  </p:clrMapOvr>
  <p:transition spd="slow">
    <p:push dir="u"/>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Blank slide">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30A5DA52-BBAF-EA48-AEC6-EA08F428CF57}"/>
              </a:ext>
            </a:extLst>
          </p:cNvPr>
          <p:cNvSpPr>
            <a:spLocks noGrp="1"/>
          </p:cNvSpPr>
          <p:nvPr>
            <p:ph type="body" sz="quarter" idx="10" hasCustomPrompt="1"/>
          </p:nvPr>
        </p:nvSpPr>
        <p:spPr>
          <a:xfrm>
            <a:off x="300038" y="371959"/>
            <a:ext cx="11591925" cy="6044716"/>
          </a:xfrm>
          <a:prstGeom prst="rect">
            <a:avLst/>
          </a:prstGeom>
        </p:spPr>
        <p:txBody>
          <a:bodyPr anchor="ctr" anchorCtr="0"/>
          <a:lstStyle>
            <a:lvl1pPr marL="0" indent="0" algn="ctr">
              <a:lnSpc>
                <a:spcPct val="100000"/>
              </a:lnSpc>
              <a:buNone/>
              <a:defRPr sz="3000"/>
            </a:lvl1pPr>
          </a:lstStyle>
          <a:p>
            <a:pPr lvl="0"/>
            <a:r>
              <a:rPr lang="en-US" dirty="0"/>
              <a:t>Blank slide</a:t>
            </a:r>
            <a:endParaRPr lang="en-JP" dirty="0"/>
          </a:p>
        </p:txBody>
      </p:sp>
    </p:spTree>
    <p:extLst>
      <p:ext uri="{BB962C8B-B14F-4D97-AF65-F5344CB8AC3E}">
        <p14:creationId xmlns:p14="http://schemas.microsoft.com/office/powerpoint/2010/main" val="3226569479"/>
      </p:ext>
    </p:extLst>
  </p:cSld>
  <p:clrMapOvr>
    <a:masterClrMapping/>
  </p:clrMapOvr>
  <p:transition spd="slow">
    <p:push dir="u"/>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Advanced 3-Column Text">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65925D82-457F-D84D-B8DF-D8ADFD7E71DF}"/>
              </a:ext>
            </a:extLst>
          </p:cNvPr>
          <p:cNvSpPr>
            <a:spLocks noGrp="1"/>
          </p:cNvSpPr>
          <p:nvPr>
            <p:ph type="body" sz="quarter" idx="14" hasCustomPrompt="1"/>
          </p:nvPr>
        </p:nvSpPr>
        <p:spPr>
          <a:xfrm>
            <a:off x="311150" y="3178298"/>
            <a:ext cx="5708650" cy="272786"/>
          </a:xfrm>
          <a:prstGeom prst="rect">
            <a:avLst/>
          </a:prstGeom>
        </p:spPr>
        <p:txBody>
          <a:bodyPr tIns="0" rIns="0" bIns="0" numCol="1">
            <a:noAutofit/>
          </a:bodyPr>
          <a:lstStyle>
            <a:lvl1pPr marL="0" indent="0">
              <a:lnSpc>
                <a:spcPct val="100000"/>
              </a:lnSpc>
              <a:spcBef>
                <a:spcPts val="0"/>
              </a:spcBef>
              <a:spcAft>
                <a:spcPts val="600"/>
              </a:spcAft>
              <a:buNone/>
              <a:defRPr sz="18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dirty="0"/>
              <a:t>This is your Secondary Title</a:t>
            </a:r>
          </a:p>
        </p:txBody>
      </p:sp>
      <p:sp>
        <p:nvSpPr>
          <p:cNvPr id="12" name="Text Placeholder 6">
            <a:extLst>
              <a:ext uri="{FF2B5EF4-FFF2-40B4-BE49-F238E27FC236}">
                <a16:creationId xmlns:a16="http://schemas.microsoft.com/office/drawing/2014/main" id="{FD2406EE-A554-5348-AE6D-4D8B343E6201}"/>
              </a:ext>
            </a:extLst>
          </p:cNvPr>
          <p:cNvSpPr>
            <a:spLocks noGrp="1"/>
          </p:cNvSpPr>
          <p:nvPr>
            <p:ph type="body" sz="quarter" idx="15" hasCustomPrompt="1"/>
          </p:nvPr>
        </p:nvSpPr>
        <p:spPr>
          <a:xfrm>
            <a:off x="311149" y="3575904"/>
            <a:ext cx="3763545" cy="2840771"/>
          </a:xfrm>
          <a:prstGeom prst="rect">
            <a:avLst/>
          </a:prstGeom>
        </p:spPr>
        <p:txBody>
          <a:bodyPr tIns="0" rIns="0" bIns="0" numCol="1">
            <a:noAutofit/>
          </a:bodyPr>
          <a:lstStyle>
            <a:lvl1pPr marL="171450" indent="-171450">
              <a:lnSpc>
                <a:spcPct val="100000"/>
              </a:lnSpc>
              <a:spcBef>
                <a:spcPts val="0"/>
              </a:spcBef>
              <a:spcAft>
                <a:spcPts val="600"/>
              </a:spcAft>
              <a:buFont typeface="Arial" panose="020B0604020202020204" pitchFamily="34" charset="0"/>
              <a:buChar char="•"/>
              <a:defRPr sz="1400" b="0">
                <a:solidFill>
                  <a:schemeClr val="tx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dirty="0"/>
              <a:t>This is your Secondary text. </a:t>
            </a:r>
          </a:p>
        </p:txBody>
      </p:sp>
      <p:sp>
        <p:nvSpPr>
          <p:cNvPr id="17" name="Text Placeholder 6">
            <a:extLst>
              <a:ext uri="{FF2B5EF4-FFF2-40B4-BE49-F238E27FC236}">
                <a16:creationId xmlns:a16="http://schemas.microsoft.com/office/drawing/2014/main" id="{3BB454FD-9C16-FC47-B46E-6675394572BB}"/>
              </a:ext>
            </a:extLst>
          </p:cNvPr>
          <p:cNvSpPr>
            <a:spLocks noGrp="1"/>
          </p:cNvSpPr>
          <p:nvPr>
            <p:ph type="body" sz="quarter" idx="18" hasCustomPrompt="1"/>
          </p:nvPr>
        </p:nvSpPr>
        <p:spPr>
          <a:xfrm>
            <a:off x="4213726" y="3575904"/>
            <a:ext cx="3763545" cy="2840771"/>
          </a:xfrm>
          <a:prstGeom prst="rect">
            <a:avLst/>
          </a:prstGeom>
        </p:spPr>
        <p:txBody>
          <a:bodyPr tIns="0" rIns="0" bIns="0" numCol="1">
            <a:noAutofit/>
          </a:bodyPr>
          <a:lstStyle>
            <a:lvl1pPr marL="171450" indent="-171450">
              <a:lnSpc>
                <a:spcPct val="100000"/>
              </a:lnSpc>
              <a:spcBef>
                <a:spcPts val="0"/>
              </a:spcBef>
              <a:spcAft>
                <a:spcPts val="600"/>
              </a:spcAft>
              <a:buFont typeface="Arial" panose="020B0604020202020204" pitchFamily="34" charset="0"/>
              <a:buChar char="•"/>
              <a:defRPr sz="1400" b="0">
                <a:solidFill>
                  <a:schemeClr val="tx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dirty="0"/>
              <a:t>This is your Secondary text. </a:t>
            </a:r>
          </a:p>
        </p:txBody>
      </p:sp>
      <p:sp>
        <p:nvSpPr>
          <p:cNvPr id="18" name="Text Placeholder 6">
            <a:extLst>
              <a:ext uri="{FF2B5EF4-FFF2-40B4-BE49-F238E27FC236}">
                <a16:creationId xmlns:a16="http://schemas.microsoft.com/office/drawing/2014/main" id="{568F3A49-7287-1C4D-93C8-50E3C0B4F15A}"/>
              </a:ext>
            </a:extLst>
          </p:cNvPr>
          <p:cNvSpPr>
            <a:spLocks noGrp="1"/>
          </p:cNvSpPr>
          <p:nvPr>
            <p:ph type="body" sz="quarter" idx="19" hasCustomPrompt="1"/>
          </p:nvPr>
        </p:nvSpPr>
        <p:spPr>
          <a:xfrm>
            <a:off x="8099967" y="3575904"/>
            <a:ext cx="3763545" cy="2840771"/>
          </a:xfrm>
          <a:prstGeom prst="rect">
            <a:avLst/>
          </a:prstGeom>
        </p:spPr>
        <p:txBody>
          <a:bodyPr tIns="0" rIns="0" bIns="0" numCol="1">
            <a:noAutofit/>
          </a:bodyPr>
          <a:lstStyle>
            <a:lvl1pPr marL="171450" indent="-171450">
              <a:lnSpc>
                <a:spcPct val="100000"/>
              </a:lnSpc>
              <a:spcBef>
                <a:spcPts val="0"/>
              </a:spcBef>
              <a:spcAft>
                <a:spcPts val="600"/>
              </a:spcAft>
              <a:buFont typeface="Arial" panose="020B0604020202020204" pitchFamily="34" charset="0"/>
              <a:buChar char="•"/>
              <a:defRPr sz="1400" b="0">
                <a:solidFill>
                  <a:schemeClr val="tx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dirty="0"/>
              <a:t>This is your Secondary text. </a:t>
            </a:r>
          </a:p>
        </p:txBody>
      </p:sp>
      <p:sp>
        <p:nvSpPr>
          <p:cNvPr id="21" name="Footer Placeholder 8">
            <a:extLst>
              <a:ext uri="{FF2B5EF4-FFF2-40B4-BE49-F238E27FC236}">
                <a16:creationId xmlns:a16="http://schemas.microsoft.com/office/drawing/2014/main" id="{519BC59F-4516-0043-8BAC-F9FE45B6A9F4}"/>
              </a:ext>
            </a:extLst>
          </p:cNvPr>
          <p:cNvSpPr>
            <a:spLocks noGrp="1"/>
          </p:cNvSpPr>
          <p:nvPr>
            <p:ph type="ftr" sz="quarter" idx="3"/>
          </p:nvPr>
        </p:nvSpPr>
        <p:spPr>
          <a:xfrm>
            <a:off x="7766050" y="6523001"/>
            <a:ext cx="4114800" cy="196131"/>
          </a:xfrm>
          <a:prstGeom prst="rect">
            <a:avLst/>
          </a:prstGeom>
        </p:spPr>
        <p:txBody>
          <a:bodyPr vert="horz" lIns="91440" tIns="45720" rIns="0" bIns="45720" rtlCol="0" anchor="ctr"/>
          <a:lstStyle>
            <a:lvl1pPr algn="r">
              <a:defRPr sz="800" b="1" spc="100" baseline="0">
                <a:solidFill>
                  <a:schemeClr val="tx1"/>
                </a:solidFill>
              </a:defRPr>
            </a:lvl1pPr>
          </a:lstStyle>
          <a:p>
            <a:r>
              <a:rPr lang="en-JP" dirty="0"/>
              <a:t> </a:t>
            </a:r>
          </a:p>
        </p:txBody>
      </p:sp>
      <p:pic>
        <p:nvPicPr>
          <p:cNvPr id="14" name="Picture 13" descr="Takeda">
            <a:extLst>
              <a:ext uri="{FF2B5EF4-FFF2-40B4-BE49-F238E27FC236}">
                <a16:creationId xmlns:a16="http://schemas.microsoft.com/office/drawing/2014/main" id="{0E2D4ABB-BC5B-754B-B0DE-676246A385A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546331" y="-1615"/>
            <a:ext cx="1696232" cy="940780"/>
          </a:xfrm>
          <a:prstGeom prst="rect">
            <a:avLst/>
          </a:prstGeom>
        </p:spPr>
      </p:pic>
      <p:sp>
        <p:nvSpPr>
          <p:cNvPr id="24" name="タイトル プレースホルダ 1">
            <a:extLst>
              <a:ext uri="{FF2B5EF4-FFF2-40B4-BE49-F238E27FC236}">
                <a16:creationId xmlns:a16="http://schemas.microsoft.com/office/drawing/2014/main" id="{CC986DF6-9894-F144-B9DA-A9DBE0000AB8}"/>
              </a:ext>
            </a:extLst>
          </p:cNvPr>
          <p:cNvSpPr>
            <a:spLocks noGrp="1"/>
          </p:cNvSpPr>
          <p:nvPr>
            <p:ph type="title" hasCustomPrompt="1"/>
          </p:nvPr>
        </p:nvSpPr>
        <p:spPr>
          <a:xfrm>
            <a:off x="606078" y="161605"/>
            <a:ext cx="9940253" cy="685801"/>
          </a:xfrm>
          <a:prstGeom prst="rect">
            <a:avLst/>
          </a:prstGeom>
        </p:spPr>
        <p:txBody>
          <a:bodyPr vert="horz" lIns="0" tIns="0" rIns="0" bIns="0" rtlCol="0" anchor="ctr">
            <a:normAutofit/>
          </a:bodyPr>
          <a:lstStyle/>
          <a:p>
            <a:r>
              <a:rPr kumimoji="1" lang="en-US" altLang="ja-JP" dirty="0"/>
              <a:t>Click to add title</a:t>
            </a:r>
            <a:endParaRPr kumimoji="1" lang="ja-JP" altLang="en-US"/>
          </a:p>
        </p:txBody>
      </p:sp>
      <p:sp>
        <p:nvSpPr>
          <p:cNvPr id="23" name="Rectangle 22">
            <a:extLst>
              <a:ext uri="{FF2B5EF4-FFF2-40B4-BE49-F238E27FC236}">
                <a16:creationId xmlns:a16="http://schemas.microsoft.com/office/drawing/2014/main" id="{886528CE-2840-6C44-965A-04D8835743E3}"/>
              </a:ext>
            </a:extLst>
          </p:cNvPr>
          <p:cNvSpPr/>
          <p:nvPr userDrawn="1"/>
        </p:nvSpPr>
        <p:spPr>
          <a:xfrm>
            <a:off x="308038" y="161606"/>
            <a:ext cx="54000" cy="68580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dirty="0">
              <a:solidFill>
                <a:schemeClr val="accent1"/>
              </a:solidFill>
            </a:endParaRPr>
          </a:p>
        </p:txBody>
      </p:sp>
      <p:sp>
        <p:nvSpPr>
          <p:cNvPr id="27" name="スライド番号プレースホルダ 5">
            <a:extLst>
              <a:ext uri="{FF2B5EF4-FFF2-40B4-BE49-F238E27FC236}">
                <a16:creationId xmlns:a16="http://schemas.microsoft.com/office/drawing/2014/main" id="{854E474F-30B0-604E-9699-287AC57CAAFA}"/>
              </a:ext>
            </a:extLst>
          </p:cNvPr>
          <p:cNvSpPr>
            <a:spLocks noGrp="1"/>
          </p:cNvSpPr>
          <p:nvPr>
            <p:ph type="sldNum" sz="quarter" idx="4"/>
          </p:nvPr>
        </p:nvSpPr>
        <p:spPr>
          <a:xfrm>
            <a:off x="311150" y="6523001"/>
            <a:ext cx="294928" cy="196131"/>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a:t>
            </a:fld>
            <a:endParaRPr lang="ja-JP" altLang="en-US"/>
          </a:p>
        </p:txBody>
      </p:sp>
      <p:sp>
        <p:nvSpPr>
          <p:cNvPr id="28" name="Text Placeholder 6">
            <a:extLst>
              <a:ext uri="{FF2B5EF4-FFF2-40B4-BE49-F238E27FC236}">
                <a16:creationId xmlns:a16="http://schemas.microsoft.com/office/drawing/2014/main" id="{C9681050-C142-4F4F-B3C6-6F52F3C55CD6}"/>
              </a:ext>
            </a:extLst>
          </p:cNvPr>
          <p:cNvSpPr>
            <a:spLocks noGrp="1"/>
          </p:cNvSpPr>
          <p:nvPr>
            <p:ph type="body" sz="quarter" idx="16" hasCustomPrompt="1"/>
          </p:nvPr>
        </p:nvSpPr>
        <p:spPr>
          <a:xfrm>
            <a:off x="606078" y="6523001"/>
            <a:ext cx="6968348" cy="205613"/>
          </a:xfrm>
          <a:prstGeom prst="rect">
            <a:avLst/>
          </a:prstGeom>
        </p:spPr>
        <p:txBody>
          <a:bodyPr wrap="none" tIns="0" rIns="0" bIns="72000" numCol="1" anchor="ctr">
            <a:noAutofit/>
          </a:bodyPr>
          <a:lstStyle>
            <a:lvl1pPr marL="0" indent="0">
              <a:lnSpc>
                <a:spcPts val="1600"/>
              </a:lnSpc>
              <a:spcBef>
                <a:spcPts val="0"/>
              </a:spcBef>
              <a:spcAft>
                <a:spcPts val="600"/>
              </a:spcAft>
              <a:buFont typeface="Arial" panose="020B0604020202020204" pitchFamily="34" charset="0"/>
              <a:buNone/>
              <a:defRPr sz="800" b="0">
                <a:solidFill>
                  <a:schemeClr val="accent3"/>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dirty="0"/>
              <a:t>Private and confidential. For internal use only.</a:t>
            </a:r>
          </a:p>
        </p:txBody>
      </p:sp>
      <p:sp>
        <p:nvSpPr>
          <p:cNvPr id="22" name="Text Placeholder 2">
            <a:extLst>
              <a:ext uri="{FF2B5EF4-FFF2-40B4-BE49-F238E27FC236}">
                <a16:creationId xmlns:a16="http://schemas.microsoft.com/office/drawing/2014/main" id="{110504E2-40F0-054E-8424-D247EF2CA216}"/>
              </a:ext>
            </a:extLst>
          </p:cNvPr>
          <p:cNvSpPr>
            <a:spLocks noGrp="1"/>
          </p:cNvSpPr>
          <p:nvPr>
            <p:ph type="body" sz="quarter" idx="20" hasCustomPrompt="1"/>
          </p:nvPr>
        </p:nvSpPr>
        <p:spPr>
          <a:xfrm>
            <a:off x="311151" y="1491373"/>
            <a:ext cx="11569700" cy="1464957"/>
          </a:xfrm>
        </p:spPr>
        <p:txBody>
          <a:bodyPr tIns="0" rIns="0" bIns="0" numCol="1" spcCol="126000">
            <a:noAutofit/>
          </a:bodyPr>
          <a:lstStyle>
            <a:lvl1pPr marL="0" indent="0">
              <a:lnSpc>
                <a:spcPct val="100000"/>
              </a:lnSpc>
              <a:spcBef>
                <a:spcPts val="0"/>
              </a:spcBef>
              <a:buNone/>
              <a:defRPr sz="1600" b="1"/>
            </a:lvl1pPr>
            <a:lvl2pPr marL="457068" indent="0">
              <a:buNone/>
              <a:defRPr sz="1800" b="1"/>
            </a:lvl2pPr>
            <a:lvl3pPr marL="914149" indent="0">
              <a:buNone/>
              <a:defRPr sz="1800" b="1"/>
            </a:lvl3pPr>
            <a:lvl4pPr marL="1371219" indent="0">
              <a:buNone/>
              <a:defRPr sz="1800" b="1"/>
            </a:lvl4pPr>
            <a:lvl5pPr marL="1828290" indent="0">
              <a:buNone/>
              <a:defRPr sz="1800" b="1"/>
            </a:lvl5pPr>
          </a:lstStyle>
          <a:p>
            <a:pPr lvl="0"/>
            <a:r>
              <a:rPr lang="en-US" dirty="0"/>
              <a:t>This is your Primary Text.</a:t>
            </a:r>
            <a:endParaRPr lang="en-JP" dirty="0"/>
          </a:p>
        </p:txBody>
      </p:sp>
      <p:sp>
        <p:nvSpPr>
          <p:cNvPr id="25" name="Text Placeholder 6">
            <a:extLst>
              <a:ext uri="{FF2B5EF4-FFF2-40B4-BE49-F238E27FC236}">
                <a16:creationId xmlns:a16="http://schemas.microsoft.com/office/drawing/2014/main" id="{073E75F2-7FFB-DC4C-8964-799372FCF583}"/>
              </a:ext>
            </a:extLst>
          </p:cNvPr>
          <p:cNvSpPr>
            <a:spLocks noGrp="1"/>
          </p:cNvSpPr>
          <p:nvPr>
            <p:ph type="body" sz="quarter" idx="21" hasCustomPrompt="1"/>
          </p:nvPr>
        </p:nvSpPr>
        <p:spPr>
          <a:xfrm>
            <a:off x="311150" y="1093767"/>
            <a:ext cx="11569700" cy="272786"/>
          </a:xfrm>
        </p:spPr>
        <p:txBody>
          <a:bodyPr tIns="0" rIns="0" bIns="0" numCol="1">
            <a:noAutofit/>
          </a:bodyPr>
          <a:lstStyle>
            <a:lvl1pPr marL="0" indent="0">
              <a:lnSpc>
                <a:spcPct val="100000"/>
              </a:lnSpc>
              <a:spcBef>
                <a:spcPts val="0"/>
              </a:spcBef>
              <a:spcAft>
                <a:spcPts val="600"/>
              </a:spcAft>
              <a:buNone/>
              <a:defRPr sz="20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dirty="0"/>
              <a:t>This is your Primary Title</a:t>
            </a:r>
          </a:p>
        </p:txBody>
      </p:sp>
    </p:spTree>
    <p:extLst>
      <p:ext uri="{BB962C8B-B14F-4D97-AF65-F5344CB8AC3E}">
        <p14:creationId xmlns:p14="http://schemas.microsoft.com/office/powerpoint/2010/main" val="1306322833"/>
      </p:ext>
    </p:extLst>
  </p:cSld>
  <p:clrMapOvr>
    <a:masterClrMapping/>
  </p:clrMapOvr>
  <p:transition spd="slow">
    <p:push dir="u"/>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Advanced 2/3 Image">
    <p:spTree>
      <p:nvGrpSpPr>
        <p:cNvPr id="1" name=""/>
        <p:cNvGrpSpPr/>
        <p:nvPr/>
      </p:nvGrpSpPr>
      <p:grpSpPr>
        <a:xfrm>
          <a:off x="0" y="0"/>
          <a:ext cx="0" cy="0"/>
          <a:chOff x="0" y="0"/>
          <a:chExt cx="0" cy="0"/>
        </a:xfrm>
      </p:grpSpPr>
      <p:sp>
        <p:nvSpPr>
          <p:cNvPr id="13" name="Picture Placeholder 9">
            <a:extLst>
              <a:ext uri="{FF2B5EF4-FFF2-40B4-BE49-F238E27FC236}">
                <a16:creationId xmlns:a16="http://schemas.microsoft.com/office/drawing/2014/main" id="{B3311DE3-EC35-4C49-805E-57AB2D90E99E}"/>
              </a:ext>
            </a:extLst>
          </p:cNvPr>
          <p:cNvSpPr>
            <a:spLocks noGrp="1"/>
          </p:cNvSpPr>
          <p:nvPr>
            <p:ph type="pic" sz="quarter" idx="10" hasCustomPrompt="1"/>
          </p:nvPr>
        </p:nvSpPr>
        <p:spPr>
          <a:xfrm>
            <a:off x="4210743" y="1093767"/>
            <a:ext cx="7988356" cy="5322908"/>
          </a:xfrm>
          <a:custGeom>
            <a:avLst/>
            <a:gdLst>
              <a:gd name="connsiteX0" fmla="*/ 0 w 10888662"/>
              <a:gd name="connsiteY0" fmla="*/ 579722 h 6442075"/>
              <a:gd name="connsiteX1" fmla="*/ 579722 w 10888662"/>
              <a:gd name="connsiteY1" fmla="*/ 0 h 6442075"/>
              <a:gd name="connsiteX2" fmla="*/ 10308940 w 10888662"/>
              <a:gd name="connsiteY2" fmla="*/ 0 h 6442075"/>
              <a:gd name="connsiteX3" fmla="*/ 10888662 w 10888662"/>
              <a:gd name="connsiteY3" fmla="*/ 579722 h 6442075"/>
              <a:gd name="connsiteX4" fmla="*/ 10888662 w 10888662"/>
              <a:gd name="connsiteY4" fmla="*/ 5862353 h 6442075"/>
              <a:gd name="connsiteX5" fmla="*/ 10308940 w 10888662"/>
              <a:gd name="connsiteY5" fmla="*/ 6442075 h 6442075"/>
              <a:gd name="connsiteX6" fmla="*/ 579722 w 10888662"/>
              <a:gd name="connsiteY6" fmla="*/ 6442075 h 6442075"/>
              <a:gd name="connsiteX7" fmla="*/ 0 w 10888662"/>
              <a:gd name="connsiteY7" fmla="*/ 5862353 h 6442075"/>
              <a:gd name="connsiteX8" fmla="*/ 0 w 10888662"/>
              <a:gd name="connsiteY8" fmla="*/ 579722 h 6442075"/>
              <a:gd name="connsiteX0" fmla="*/ 0 w 10888662"/>
              <a:gd name="connsiteY0" fmla="*/ 659657 h 6522010"/>
              <a:gd name="connsiteX1" fmla="*/ 10308940 w 10888662"/>
              <a:gd name="connsiteY1" fmla="*/ 79935 h 6522010"/>
              <a:gd name="connsiteX2" fmla="*/ 10888662 w 10888662"/>
              <a:gd name="connsiteY2" fmla="*/ 659657 h 6522010"/>
              <a:gd name="connsiteX3" fmla="*/ 10888662 w 10888662"/>
              <a:gd name="connsiteY3" fmla="*/ 5942288 h 6522010"/>
              <a:gd name="connsiteX4" fmla="*/ 10308940 w 10888662"/>
              <a:gd name="connsiteY4" fmla="*/ 6522010 h 6522010"/>
              <a:gd name="connsiteX5" fmla="*/ 579722 w 10888662"/>
              <a:gd name="connsiteY5" fmla="*/ 6522010 h 6522010"/>
              <a:gd name="connsiteX6" fmla="*/ 0 w 10888662"/>
              <a:gd name="connsiteY6" fmla="*/ 5942288 h 6522010"/>
              <a:gd name="connsiteX7" fmla="*/ 0 w 10888662"/>
              <a:gd name="connsiteY7" fmla="*/ 659657 h 6522010"/>
              <a:gd name="connsiteX0" fmla="*/ 0 w 10888662"/>
              <a:gd name="connsiteY0" fmla="*/ 579722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579722 h 6442075"/>
              <a:gd name="connsiteX0" fmla="*/ 0 w 10888662"/>
              <a:gd name="connsiteY0" fmla="*/ 129257 h 6569679"/>
              <a:gd name="connsiteX1" fmla="*/ 10308940 w 10888662"/>
              <a:gd name="connsiteY1" fmla="*/ 127604 h 6569679"/>
              <a:gd name="connsiteX2" fmla="*/ 10888662 w 10888662"/>
              <a:gd name="connsiteY2" fmla="*/ 707326 h 6569679"/>
              <a:gd name="connsiteX3" fmla="*/ 10888662 w 10888662"/>
              <a:gd name="connsiteY3" fmla="*/ 5989957 h 6569679"/>
              <a:gd name="connsiteX4" fmla="*/ 10308940 w 10888662"/>
              <a:gd name="connsiteY4" fmla="*/ 6569679 h 6569679"/>
              <a:gd name="connsiteX5" fmla="*/ 579722 w 10888662"/>
              <a:gd name="connsiteY5" fmla="*/ 6569679 h 6569679"/>
              <a:gd name="connsiteX6" fmla="*/ 0 w 10888662"/>
              <a:gd name="connsiteY6" fmla="*/ 5989957 h 6569679"/>
              <a:gd name="connsiteX7" fmla="*/ 0 w 10888662"/>
              <a:gd name="connsiteY7" fmla="*/ 129257 h 6569679"/>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9657299 w 10888662"/>
              <a:gd name="connsiteY4" fmla="*/ 55276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522010"/>
              <a:gd name="connsiteX1" fmla="*/ 10308940 w 10888662"/>
              <a:gd name="connsiteY1" fmla="*/ 0 h 6522010"/>
              <a:gd name="connsiteX2" fmla="*/ 10888662 w 10888662"/>
              <a:gd name="connsiteY2" fmla="*/ 579722 h 6522010"/>
              <a:gd name="connsiteX3" fmla="*/ 10888662 w 10888662"/>
              <a:gd name="connsiteY3" fmla="*/ 5862353 h 6522010"/>
              <a:gd name="connsiteX4" fmla="*/ 579722 w 10888662"/>
              <a:gd name="connsiteY4" fmla="*/ 6442075 h 6522010"/>
              <a:gd name="connsiteX5" fmla="*/ 0 w 10888662"/>
              <a:gd name="connsiteY5" fmla="*/ 5862353 h 6522010"/>
              <a:gd name="connsiteX6" fmla="*/ 0 w 10888662"/>
              <a:gd name="connsiteY6" fmla="*/ 1653 h 6522010"/>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579722 w 10888662"/>
              <a:gd name="connsiteY4" fmla="*/ 6442075 h 6442075"/>
              <a:gd name="connsiteX5" fmla="*/ 0 w 10888662"/>
              <a:gd name="connsiteY5" fmla="*/ 5862353 h 6442075"/>
              <a:gd name="connsiteX6" fmla="*/ 0 w 10888662"/>
              <a:gd name="connsiteY6" fmla="*/ 1653 h 6442075"/>
              <a:gd name="connsiteX0" fmla="*/ 0 w 10888662"/>
              <a:gd name="connsiteY0" fmla="*/ 1653 h 6585432"/>
              <a:gd name="connsiteX1" fmla="*/ 10308940 w 10888662"/>
              <a:gd name="connsiteY1" fmla="*/ 0 h 6585432"/>
              <a:gd name="connsiteX2" fmla="*/ 10888662 w 10888662"/>
              <a:gd name="connsiteY2" fmla="*/ 579722 h 6585432"/>
              <a:gd name="connsiteX3" fmla="*/ 10878151 w 10888662"/>
              <a:gd name="connsiteY3" fmla="*/ 6461442 h 6585432"/>
              <a:gd name="connsiteX4" fmla="*/ 579722 w 10888662"/>
              <a:gd name="connsiteY4" fmla="*/ 6442075 h 6585432"/>
              <a:gd name="connsiteX5" fmla="*/ 0 w 10888662"/>
              <a:gd name="connsiteY5" fmla="*/ 5862353 h 6585432"/>
              <a:gd name="connsiteX6" fmla="*/ 0 w 10888662"/>
              <a:gd name="connsiteY6" fmla="*/ 1653 h 6585432"/>
              <a:gd name="connsiteX0" fmla="*/ 0 w 10888662"/>
              <a:gd name="connsiteY0" fmla="*/ 1653 h 6577502"/>
              <a:gd name="connsiteX1" fmla="*/ 10308940 w 10888662"/>
              <a:gd name="connsiteY1" fmla="*/ 0 h 6577502"/>
              <a:gd name="connsiteX2" fmla="*/ 10888662 w 10888662"/>
              <a:gd name="connsiteY2" fmla="*/ 579722 h 6577502"/>
              <a:gd name="connsiteX3" fmla="*/ 10878151 w 10888662"/>
              <a:gd name="connsiteY3" fmla="*/ 6450932 h 6577502"/>
              <a:gd name="connsiteX4" fmla="*/ 579722 w 10888662"/>
              <a:gd name="connsiteY4" fmla="*/ 6442075 h 6577502"/>
              <a:gd name="connsiteX5" fmla="*/ 0 w 10888662"/>
              <a:gd name="connsiteY5" fmla="*/ 5862353 h 6577502"/>
              <a:gd name="connsiteX6" fmla="*/ 0 w 10888662"/>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0888662"/>
              <a:gd name="connsiteY0" fmla="*/ 1653 h 6450932"/>
              <a:gd name="connsiteX1" fmla="*/ 10308940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0999550"/>
              <a:gd name="connsiteY0" fmla="*/ 1653 h 6450932"/>
              <a:gd name="connsiteX1" fmla="*/ 10844968 w 10999550"/>
              <a:gd name="connsiteY1" fmla="*/ 0 h 6450932"/>
              <a:gd name="connsiteX2" fmla="*/ 10888662 w 10999550"/>
              <a:gd name="connsiteY2" fmla="*/ 579722 h 6450932"/>
              <a:gd name="connsiteX3" fmla="*/ 10878151 w 10999550"/>
              <a:gd name="connsiteY3" fmla="*/ 6450932 h 6450932"/>
              <a:gd name="connsiteX4" fmla="*/ 579722 w 10999550"/>
              <a:gd name="connsiteY4" fmla="*/ 6442075 h 6450932"/>
              <a:gd name="connsiteX5" fmla="*/ 0 w 10999550"/>
              <a:gd name="connsiteY5" fmla="*/ 5862353 h 6450932"/>
              <a:gd name="connsiteX6" fmla="*/ 0 w 10999550"/>
              <a:gd name="connsiteY6" fmla="*/ 1653 h 6450932"/>
              <a:gd name="connsiteX0" fmla="*/ 0 w 11022020"/>
              <a:gd name="connsiteY0" fmla="*/ 1653 h 6450932"/>
              <a:gd name="connsiteX1" fmla="*/ 10876499 w 11022020"/>
              <a:gd name="connsiteY1" fmla="*/ 0 h 6450932"/>
              <a:gd name="connsiteX2" fmla="*/ 10888662 w 11022020"/>
              <a:gd name="connsiteY2" fmla="*/ 579722 h 6450932"/>
              <a:gd name="connsiteX3" fmla="*/ 10878151 w 11022020"/>
              <a:gd name="connsiteY3" fmla="*/ 6450932 h 6450932"/>
              <a:gd name="connsiteX4" fmla="*/ 579722 w 11022020"/>
              <a:gd name="connsiteY4" fmla="*/ 6442075 h 6450932"/>
              <a:gd name="connsiteX5" fmla="*/ 0 w 11022020"/>
              <a:gd name="connsiteY5" fmla="*/ 5862353 h 6450932"/>
              <a:gd name="connsiteX6" fmla="*/ 0 w 11022020"/>
              <a:gd name="connsiteY6" fmla="*/ 1653 h 6450932"/>
              <a:gd name="connsiteX0" fmla="*/ 0 w 10888662"/>
              <a:gd name="connsiteY0" fmla="*/ 1653 h 6450932"/>
              <a:gd name="connsiteX1" fmla="*/ 10876499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2200990"/>
              <a:gd name="connsiteY0" fmla="*/ 1653 h 6450932"/>
              <a:gd name="connsiteX1" fmla="*/ 10876499 w 12200990"/>
              <a:gd name="connsiteY1" fmla="*/ 0 h 6450932"/>
              <a:gd name="connsiteX2" fmla="*/ 10878151 w 12200990"/>
              <a:gd name="connsiteY2" fmla="*/ 6450932 h 6450932"/>
              <a:gd name="connsiteX3" fmla="*/ 579722 w 12200990"/>
              <a:gd name="connsiteY3" fmla="*/ 6442075 h 6450932"/>
              <a:gd name="connsiteX4" fmla="*/ 0 w 12200990"/>
              <a:gd name="connsiteY4" fmla="*/ 5862353 h 6450932"/>
              <a:gd name="connsiteX5" fmla="*/ 0 w 12200990"/>
              <a:gd name="connsiteY5" fmla="*/ 1653 h 6450932"/>
              <a:gd name="connsiteX0" fmla="*/ 0 w 11640630"/>
              <a:gd name="connsiteY0" fmla="*/ 1653 h 6450932"/>
              <a:gd name="connsiteX1" fmla="*/ 10876499 w 11640630"/>
              <a:gd name="connsiteY1" fmla="*/ 0 h 6450932"/>
              <a:gd name="connsiteX2" fmla="*/ 10878151 w 11640630"/>
              <a:gd name="connsiteY2" fmla="*/ 6450932 h 6450932"/>
              <a:gd name="connsiteX3" fmla="*/ 579722 w 11640630"/>
              <a:gd name="connsiteY3" fmla="*/ 6442075 h 6450932"/>
              <a:gd name="connsiteX4" fmla="*/ 0 w 11640630"/>
              <a:gd name="connsiteY4" fmla="*/ 5862353 h 6450932"/>
              <a:gd name="connsiteX5" fmla="*/ 0 w 11640630"/>
              <a:gd name="connsiteY5" fmla="*/ 1653 h 6450932"/>
              <a:gd name="connsiteX0" fmla="*/ 0 w 10878151"/>
              <a:gd name="connsiteY0" fmla="*/ 1653 h 6450932"/>
              <a:gd name="connsiteX1" fmla="*/ 10876499 w 10878151"/>
              <a:gd name="connsiteY1" fmla="*/ 0 h 6450932"/>
              <a:gd name="connsiteX2" fmla="*/ 10878151 w 10878151"/>
              <a:gd name="connsiteY2" fmla="*/ 6450932 h 6450932"/>
              <a:gd name="connsiteX3" fmla="*/ 579722 w 10878151"/>
              <a:gd name="connsiteY3" fmla="*/ 6442075 h 6450932"/>
              <a:gd name="connsiteX4" fmla="*/ 0 w 10878151"/>
              <a:gd name="connsiteY4" fmla="*/ 5862353 h 6450932"/>
              <a:gd name="connsiteX5" fmla="*/ 0 w 10878151"/>
              <a:gd name="connsiteY5" fmla="*/ 1653 h 6450932"/>
              <a:gd name="connsiteX0" fmla="*/ 0 w 11843451"/>
              <a:gd name="connsiteY0" fmla="*/ 1653 h 6450932"/>
              <a:gd name="connsiteX1" fmla="*/ 11843451 w 11843451"/>
              <a:gd name="connsiteY1" fmla="*/ 0 h 6450932"/>
              <a:gd name="connsiteX2" fmla="*/ 10878151 w 11843451"/>
              <a:gd name="connsiteY2" fmla="*/ 6450932 h 6450932"/>
              <a:gd name="connsiteX3" fmla="*/ 579722 w 11843451"/>
              <a:gd name="connsiteY3" fmla="*/ 6442075 h 6450932"/>
              <a:gd name="connsiteX4" fmla="*/ 0 w 11843451"/>
              <a:gd name="connsiteY4" fmla="*/ 5862353 h 6450932"/>
              <a:gd name="connsiteX5" fmla="*/ 0 w 11843451"/>
              <a:gd name="connsiteY5" fmla="*/ 1653 h 6450932"/>
              <a:gd name="connsiteX0" fmla="*/ 0 w 11855613"/>
              <a:gd name="connsiteY0" fmla="*/ 1653 h 6450932"/>
              <a:gd name="connsiteX1" fmla="*/ 11843451 w 11855613"/>
              <a:gd name="connsiteY1" fmla="*/ 0 h 6450932"/>
              <a:gd name="connsiteX2" fmla="*/ 11855613 w 11855613"/>
              <a:gd name="connsiteY2" fmla="*/ 6450932 h 6450932"/>
              <a:gd name="connsiteX3" fmla="*/ 579722 w 11855613"/>
              <a:gd name="connsiteY3" fmla="*/ 6442075 h 6450932"/>
              <a:gd name="connsiteX4" fmla="*/ 0 w 11855613"/>
              <a:gd name="connsiteY4" fmla="*/ 5862353 h 6450932"/>
              <a:gd name="connsiteX5" fmla="*/ 0 w 11855613"/>
              <a:gd name="connsiteY5" fmla="*/ 1653 h 6450932"/>
              <a:gd name="connsiteX0" fmla="*/ 0 w 11864472"/>
              <a:gd name="connsiteY0" fmla="*/ 1653 h 6450932"/>
              <a:gd name="connsiteX1" fmla="*/ 11864472 w 11864472"/>
              <a:gd name="connsiteY1" fmla="*/ 0 h 6450932"/>
              <a:gd name="connsiteX2" fmla="*/ 11855613 w 11864472"/>
              <a:gd name="connsiteY2" fmla="*/ 6450932 h 6450932"/>
              <a:gd name="connsiteX3" fmla="*/ 579722 w 11864472"/>
              <a:gd name="connsiteY3" fmla="*/ 6442075 h 6450932"/>
              <a:gd name="connsiteX4" fmla="*/ 0 w 11864472"/>
              <a:gd name="connsiteY4" fmla="*/ 5862353 h 6450932"/>
              <a:gd name="connsiteX5" fmla="*/ 0 w 11864472"/>
              <a:gd name="connsiteY5" fmla="*/ 1653 h 6450932"/>
              <a:gd name="connsiteX0" fmla="*/ 0 w 11864472"/>
              <a:gd name="connsiteY0" fmla="*/ 1653 h 6442075"/>
              <a:gd name="connsiteX1" fmla="*/ 11864472 w 11864472"/>
              <a:gd name="connsiteY1" fmla="*/ 0 h 6442075"/>
              <a:gd name="connsiteX2" fmla="*/ 11855613 w 11864472"/>
              <a:gd name="connsiteY2" fmla="*/ 6440421 h 6442075"/>
              <a:gd name="connsiteX3" fmla="*/ 579722 w 11864472"/>
              <a:gd name="connsiteY3" fmla="*/ 6442075 h 6442075"/>
              <a:gd name="connsiteX4" fmla="*/ 0 w 11864472"/>
              <a:gd name="connsiteY4" fmla="*/ 5862353 h 6442075"/>
              <a:gd name="connsiteX5" fmla="*/ 0 w 11864472"/>
              <a:gd name="connsiteY5" fmla="*/ 1653 h 6442075"/>
              <a:gd name="connsiteX0" fmla="*/ 0 w 11855613"/>
              <a:gd name="connsiteY0" fmla="*/ 1653 h 6442075"/>
              <a:gd name="connsiteX1" fmla="*/ 8912928 w 11855613"/>
              <a:gd name="connsiteY1" fmla="*/ 0 h 6442075"/>
              <a:gd name="connsiteX2" fmla="*/ 11855613 w 11855613"/>
              <a:gd name="connsiteY2" fmla="*/ 6440421 h 6442075"/>
              <a:gd name="connsiteX3" fmla="*/ 579722 w 11855613"/>
              <a:gd name="connsiteY3" fmla="*/ 6442075 h 6442075"/>
              <a:gd name="connsiteX4" fmla="*/ 0 w 11855613"/>
              <a:gd name="connsiteY4" fmla="*/ 5862353 h 6442075"/>
              <a:gd name="connsiteX5" fmla="*/ 0 w 11855613"/>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74032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36077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1615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15642"/>
              <a:gd name="connsiteY0" fmla="*/ 1653 h 6442075"/>
              <a:gd name="connsiteX1" fmla="*/ 8912928 w 8915642"/>
              <a:gd name="connsiteY1" fmla="*/ 0 h 6442075"/>
              <a:gd name="connsiteX2" fmla="*/ 8915642 w 8915642"/>
              <a:gd name="connsiteY2" fmla="*/ 6440421 h 6442075"/>
              <a:gd name="connsiteX3" fmla="*/ 579722 w 8915642"/>
              <a:gd name="connsiteY3" fmla="*/ 6442075 h 6442075"/>
              <a:gd name="connsiteX4" fmla="*/ 0 w 8915642"/>
              <a:gd name="connsiteY4" fmla="*/ 5862353 h 6442075"/>
              <a:gd name="connsiteX5" fmla="*/ 0 w 8915642"/>
              <a:gd name="connsiteY5" fmla="*/ 1653 h 6442075"/>
              <a:gd name="connsiteX0" fmla="*/ 0 w 8915642"/>
              <a:gd name="connsiteY0" fmla="*/ 1 h 6633463"/>
              <a:gd name="connsiteX1" fmla="*/ 8912928 w 8915642"/>
              <a:gd name="connsiteY1" fmla="*/ 191388 h 6633463"/>
              <a:gd name="connsiteX2" fmla="*/ 8915642 w 8915642"/>
              <a:gd name="connsiteY2" fmla="*/ 6631809 h 6633463"/>
              <a:gd name="connsiteX3" fmla="*/ 579722 w 8915642"/>
              <a:gd name="connsiteY3" fmla="*/ 6633463 h 6633463"/>
              <a:gd name="connsiteX4" fmla="*/ 0 w 8915642"/>
              <a:gd name="connsiteY4" fmla="*/ 6053741 h 6633463"/>
              <a:gd name="connsiteX5" fmla="*/ 0 w 8915642"/>
              <a:gd name="connsiteY5" fmla="*/ 1 h 6633463"/>
              <a:gd name="connsiteX0" fmla="*/ 0 w 8933278"/>
              <a:gd name="connsiteY0" fmla="*/ 1653 h 6635115"/>
              <a:gd name="connsiteX1" fmla="*/ 8933248 w 8933278"/>
              <a:gd name="connsiteY1" fmla="*/ 0 h 6635115"/>
              <a:gd name="connsiteX2" fmla="*/ 8915642 w 8933278"/>
              <a:gd name="connsiteY2" fmla="*/ 6633461 h 6635115"/>
              <a:gd name="connsiteX3" fmla="*/ 579722 w 8933278"/>
              <a:gd name="connsiteY3" fmla="*/ 6635115 h 6635115"/>
              <a:gd name="connsiteX4" fmla="*/ 0 w 8933278"/>
              <a:gd name="connsiteY4" fmla="*/ 6055393 h 6635115"/>
              <a:gd name="connsiteX5" fmla="*/ 0 w 8933278"/>
              <a:gd name="connsiteY5" fmla="*/ 1653 h 6635115"/>
              <a:gd name="connsiteX0" fmla="*/ 0 w 8933323"/>
              <a:gd name="connsiteY0" fmla="*/ 1653 h 6645336"/>
              <a:gd name="connsiteX1" fmla="*/ 8933248 w 8933323"/>
              <a:gd name="connsiteY1" fmla="*/ 0 h 6645336"/>
              <a:gd name="connsiteX2" fmla="*/ 8927517 w 8933323"/>
              <a:gd name="connsiteY2" fmla="*/ 6645336 h 6645336"/>
              <a:gd name="connsiteX3" fmla="*/ 579722 w 8933323"/>
              <a:gd name="connsiteY3" fmla="*/ 6635115 h 6645336"/>
              <a:gd name="connsiteX4" fmla="*/ 0 w 8933323"/>
              <a:gd name="connsiteY4" fmla="*/ 6055393 h 6645336"/>
              <a:gd name="connsiteX5" fmla="*/ 0 w 8933323"/>
              <a:gd name="connsiteY5" fmla="*/ 1653 h 6645336"/>
              <a:gd name="connsiteX0" fmla="*/ 0 w 8927517"/>
              <a:gd name="connsiteY0" fmla="*/ 1653 h 6645336"/>
              <a:gd name="connsiteX1" fmla="*/ 7971347 w 8927517"/>
              <a:gd name="connsiteY1" fmla="*/ 0 h 6645336"/>
              <a:gd name="connsiteX2" fmla="*/ 8927517 w 8927517"/>
              <a:gd name="connsiteY2" fmla="*/ 6645336 h 6645336"/>
              <a:gd name="connsiteX3" fmla="*/ 579722 w 8927517"/>
              <a:gd name="connsiteY3" fmla="*/ 6635115 h 6645336"/>
              <a:gd name="connsiteX4" fmla="*/ 0 w 8927517"/>
              <a:gd name="connsiteY4" fmla="*/ 6055393 h 6645336"/>
              <a:gd name="connsiteX5" fmla="*/ 0 w 8927517"/>
              <a:gd name="connsiteY5" fmla="*/ 1653 h 6645336"/>
              <a:gd name="connsiteX0" fmla="*/ 0 w 7971422"/>
              <a:gd name="connsiteY0" fmla="*/ 1653 h 6645336"/>
              <a:gd name="connsiteX1" fmla="*/ 7971347 w 7971422"/>
              <a:gd name="connsiteY1" fmla="*/ 0 h 6645336"/>
              <a:gd name="connsiteX2" fmla="*/ 7965616 w 7971422"/>
              <a:gd name="connsiteY2" fmla="*/ 6645336 h 6645336"/>
              <a:gd name="connsiteX3" fmla="*/ 579722 w 7971422"/>
              <a:gd name="connsiteY3" fmla="*/ 6635115 h 6645336"/>
              <a:gd name="connsiteX4" fmla="*/ 0 w 7971422"/>
              <a:gd name="connsiteY4" fmla="*/ 6055393 h 6645336"/>
              <a:gd name="connsiteX5" fmla="*/ 0 w 7971422"/>
              <a:gd name="connsiteY5" fmla="*/ 1653 h 6645336"/>
              <a:gd name="connsiteX0" fmla="*/ 0 w 7971422"/>
              <a:gd name="connsiteY0" fmla="*/ 1301816 h 6645336"/>
              <a:gd name="connsiteX1" fmla="*/ 7971347 w 7971422"/>
              <a:gd name="connsiteY1" fmla="*/ 0 h 6645336"/>
              <a:gd name="connsiteX2" fmla="*/ 7965616 w 7971422"/>
              <a:gd name="connsiteY2" fmla="*/ 6645336 h 6645336"/>
              <a:gd name="connsiteX3" fmla="*/ 579722 w 7971422"/>
              <a:gd name="connsiteY3" fmla="*/ 6635115 h 6645336"/>
              <a:gd name="connsiteX4" fmla="*/ 0 w 7971422"/>
              <a:gd name="connsiteY4" fmla="*/ 6055393 h 6645336"/>
              <a:gd name="connsiteX5" fmla="*/ 0 w 7971422"/>
              <a:gd name="connsiteY5" fmla="*/ 1301816 h 6645336"/>
              <a:gd name="connsiteX0" fmla="*/ 0 w 7965616"/>
              <a:gd name="connsiteY0" fmla="*/ 1653 h 5345173"/>
              <a:gd name="connsiteX1" fmla="*/ 7957060 w 7965616"/>
              <a:gd name="connsiteY1" fmla="*/ 0 h 5345173"/>
              <a:gd name="connsiteX2" fmla="*/ 7965616 w 7965616"/>
              <a:gd name="connsiteY2" fmla="*/ 5345173 h 5345173"/>
              <a:gd name="connsiteX3" fmla="*/ 579722 w 7965616"/>
              <a:gd name="connsiteY3" fmla="*/ 5334952 h 5345173"/>
              <a:gd name="connsiteX4" fmla="*/ 0 w 7965616"/>
              <a:gd name="connsiteY4" fmla="*/ 4755230 h 5345173"/>
              <a:gd name="connsiteX5" fmla="*/ 0 w 7965616"/>
              <a:gd name="connsiteY5" fmla="*/ 1653 h 5345173"/>
              <a:gd name="connsiteX0" fmla="*/ 0 w 7971422"/>
              <a:gd name="connsiteY0" fmla="*/ 1653 h 5345173"/>
              <a:gd name="connsiteX1" fmla="*/ 7971347 w 7971422"/>
              <a:gd name="connsiteY1" fmla="*/ 0 h 5345173"/>
              <a:gd name="connsiteX2" fmla="*/ 7965616 w 7971422"/>
              <a:gd name="connsiteY2" fmla="*/ 5345173 h 5345173"/>
              <a:gd name="connsiteX3" fmla="*/ 579722 w 7971422"/>
              <a:gd name="connsiteY3" fmla="*/ 5334952 h 5345173"/>
              <a:gd name="connsiteX4" fmla="*/ 0 w 7971422"/>
              <a:gd name="connsiteY4" fmla="*/ 4755230 h 5345173"/>
              <a:gd name="connsiteX5" fmla="*/ 0 w 7971422"/>
              <a:gd name="connsiteY5" fmla="*/ 1653 h 5345173"/>
              <a:gd name="connsiteX0" fmla="*/ 0 w 7988356"/>
              <a:gd name="connsiteY0" fmla="*/ 187920 h 5345173"/>
              <a:gd name="connsiteX1" fmla="*/ 7988281 w 7988356"/>
              <a:gd name="connsiteY1" fmla="*/ 0 h 5345173"/>
              <a:gd name="connsiteX2" fmla="*/ 7982550 w 7988356"/>
              <a:gd name="connsiteY2" fmla="*/ 5345173 h 5345173"/>
              <a:gd name="connsiteX3" fmla="*/ 596656 w 7988356"/>
              <a:gd name="connsiteY3" fmla="*/ 5334952 h 5345173"/>
              <a:gd name="connsiteX4" fmla="*/ 16934 w 7988356"/>
              <a:gd name="connsiteY4" fmla="*/ 4755230 h 5345173"/>
              <a:gd name="connsiteX5" fmla="*/ 0 w 7988356"/>
              <a:gd name="connsiteY5" fmla="*/ 187920 h 5345173"/>
              <a:gd name="connsiteX0" fmla="*/ 0 w 7988356"/>
              <a:gd name="connsiteY0" fmla="*/ 210145 h 5345173"/>
              <a:gd name="connsiteX1" fmla="*/ 7988281 w 7988356"/>
              <a:gd name="connsiteY1" fmla="*/ 0 h 5345173"/>
              <a:gd name="connsiteX2" fmla="*/ 7982550 w 7988356"/>
              <a:gd name="connsiteY2" fmla="*/ 5345173 h 5345173"/>
              <a:gd name="connsiteX3" fmla="*/ 596656 w 7988356"/>
              <a:gd name="connsiteY3" fmla="*/ 5334952 h 5345173"/>
              <a:gd name="connsiteX4" fmla="*/ 16934 w 7988356"/>
              <a:gd name="connsiteY4" fmla="*/ 4755230 h 5345173"/>
              <a:gd name="connsiteX5" fmla="*/ 0 w 7988356"/>
              <a:gd name="connsiteY5" fmla="*/ 210145 h 5345173"/>
              <a:gd name="connsiteX0" fmla="*/ 0 w 7988356"/>
              <a:gd name="connsiteY0" fmla="*/ 0 h 5135028"/>
              <a:gd name="connsiteX1" fmla="*/ 7988281 w 7988356"/>
              <a:gd name="connsiteY1" fmla="*/ 7569 h 5135028"/>
              <a:gd name="connsiteX2" fmla="*/ 7982550 w 7988356"/>
              <a:gd name="connsiteY2" fmla="*/ 5135028 h 5135028"/>
              <a:gd name="connsiteX3" fmla="*/ 596656 w 7988356"/>
              <a:gd name="connsiteY3" fmla="*/ 5124807 h 5135028"/>
              <a:gd name="connsiteX4" fmla="*/ 16934 w 7988356"/>
              <a:gd name="connsiteY4" fmla="*/ 4545085 h 5135028"/>
              <a:gd name="connsiteX5" fmla="*/ 0 w 7988356"/>
              <a:gd name="connsiteY5" fmla="*/ 0 h 51350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988356" h="5135028">
                <a:moveTo>
                  <a:pt x="0" y="0"/>
                </a:moveTo>
                <a:lnTo>
                  <a:pt x="7988281" y="7569"/>
                </a:lnTo>
                <a:cubicBezTo>
                  <a:pt x="7989186" y="2154376"/>
                  <a:pt x="7981645" y="2988221"/>
                  <a:pt x="7982550" y="5135028"/>
                </a:cubicBezTo>
                <a:lnTo>
                  <a:pt x="596656" y="5124807"/>
                </a:lnTo>
                <a:cubicBezTo>
                  <a:pt x="276484" y="5124807"/>
                  <a:pt x="16934" y="4865257"/>
                  <a:pt x="16934" y="4545085"/>
                </a:cubicBezTo>
                <a:cubicBezTo>
                  <a:pt x="11289" y="3022648"/>
                  <a:pt x="5645" y="1522437"/>
                  <a:pt x="0" y="0"/>
                </a:cubicBezTo>
                <a:close/>
              </a:path>
            </a:pathLst>
          </a:custGeom>
          <a:noFill/>
        </p:spPr>
        <p:txBody>
          <a:bodyPr>
            <a:normAutofit/>
          </a:bodyPr>
          <a:lstStyle>
            <a:lvl1pPr marL="0" indent="0">
              <a:buNone/>
              <a:defRPr sz="1400">
                <a:solidFill>
                  <a:schemeClr val="tx1"/>
                </a:solidFill>
              </a:defRPr>
            </a:lvl1pPr>
          </a:lstStyle>
          <a:p>
            <a:r>
              <a:rPr lang="en-JP" dirty="0"/>
              <a:t>Insert Photo</a:t>
            </a:r>
          </a:p>
        </p:txBody>
      </p:sp>
      <p:sp>
        <p:nvSpPr>
          <p:cNvPr id="7" name="Text Placeholder 6">
            <a:extLst>
              <a:ext uri="{FF2B5EF4-FFF2-40B4-BE49-F238E27FC236}">
                <a16:creationId xmlns:a16="http://schemas.microsoft.com/office/drawing/2014/main" id="{65925D82-457F-D84D-B8DF-D8ADFD7E71DF}"/>
              </a:ext>
            </a:extLst>
          </p:cNvPr>
          <p:cNvSpPr>
            <a:spLocks noGrp="1"/>
          </p:cNvSpPr>
          <p:nvPr>
            <p:ph type="body" sz="quarter" idx="14" hasCustomPrompt="1"/>
          </p:nvPr>
        </p:nvSpPr>
        <p:spPr>
          <a:xfrm>
            <a:off x="311150" y="3178298"/>
            <a:ext cx="3751966" cy="272786"/>
          </a:xfrm>
          <a:prstGeom prst="rect">
            <a:avLst/>
          </a:prstGeom>
        </p:spPr>
        <p:txBody>
          <a:bodyPr tIns="0" rIns="0" bIns="0" numCol="1">
            <a:noAutofit/>
          </a:bodyPr>
          <a:lstStyle>
            <a:lvl1pPr marL="0" indent="0">
              <a:lnSpc>
                <a:spcPct val="100000"/>
              </a:lnSpc>
              <a:spcBef>
                <a:spcPts val="0"/>
              </a:spcBef>
              <a:spcAft>
                <a:spcPts val="600"/>
              </a:spcAft>
              <a:buNone/>
              <a:defRPr sz="18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dirty="0"/>
              <a:t>This is your Secondary Title</a:t>
            </a:r>
          </a:p>
        </p:txBody>
      </p:sp>
      <p:sp>
        <p:nvSpPr>
          <p:cNvPr id="12" name="Text Placeholder 6">
            <a:extLst>
              <a:ext uri="{FF2B5EF4-FFF2-40B4-BE49-F238E27FC236}">
                <a16:creationId xmlns:a16="http://schemas.microsoft.com/office/drawing/2014/main" id="{FD2406EE-A554-5348-AE6D-4D8B343E6201}"/>
              </a:ext>
            </a:extLst>
          </p:cNvPr>
          <p:cNvSpPr>
            <a:spLocks noGrp="1"/>
          </p:cNvSpPr>
          <p:nvPr>
            <p:ph type="body" sz="quarter" idx="15" hasCustomPrompt="1"/>
          </p:nvPr>
        </p:nvSpPr>
        <p:spPr>
          <a:xfrm>
            <a:off x="311150" y="3575904"/>
            <a:ext cx="3751966" cy="2840771"/>
          </a:xfrm>
          <a:prstGeom prst="rect">
            <a:avLst/>
          </a:prstGeom>
        </p:spPr>
        <p:txBody>
          <a:bodyPr tIns="0" rIns="0" bIns="0" numCol="1">
            <a:noAutofit/>
          </a:bodyPr>
          <a:lstStyle>
            <a:lvl1pPr marL="171450" indent="-171450">
              <a:lnSpc>
                <a:spcPct val="100000"/>
              </a:lnSpc>
              <a:spcBef>
                <a:spcPts val="0"/>
              </a:spcBef>
              <a:spcAft>
                <a:spcPts val="600"/>
              </a:spcAft>
              <a:buFont typeface="Arial" panose="020B0604020202020204" pitchFamily="34" charset="0"/>
              <a:buChar char="•"/>
              <a:defRPr sz="1400" b="0">
                <a:solidFill>
                  <a:schemeClr val="tx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dirty="0"/>
              <a:t>This is your Secondary text. </a:t>
            </a:r>
          </a:p>
        </p:txBody>
      </p:sp>
      <p:sp>
        <p:nvSpPr>
          <p:cNvPr id="20" name="Footer Placeholder 8">
            <a:extLst>
              <a:ext uri="{FF2B5EF4-FFF2-40B4-BE49-F238E27FC236}">
                <a16:creationId xmlns:a16="http://schemas.microsoft.com/office/drawing/2014/main" id="{E4ACE247-6DA5-F044-A880-12BDFE14907B}"/>
              </a:ext>
            </a:extLst>
          </p:cNvPr>
          <p:cNvSpPr>
            <a:spLocks noGrp="1"/>
          </p:cNvSpPr>
          <p:nvPr>
            <p:ph type="ftr" sz="quarter" idx="3"/>
          </p:nvPr>
        </p:nvSpPr>
        <p:spPr>
          <a:xfrm>
            <a:off x="7766050" y="6523001"/>
            <a:ext cx="4114800" cy="196131"/>
          </a:xfrm>
          <a:prstGeom prst="rect">
            <a:avLst/>
          </a:prstGeom>
        </p:spPr>
        <p:txBody>
          <a:bodyPr vert="horz" lIns="91440" tIns="45720" rIns="0" bIns="45720" rtlCol="0" anchor="ctr"/>
          <a:lstStyle>
            <a:lvl1pPr algn="r">
              <a:defRPr sz="800" b="1" spc="100" baseline="0">
                <a:solidFill>
                  <a:schemeClr val="tx1"/>
                </a:solidFill>
              </a:defRPr>
            </a:lvl1pPr>
          </a:lstStyle>
          <a:p>
            <a:r>
              <a:rPr lang="en-JP" dirty="0"/>
              <a:t> </a:t>
            </a:r>
          </a:p>
        </p:txBody>
      </p:sp>
      <p:pic>
        <p:nvPicPr>
          <p:cNvPr id="14" name="Picture 13" descr="Takeda">
            <a:extLst>
              <a:ext uri="{FF2B5EF4-FFF2-40B4-BE49-F238E27FC236}">
                <a16:creationId xmlns:a16="http://schemas.microsoft.com/office/drawing/2014/main" id="{1397373C-4723-444D-99E3-0FBCAFDAD4F5}"/>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546331" y="-1615"/>
            <a:ext cx="1696232" cy="940780"/>
          </a:xfrm>
          <a:prstGeom prst="rect">
            <a:avLst/>
          </a:prstGeom>
        </p:spPr>
      </p:pic>
      <p:sp>
        <p:nvSpPr>
          <p:cNvPr id="22" name="タイトル プレースホルダ 1">
            <a:extLst>
              <a:ext uri="{FF2B5EF4-FFF2-40B4-BE49-F238E27FC236}">
                <a16:creationId xmlns:a16="http://schemas.microsoft.com/office/drawing/2014/main" id="{1545CFCD-ABA6-1349-9917-1DDD2762CB59}"/>
              </a:ext>
            </a:extLst>
          </p:cNvPr>
          <p:cNvSpPr>
            <a:spLocks noGrp="1"/>
          </p:cNvSpPr>
          <p:nvPr>
            <p:ph type="title" hasCustomPrompt="1"/>
          </p:nvPr>
        </p:nvSpPr>
        <p:spPr>
          <a:xfrm>
            <a:off x="606078" y="161605"/>
            <a:ext cx="9940253" cy="685801"/>
          </a:xfrm>
          <a:prstGeom prst="rect">
            <a:avLst/>
          </a:prstGeom>
        </p:spPr>
        <p:txBody>
          <a:bodyPr vert="horz" lIns="0" tIns="0" rIns="0" bIns="0" rtlCol="0" anchor="ctr">
            <a:normAutofit/>
          </a:bodyPr>
          <a:lstStyle/>
          <a:p>
            <a:r>
              <a:rPr kumimoji="1" lang="en-US" altLang="ja-JP" dirty="0"/>
              <a:t>Click to add title</a:t>
            </a:r>
            <a:endParaRPr kumimoji="1" lang="ja-JP" altLang="en-US"/>
          </a:p>
        </p:txBody>
      </p:sp>
      <p:sp>
        <p:nvSpPr>
          <p:cNvPr id="21" name="Rectangle 20">
            <a:extLst>
              <a:ext uri="{FF2B5EF4-FFF2-40B4-BE49-F238E27FC236}">
                <a16:creationId xmlns:a16="http://schemas.microsoft.com/office/drawing/2014/main" id="{97730F84-B57E-C441-B81C-A0677388FA64}"/>
              </a:ext>
            </a:extLst>
          </p:cNvPr>
          <p:cNvSpPr/>
          <p:nvPr userDrawn="1"/>
        </p:nvSpPr>
        <p:spPr>
          <a:xfrm>
            <a:off x="308038" y="161606"/>
            <a:ext cx="54000" cy="68580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dirty="0">
              <a:solidFill>
                <a:schemeClr val="accent1"/>
              </a:solidFill>
            </a:endParaRPr>
          </a:p>
        </p:txBody>
      </p:sp>
      <p:sp>
        <p:nvSpPr>
          <p:cNvPr id="25" name="スライド番号プレースホルダ 5">
            <a:extLst>
              <a:ext uri="{FF2B5EF4-FFF2-40B4-BE49-F238E27FC236}">
                <a16:creationId xmlns:a16="http://schemas.microsoft.com/office/drawing/2014/main" id="{78815F79-70B9-A343-88C1-1B41F15106A1}"/>
              </a:ext>
            </a:extLst>
          </p:cNvPr>
          <p:cNvSpPr>
            <a:spLocks noGrp="1"/>
          </p:cNvSpPr>
          <p:nvPr>
            <p:ph type="sldNum" sz="quarter" idx="4"/>
          </p:nvPr>
        </p:nvSpPr>
        <p:spPr>
          <a:xfrm>
            <a:off x="311150" y="6523001"/>
            <a:ext cx="294928" cy="196131"/>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a:t>
            </a:fld>
            <a:endParaRPr lang="ja-JP" altLang="en-US"/>
          </a:p>
        </p:txBody>
      </p:sp>
      <p:sp>
        <p:nvSpPr>
          <p:cNvPr id="26" name="Text Placeholder 6">
            <a:extLst>
              <a:ext uri="{FF2B5EF4-FFF2-40B4-BE49-F238E27FC236}">
                <a16:creationId xmlns:a16="http://schemas.microsoft.com/office/drawing/2014/main" id="{6ACFB15D-3880-FB46-8B5A-E057FE4C9B56}"/>
              </a:ext>
            </a:extLst>
          </p:cNvPr>
          <p:cNvSpPr>
            <a:spLocks noGrp="1"/>
          </p:cNvSpPr>
          <p:nvPr>
            <p:ph type="body" sz="quarter" idx="16" hasCustomPrompt="1"/>
          </p:nvPr>
        </p:nvSpPr>
        <p:spPr>
          <a:xfrm>
            <a:off x="606078" y="6523001"/>
            <a:ext cx="6968348" cy="205613"/>
          </a:xfrm>
          <a:prstGeom prst="rect">
            <a:avLst/>
          </a:prstGeom>
        </p:spPr>
        <p:txBody>
          <a:bodyPr wrap="none" tIns="0" rIns="0" bIns="72000" numCol="1" anchor="ctr">
            <a:noAutofit/>
          </a:bodyPr>
          <a:lstStyle>
            <a:lvl1pPr marL="0" indent="0">
              <a:lnSpc>
                <a:spcPts val="1600"/>
              </a:lnSpc>
              <a:spcBef>
                <a:spcPts val="0"/>
              </a:spcBef>
              <a:spcAft>
                <a:spcPts val="600"/>
              </a:spcAft>
              <a:buFont typeface="Arial" panose="020B0604020202020204" pitchFamily="34" charset="0"/>
              <a:buNone/>
              <a:defRPr sz="800" b="0">
                <a:solidFill>
                  <a:schemeClr val="accent3"/>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dirty="0"/>
              <a:t>Private and confidential. For internal use only.</a:t>
            </a:r>
          </a:p>
        </p:txBody>
      </p:sp>
      <p:sp>
        <p:nvSpPr>
          <p:cNvPr id="17" name="Text Placeholder 2">
            <a:extLst>
              <a:ext uri="{FF2B5EF4-FFF2-40B4-BE49-F238E27FC236}">
                <a16:creationId xmlns:a16="http://schemas.microsoft.com/office/drawing/2014/main" id="{EF3CD883-F623-E54C-A27A-38B7EB957052}"/>
              </a:ext>
            </a:extLst>
          </p:cNvPr>
          <p:cNvSpPr>
            <a:spLocks noGrp="1"/>
          </p:cNvSpPr>
          <p:nvPr>
            <p:ph type="body" sz="quarter" idx="20" hasCustomPrompt="1"/>
          </p:nvPr>
        </p:nvSpPr>
        <p:spPr>
          <a:xfrm>
            <a:off x="311151" y="1491373"/>
            <a:ext cx="3751965" cy="1464957"/>
          </a:xfrm>
        </p:spPr>
        <p:txBody>
          <a:bodyPr tIns="0" rIns="0" bIns="0" numCol="1" spcCol="126000">
            <a:noAutofit/>
          </a:bodyPr>
          <a:lstStyle>
            <a:lvl1pPr marL="0" indent="0">
              <a:lnSpc>
                <a:spcPct val="100000"/>
              </a:lnSpc>
              <a:spcBef>
                <a:spcPts val="0"/>
              </a:spcBef>
              <a:buNone/>
              <a:defRPr sz="1600" b="1"/>
            </a:lvl1pPr>
            <a:lvl2pPr marL="457068" indent="0">
              <a:buNone/>
              <a:defRPr sz="1800" b="1"/>
            </a:lvl2pPr>
            <a:lvl3pPr marL="914149" indent="0">
              <a:buNone/>
              <a:defRPr sz="1800" b="1"/>
            </a:lvl3pPr>
            <a:lvl4pPr marL="1371219" indent="0">
              <a:buNone/>
              <a:defRPr sz="1800" b="1"/>
            </a:lvl4pPr>
            <a:lvl5pPr marL="1828290" indent="0">
              <a:buNone/>
              <a:defRPr sz="1800" b="1"/>
            </a:lvl5pPr>
          </a:lstStyle>
          <a:p>
            <a:pPr lvl="0"/>
            <a:r>
              <a:rPr lang="en-US" dirty="0"/>
              <a:t>This is your Primary Text.</a:t>
            </a:r>
            <a:endParaRPr lang="en-JP" dirty="0"/>
          </a:p>
        </p:txBody>
      </p:sp>
      <p:sp>
        <p:nvSpPr>
          <p:cNvPr id="18" name="Text Placeholder 6">
            <a:extLst>
              <a:ext uri="{FF2B5EF4-FFF2-40B4-BE49-F238E27FC236}">
                <a16:creationId xmlns:a16="http://schemas.microsoft.com/office/drawing/2014/main" id="{B2D601E3-CC68-7845-AAF4-3AD141198B4E}"/>
              </a:ext>
            </a:extLst>
          </p:cNvPr>
          <p:cNvSpPr>
            <a:spLocks noGrp="1"/>
          </p:cNvSpPr>
          <p:nvPr>
            <p:ph type="body" sz="quarter" idx="21" hasCustomPrompt="1"/>
          </p:nvPr>
        </p:nvSpPr>
        <p:spPr>
          <a:xfrm>
            <a:off x="311150" y="1093767"/>
            <a:ext cx="3751965" cy="272786"/>
          </a:xfrm>
        </p:spPr>
        <p:txBody>
          <a:bodyPr tIns="0" rIns="0" bIns="0" numCol="1">
            <a:noAutofit/>
          </a:bodyPr>
          <a:lstStyle>
            <a:lvl1pPr marL="0" indent="0">
              <a:lnSpc>
                <a:spcPct val="100000"/>
              </a:lnSpc>
              <a:spcBef>
                <a:spcPts val="0"/>
              </a:spcBef>
              <a:spcAft>
                <a:spcPts val="600"/>
              </a:spcAft>
              <a:buNone/>
              <a:defRPr sz="20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dirty="0"/>
              <a:t>This is your Primary Title</a:t>
            </a:r>
          </a:p>
        </p:txBody>
      </p:sp>
    </p:spTree>
    <p:extLst>
      <p:ext uri="{BB962C8B-B14F-4D97-AF65-F5344CB8AC3E}">
        <p14:creationId xmlns:p14="http://schemas.microsoft.com/office/powerpoint/2010/main" val="848965478"/>
      </p:ext>
    </p:extLst>
  </p:cSld>
  <p:clrMapOvr>
    <a:masterClrMapping/>
  </p:clrMapOvr>
  <p:transition spd="slow">
    <p:push dir="u"/>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tags" Target="../tags/tag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283D300-2124-42DF-B73B-3D3D4C546EC6}"/>
              </a:ext>
            </a:extLst>
          </p:cNvPr>
          <p:cNvGraphicFramePr>
            <a:graphicFrameLocks noChangeAspect="1"/>
          </p:cNvGraphicFramePr>
          <p:nvPr userDrawn="1">
            <p:custDataLst>
              <p:tags r:id="rId20"/>
            </p:custDataLst>
            <p:extLst>
              <p:ext uri="{D42A27DB-BD31-4B8C-83A1-F6EECF244321}">
                <p14:modId xmlns:p14="http://schemas.microsoft.com/office/powerpoint/2010/main" val="35852690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22" imgW="395" imgH="394" progId="TCLayout.ActiveDocument.1">
                  <p:embed/>
                </p:oleObj>
              </mc:Choice>
              <mc:Fallback>
                <p:oleObj name="think-cell 幻灯片" r:id="rId22" imgW="395" imgH="394" progId="TCLayout.ActiveDocument.1">
                  <p:embed/>
                  <p:pic>
                    <p:nvPicPr>
                      <p:cNvPr id="4" name="Object 3" hidden="1">
                        <a:extLst>
                          <a:ext uri="{FF2B5EF4-FFF2-40B4-BE49-F238E27FC236}">
                            <a16:creationId xmlns:a16="http://schemas.microsoft.com/office/drawing/2014/main" id="{D283D300-2124-42DF-B73B-3D3D4C546EC6}"/>
                          </a:ext>
                        </a:extLst>
                      </p:cNvPr>
                      <p:cNvPicPr/>
                      <p:nvPr/>
                    </p:nvPicPr>
                    <p:blipFill>
                      <a:blip r:embed="rId23"/>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B895B28-7064-4AD0-A15D-88F99BCA9BAD}"/>
              </a:ext>
            </a:extLst>
          </p:cNvPr>
          <p:cNvSpPr/>
          <p:nvPr userDrawn="1">
            <p:custDataLst>
              <p:tags r:id="rId21"/>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kumimoji="1" lang="en-US" altLang="ja-JP" sz="2800" b="0" i="0" baseline="0">
              <a:latin typeface="Calibri" panose="020F0502020204030204" pitchFamily="34" charset="0"/>
              <a:ea typeface="メイリオ" panose="020B0604030504040204" pitchFamily="50" charset="-128"/>
              <a:cs typeface="Calibri" panose="020F0502020204030204" pitchFamily="34" charset="0"/>
              <a:sym typeface="Calibri" panose="020F0502020204030204" pitchFamily="34" charset="0"/>
            </a:endParaRPr>
          </a:p>
        </p:txBody>
      </p:sp>
      <p:sp>
        <p:nvSpPr>
          <p:cNvPr id="3" name="テキスト プレースホルダ 2"/>
          <p:cNvSpPr>
            <a:spLocks noGrp="1"/>
          </p:cNvSpPr>
          <p:nvPr>
            <p:ph type="body" idx="1"/>
          </p:nvPr>
        </p:nvSpPr>
        <p:spPr>
          <a:xfrm>
            <a:off x="311150" y="1233487"/>
            <a:ext cx="11569700" cy="5183187"/>
          </a:xfrm>
          <a:prstGeom prst="rect">
            <a:avLst/>
          </a:prstGeom>
        </p:spPr>
        <p:txBody>
          <a:bodyPr vert="horz" lIns="0" tIns="45710" rIns="91420" bIns="45710" rtlCol="0">
            <a:normAutofit/>
          </a:bodyPr>
          <a:lstStyle/>
          <a:p>
            <a:pPr lvl="0"/>
            <a:r>
              <a:rPr kumimoji="1" lang="en-US" altLang="ja-JP" dirty="0"/>
              <a:t>Master text</a:t>
            </a:r>
            <a:endParaRPr kumimoji="1" lang="ja-JP" altLang="en-US"/>
          </a:p>
        </p:txBody>
      </p:sp>
      <p:sp>
        <p:nvSpPr>
          <p:cNvPr id="11" name="Footer Placeholder 8">
            <a:extLst>
              <a:ext uri="{FF2B5EF4-FFF2-40B4-BE49-F238E27FC236}">
                <a16:creationId xmlns:a16="http://schemas.microsoft.com/office/drawing/2014/main" id="{44E43001-C216-284A-9EBD-E54B5DD295CE}"/>
              </a:ext>
            </a:extLst>
          </p:cNvPr>
          <p:cNvSpPr>
            <a:spLocks noGrp="1"/>
          </p:cNvSpPr>
          <p:nvPr>
            <p:ph type="ftr" sz="quarter" idx="3"/>
          </p:nvPr>
        </p:nvSpPr>
        <p:spPr>
          <a:xfrm>
            <a:off x="7766050" y="6489701"/>
            <a:ext cx="4114800" cy="229432"/>
          </a:xfrm>
          <a:prstGeom prst="rect">
            <a:avLst/>
          </a:prstGeom>
        </p:spPr>
        <p:txBody>
          <a:bodyPr vert="horz" lIns="91440" tIns="45720" rIns="91440" bIns="45720" rtlCol="0" anchor="ctr"/>
          <a:lstStyle>
            <a:lvl1pPr algn="r">
              <a:defRPr sz="800" b="1" spc="100" baseline="0">
                <a:solidFill>
                  <a:schemeClr val="tx1"/>
                </a:solidFill>
              </a:defRPr>
            </a:lvl1pPr>
          </a:lstStyle>
          <a:p>
            <a:r>
              <a:rPr lang="en-JP" dirty="0"/>
              <a:t> </a:t>
            </a:r>
          </a:p>
        </p:txBody>
      </p:sp>
      <p:sp>
        <p:nvSpPr>
          <p:cNvPr id="9" name="タイトル プレースホルダ 1">
            <a:extLst>
              <a:ext uri="{FF2B5EF4-FFF2-40B4-BE49-F238E27FC236}">
                <a16:creationId xmlns:a16="http://schemas.microsoft.com/office/drawing/2014/main" id="{D7981A12-E00B-604C-B863-7CBF31AA6408}"/>
              </a:ext>
            </a:extLst>
          </p:cNvPr>
          <p:cNvSpPr>
            <a:spLocks noGrp="1"/>
          </p:cNvSpPr>
          <p:nvPr>
            <p:ph type="title"/>
          </p:nvPr>
        </p:nvSpPr>
        <p:spPr>
          <a:xfrm>
            <a:off x="606078" y="161605"/>
            <a:ext cx="9895084" cy="685801"/>
          </a:xfrm>
          <a:prstGeom prst="rect">
            <a:avLst/>
          </a:prstGeom>
        </p:spPr>
        <p:txBody>
          <a:bodyPr vert="horz" lIns="0" tIns="0" rIns="0" bIns="0" rtlCol="0" anchor="ctr">
            <a:normAutofit/>
          </a:bodyPr>
          <a:lstStyle/>
          <a:p>
            <a:r>
              <a:rPr kumimoji="1" lang="en-US" altLang="ja-JP" dirty="0"/>
              <a:t>Master title</a:t>
            </a:r>
            <a:endParaRPr kumimoji="1" lang="ja-JP" altLang="en-US"/>
          </a:p>
        </p:txBody>
      </p:sp>
      <p:sp>
        <p:nvSpPr>
          <p:cNvPr id="13" name="スライド番号プレースホルダ 5">
            <a:extLst>
              <a:ext uri="{FF2B5EF4-FFF2-40B4-BE49-F238E27FC236}">
                <a16:creationId xmlns:a16="http://schemas.microsoft.com/office/drawing/2014/main" id="{C7AA5A17-3F2F-B94B-9342-A137057B898D}"/>
              </a:ext>
            </a:extLst>
          </p:cNvPr>
          <p:cNvSpPr>
            <a:spLocks noGrp="1"/>
          </p:cNvSpPr>
          <p:nvPr>
            <p:ph type="sldNum" sz="quarter" idx="4"/>
          </p:nvPr>
        </p:nvSpPr>
        <p:spPr>
          <a:xfrm>
            <a:off x="311150" y="6489701"/>
            <a:ext cx="589856" cy="229432"/>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a:t>
            </a:fld>
            <a:endParaRPr lang="ja-JP" altLang="en-US"/>
          </a:p>
        </p:txBody>
      </p:sp>
    </p:spTree>
    <p:extLst>
      <p:ext uri="{BB962C8B-B14F-4D97-AF65-F5344CB8AC3E}">
        <p14:creationId xmlns:p14="http://schemas.microsoft.com/office/powerpoint/2010/main" val="2383548471"/>
      </p:ext>
    </p:extLst>
  </p:cSld>
  <p:clrMap bg1="lt1" tx1="dk1" bg2="lt2" tx2="dk2" accent1="accent1" accent2="accent2" accent3="accent3" accent4="accent4" accent5="accent5" accent6="accent6" hlink="hlink" folHlink="folHlink"/>
  <p:sldLayoutIdLst>
    <p:sldLayoutId id="2147483911" r:id="rId1"/>
    <p:sldLayoutId id="2147483910" r:id="rId2"/>
    <p:sldLayoutId id="2147483989" r:id="rId3"/>
    <p:sldLayoutId id="2147483986" r:id="rId4"/>
    <p:sldLayoutId id="2147483987" r:id="rId5"/>
    <p:sldLayoutId id="2147483961" r:id="rId6"/>
    <p:sldLayoutId id="2147483988" r:id="rId7"/>
    <p:sldLayoutId id="2147483920" r:id="rId8"/>
    <p:sldLayoutId id="2147483922" r:id="rId9"/>
    <p:sldLayoutId id="2147483968" r:id="rId10"/>
    <p:sldLayoutId id="2147483930" r:id="rId11"/>
    <p:sldLayoutId id="2147483924" r:id="rId12"/>
    <p:sldLayoutId id="2147483931" r:id="rId13"/>
    <p:sldLayoutId id="2147483925" r:id="rId14"/>
    <p:sldLayoutId id="2147483926" r:id="rId15"/>
    <p:sldLayoutId id="2147483927" r:id="rId16"/>
    <p:sldLayoutId id="2147483928" r:id="rId17"/>
    <p:sldLayoutId id="2147483929" r:id="rId18"/>
  </p:sldLayoutIdLst>
  <p:transition spd="slow">
    <p:push dir="u"/>
  </p:transition>
  <p:hf hdr="0" dt="0"/>
  <p:txStyles>
    <p:titleStyle>
      <a:lvl1pPr algn="l" defTabSz="914150" rtl="0" eaLnBrk="1" latinLnBrk="0" hangingPunct="1">
        <a:lnSpc>
          <a:spcPts val="2800"/>
        </a:lnSpc>
        <a:spcBef>
          <a:spcPct val="0"/>
        </a:spcBef>
        <a:buNone/>
        <a:defRPr kumimoji="1" sz="2800" b="1" i="0" kern="1200" baseline="0">
          <a:solidFill>
            <a:schemeClr val="tx1"/>
          </a:solidFill>
          <a:latin typeface="Calibri" panose="020F0502020204030204" pitchFamily="34" charset="0"/>
          <a:ea typeface="メイリオ" pitchFamily="50" charset="-128"/>
          <a:cs typeface="Calibri" pitchFamily="34" charset="0"/>
        </a:defRPr>
      </a:lvl1pPr>
    </p:titleStyle>
    <p:bodyStyle>
      <a:lvl1pPr marL="457071" indent="-457071" algn="l" defTabSz="914150" rtl="0" eaLnBrk="1" latinLnBrk="0" hangingPunct="1">
        <a:spcBef>
          <a:spcPct val="20000"/>
        </a:spcBef>
        <a:buClr>
          <a:srgbClr val="4C4948"/>
        </a:buClr>
        <a:buFont typeface="Arial" panose="020B0604020202020204" pitchFamily="34" charset="0"/>
        <a:buChar char="•"/>
        <a:defRPr kumimoji="1" sz="2000" b="0" i="0" kern="1200" baseline="0">
          <a:solidFill>
            <a:schemeClr val="tx1"/>
          </a:solidFill>
          <a:latin typeface="Calibri" panose="020F0502020204030204" pitchFamily="34" charset="0"/>
          <a:ea typeface="メイリオ" pitchFamily="50" charset="-128"/>
          <a:cs typeface="Calibri" pitchFamily="34" charset="0"/>
        </a:defRPr>
      </a:lvl1pPr>
      <a:lvl2pPr marL="742745" indent="-285677" algn="l" defTabSz="914150" rtl="0" eaLnBrk="1" latinLnBrk="0" hangingPunct="1">
        <a:spcBef>
          <a:spcPct val="20000"/>
        </a:spcBef>
        <a:buClr>
          <a:srgbClr val="4C4948"/>
        </a:buClr>
        <a:buFont typeface="Arial" pitchFamily="34" charset="0"/>
        <a:buChar char="–"/>
        <a:defRPr kumimoji="1" sz="2000" b="0" i="0" kern="1200">
          <a:solidFill>
            <a:schemeClr val="tx1"/>
          </a:solidFill>
          <a:latin typeface="Calibri" panose="020F0502020204030204" pitchFamily="34" charset="0"/>
          <a:ea typeface="メイリオ" pitchFamily="50" charset="-128"/>
          <a:cs typeface="Calibri" pitchFamily="34" charset="0"/>
        </a:defRPr>
      </a:lvl2pPr>
      <a:lvl3pPr marL="1142690" indent="-228541" algn="l" defTabSz="914150" rtl="0" eaLnBrk="1" latinLnBrk="0" hangingPunct="1">
        <a:spcBef>
          <a:spcPct val="20000"/>
        </a:spcBef>
        <a:buClr>
          <a:srgbClr val="4C4948"/>
        </a:buClr>
        <a:buFont typeface="Arial" pitchFamily="34" charset="0"/>
        <a:buChar char="•"/>
        <a:defRPr kumimoji="1" sz="2000" b="0" i="0" kern="1200" baseline="0">
          <a:solidFill>
            <a:schemeClr val="tx1"/>
          </a:solidFill>
          <a:latin typeface="Calibri" panose="020F0502020204030204" pitchFamily="34" charset="0"/>
          <a:ea typeface="メイリオ" pitchFamily="50" charset="-128"/>
          <a:cs typeface="Calibri" pitchFamily="34" charset="0"/>
        </a:defRPr>
      </a:lvl3pPr>
      <a:lvl4pPr marL="1599760" indent="-228541" algn="l" defTabSz="914150" rtl="0" eaLnBrk="1" latinLnBrk="0" hangingPunct="1">
        <a:spcBef>
          <a:spcPct val="20000"/>
        </a:spcBef>
        <a:buClr>
          <a:srgbClr val="4C4948"/>
        </a:buClr>
        <a:buFont typeface="Arial" pitchFamily="34" charset="0"/>
        <a:buChar char="–"/>
        <a:defRPr kumimoji="1" sz="2000" b="0" i="0" kern="1200" baseline="0">
          <a:solidFill>
            <a:schemeClr val="tx1"/>
          </a:solidFill>
          <a:latin typeface="Calibri" panose="020F0502020204030204" pitchFamily="34" charset="0"/>
          <a:ea typeface="メイリオ" pitchFamily="50" charset="-128"/>
          <a:cs typeface="Calibri" pitchFamily="34" charset="0"/>
        </a:defRPr>
      </a:lvl4pPr>
      <a:lvl5pPr marL="2056831" indent="-228541" algn="l" defTabSz="914150" rtl="0" eaLnBrk="1" latinLnBrk="0" hangingPunct="1">
        <a:spcBef>
          <a:spcPct val="20000"/>
        </a:spcBef>
        <a:buClr>
          <a:srgbClr val="4C4948"/>
        </a:buClr>
        <a:buFont typeface="Arial" pitchFamily="34" charset="0"/>
        <a:buChar char="»"/>
        <a:defRPr kumimoji="1" sz="2000" b="0" i="0" kern="1200" baseline="0">
          <a:solidFill>
            <a:schemeClr val="tx1"/>
          </a:solidFill>
          <a:latin typeface="Calibri" panose="020F0502020204030204" pitchFamily="34" charset="0"/>
          <a:ea typeface="メイリオ" pitchFamily="50" charset="-128"/>
          <a:cs typeface="Calibri" pitchFamily="34" charset="0"/>
        </a:defRPr>
      </a:lvl5pPr>
      <a:lvl6pPr marL="2513910"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0986"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8061"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5142"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9pPr>
    </p:bodyStyle>
    <p:otherStyle>
      <a:defPPr>
        <a:defRPr lang="ja-JP"/>
      </a:defPPr>
      <a:lvl1pPr marL="0" algn="l" defTabSz="914150" rtl="0" eaLnBrk="1" latinLnBrk="0" hangingPunct="1">
        <a:defRPr kumimoji="1" sz="1867" kern="1200">
          <a:solidFill>
            <a:schemeClr val="tx1"/>
          </a:solidFill>
          <a:latin typeface="+mn-lt"/>
          <a:ea typeface="+mn-ea"/>
          <a:cs typeface="+mn-cs"/>
        </a:defRPr>
      </a:lvl1pPr>
      <a:lvl2pPr marL="457071" algn="l" defTabSz="914150" rtl="0" eaLnBrk="1" latinLnBrk="0" hangingPunct="1">
        <a:defRPr kumimoji="1" sz="1867" kern="1200">
          <a:solidFill>
            <a:schemeClr val="tx1"/>
          </a:solidFill>
          <a:latin typeface="+mn-lt"/>
          <a:ea typeface="+mn-ea"/>
          <a:cs typeface="+mn-cs"/>
        </a:defRPr>
      </a:lvl2pPr>
      <a:lvl3pPr marL="914150" algn="l" defTabSz="914150" rtl="0" eaLnBrk="1" latinLnBrk="0" hangingPunct="1">
        <a:defRPr kumimoji="1" sz="1867" kern="1200">
          <a:solidFill>
            <a:schemeClr val="tx1"/>
          </a:solidFill>
          <a:latin typeface="+mn-lt"/>
          <a:ea typeface="+mn-ea"/>
          <a:cs typeface="+mn-cs"/>
        </a:defRPr>
      </a:lvl3pPr>
      <a:lvl4pPr marL="1371226" algn="l" defTabSz="914150" rtl="0" eaLnBrk="1" latinLnBrk="0" hangingPunct="1">
        <a:defRPr kumimoji="1" sz="1867" kern="1200">
          <a:solidFill>
            <a:schemeClr val="tx1"/>
          </a:solidFill>
          <a:latin typeface="+mn-lt"/>
          <a:ea typeface="+mn-ea"/>
          <a:cs typeface="+mn-cs"/>
        </a:defRPr>
      </a:lvl4pPr>
      <a:lvl5pPr marL="1828301" algn="l" defTabSz="914150" rtl="0" eaLnBrk="1" latinLnBrk="0" hangingPunct="1">
        <a:defRPr kumimoji="1" sz="1867" kern="1200">
          <a:solidFill>
            <a:schemeClr val="tx1"/>
          </a:solidFill>
          <a:latin typeface="+mn-lt"/>
          <a:ea typeface="+mn-ea"/>
          <a:cs typeface="+mn-cs"/>
        </a:defRPr>
      </a:lvl5pPr>
      <a:lvl6pPr marL="2285382" algn="l" defTabSz="914150" rtl="0" eaLnBrk="1" latinLnBrk="0" hangingPunct="1">
        <a:defRPr kumimoji="1" sz="1867" kern="1200">
          <a:solidFill>
            <a:schemeClr val="tx1"/>
          </a:solidFill>
          <a:latin typeface="+mn-lt"/>
          <a:ea typeface="+mn-ea"/>
          <a:cs typeface="+mn-cs"/>
        </a:defRPr>
      </a:lvl6pPr>
      <a:lvl7pPr marL="2742450" algn="l" defTabSz="914150" rtl="0" eaLnBrk="1" latinLnBrk="0" hangingPunct="1">
        <a:defRPr kumimoji="1" sz="1867" kern="1200">
          <a:solidFill>
            <a:schemeClr val="tx1"/>
          </a:solidFill>
          <a:latin typeface="+mn-lt"/>
          <a:ea typeface="+mn-ea"/>
          <a:cs typeface="+mn-cs"/>
        </a:defRPr>
      </a:lvl7pPr>
      <a:lvl8pPr marL="3199520" algn="l" defTabSz="914150" rtl="0" eaLnBrk="1" latinLnBrk="0" hangingPunct="1">
        <a:defRPr kumimoji="1" sz="1867" kern="1200">
          <a:solidFill>
            <a:schemeClr val="tx1"/>
          </a:solidFill>
          <a:latin typeface="+mn-lt"/>
          <a:ea typeface="+mn-ea"/>
          <a:cs typeface="+mn-cs"/>
        </a:defRPr>
      </a:lvl8pPr>
      <a:lvl9pPr marL="3656591" algn="l" defTabSz="914150" rtl="0" eaLnBrk="1" latinLnBrk="0" hangingPunct="1">
        <a:defRPr kumimoji="1" sz="1867"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77">
          <p15:clr>
            <a:srgbClr val="F26B43"/>
          </p15:clr>
        </p15:guide>
        <p15:guide id="2" pos="189" userDrawn="1">
          <p15:clr>
            <a:srgbClr val="F26B43"/>
          </p15:clr>
        </p15:guide>
        <p15:guide id="3" pos="7491" userDrawn="1">
          <p15:clr>
            <a:srgbClr val="F26B43"/>
          </p15:clr>
        </p15:guide>
        <p15:guide id="4" orient="horz" pos="4042">
          <p15:clr>
            <a:srgbClr val="F26B43"/>
          </p15:clr>
        </p15:guide>
        <p15:guide id="5" pos="370" userDrawn="1">
          <p15:clr>
            <a:srgbClr val="F26B43"/>
          </p15:clr>
        </p15:guide>
        <p15:guide id="6" orient="horz" pos="4088"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3.xml"/><Relationship Id="rId1" Type="http://schemas.openxmlformats.org/officeDocument/2006/relationships/tags" Target="../tags/tag4.xml"/><Relationship Id="rId5" Type="http://schemas.openxmlformats.org/officeDocument/2006/relationships/image" Target="../media/image5.emf"/><Relationship Id="rId4" Type="http://schemas.openxmlformats.org/officeDocument/2006/relationships/oleObject" Target="../embeddings/oleObject2.bin"/></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10.xml"/><Relationship Id="rId2" Type="http://schemas.openxmlformats.org/officeDocument/2006/relationships/tags" Target="../tags/tag6.xml"/><Relationship Id="rId1" Type="http://schemas.openxmlformats.org/officeDocument/2006/relationships/tags" Target="../tags/tag5.xml"/><Relationship Id="rId6" Type="http://schemas.openxmlformats.org/officeDocument/2006/relationships/image" Target="../media/image6.emf"/><Relationship Id="rId5" Type="http://schemas.openxmlformats.org/officeDocument/2006/relationships/oleObject" Target="../embeddings/oleObject3.bin"/><Relationship Id="rId4" Type="http://schemas.openxmlformats.org/officeDocument/2006/relationships/notesSlide" Target="../notesSlides/notesSlide2.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10.xml"/><Relationship Id="rId2" Type="http://schemas.openxmlformats.org/officeDocument/2006/relationships/tags" Target="../tags/tag8.xml"/><Relationship Id="rId1" Type="http://schemas.openxmlformats.org/officeDocument/2006/relationships/tags" Target="../tags/tag7.xml"/><Relationship Id="rId6" Type="http://schemas.openxmlformats.org/officeDocument/2006/relationships/image" Target="../media/image6.emf"/><Relationship Id="rId5" Type="http://schemas.openxmlformats.org/officeDocument/2006/relationships/oleObject" Target="../embeddings/oleObject4.bin"/><Relationship Id="rId4" Type="http://schemas.openxmlformats.org/officeDocument/2006/relationships/notesSlide" Target="../notesSlides/notesSlide3.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10.xml"/><Relationship Id="rId7" Type="http://schemas.openxmlformats.org/officeDocument/2006/relationships/image" Target="../media/image7.png"/><Relationship Id="rId2" Type="http://schemas.openxmlformats.org/officeDocument/2006/relationships/tags" Target="../tags/tag10.xml"/><Relationship Id="rId1" Type="http://schemas.openxmlformats.org/officeDocument/2006/relationships/tags" Target="../tags/tag9.xml"/><Relationship Id="rId6" Type="http://schemas.openxmlformats.org/officeDocument/2006/relationships/image" Target="../media/image6.emf"/><Relationship Id="rId5" Type="http://schemas.openxmlformats.org/officeDocument/2006/relationships/oleObject" Target="../embeddings/oleObject5.bin"/><Relationship Id="rId4" Type="http://schemas.openxmlformats.org/officeDocument/2006/relationships/notesSlide" Target="../notesSlides/notesSlide4.xml"/></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10.xml"/><Relationship Id="rId2" Type="http://schemas.openxmlformats.org/officeDocument/2006/relationships/tags" Target="../tags/tag12.xml"/><Relationship Id="rId1" Type="http://schemas.openxmlformats.org/officeDocument/2006/relationships/tags" Target="../tags/tag11.xml"/><Relationship Id="rId6" Type="http://schemas.openxmlformats.org/officeDocument/2006/relationships/image" Target="../media/image6.emf"/><Relationship Id="rId5" Type="http://schemas.openxmlformats.org/officeDocument/2006/relationships/oleObject" Target="../embeddings/oleObject6.bin"/><Relationship Id="rId4" Type="http://schemas.openxmlformats.org/officeDocument/2006/relationships/notesSlide" Target="../notesSlides/notesSlide5.xml"/></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10.xml"/><Relationship Id="rId7" Type="http://schemas.openxmlformats.org/officeDocument/2006/relationships/chart" Target="../charts/chart1.xml"/><Relationship Id="rId2" Type="http://schemas.openxmlformats.org/officeDocument/2006/relationships/tags" Target="../tags/tag14.xml"/><Relationship Id="rId1" Type="http://schemas.openxmlformats.org/officeDocument/2006/relationships/tags" Target="../tags/tag13.xml"/><Relationship Id="rId6" Type="http://schemas.openxmlformats.org/officeDocument/2006/relationships/image" Target="../media/image6.emf"/><Relationship Id="rId5" Type="http://schemas.openxmlformats.org/officeDocument/2006/relationships/oleObject" Target="../embeddings/oleObject7.bin"/><Relationship Id="rId4" Type="http://schemas.openxmlformats.org/officeDocument/2006/relationships/notesSlide" Target="../notesSlides/notesSlide6.xml"/></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10.xml"/><Relationship Id="rId7" Type="http://schemas.openxmlformats.org/officeDocument/2006/relationships/chart" Target="../charts/chart2.xml"/><Relationship Id="rId2" Type="http://schemas.openxmlformats.org/officeDocument/2006/relationships/tags" Target="../tags/tag16.xml"/><Relationship Id="rId1" Type="http://schemas.openxmlformats.org/officeDocument/2006/relationships/tags" Target="../tags/tag15.xml"/><Relationship Id="rId6" Type="http://schemas.openxmlformats.org/officeDocument/2006/relationships/image" Target="../media/image6.emf"/><Relationship Id="rId5" Type="http://schemas.openxmlformats.org/officeDocument/2006/relationships/oleObject" Target="../embeddings/oleObject8.bin"/><Relationship Id="rId4" Type="http://schemas.openxmlformats.org/officeDocument/2006/relationships/notesSlide" Target="../notesSlides/notesSlide7.xml"/></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10.xml"/><Relationship Id="rId2" Type="http://schemas.openxmlformats.org/officeDocument/2006/relationships/tags" Target="../tags/tag18.xml"/><Relationship Id="rId1" Type="http://schemas.openxmlformats.org/officeDocument/2006/relationships/tags" Target="../tags/tag17.xml"/><Relationship Id="rId6" Type="http://schemas.openxmlformats.org/officeDocument/2006/relationships/image" Target="../media/image6.emf"/><Relationship Id="rId5" Type="http://schemas.openxmlformats.org/officeDocument/2006/relationships/oleObject" Target="../embeddings/oleObject9.bin"/><Relationship Id="rId4" Type="http://schemas.openxmlformats.org/officeDocument/2006/relationships/notesSlide" Target="../notesSlides/notesSlide8.xml"/></Relationships>
</file>

<file path=ppt/slides/_rels/slide9.xml.rels><?xml version="1.0" encoding="UTF-8" standalone="yes"?>
<Relationships xmlns="http://schemas.openxmlformats.org/package/2006/relationships"><Relationship Id="rId3" Type="http://schemas.openxmlformats.org/officeDocument/2006/relationships/image" Target="../media/image8.png"/><Relationship Id="rId7" Type="http://schemas.openxmlformats.org/officeDocument/2006/relationships/image" Target="../media/image12.png"/><Relationship Id="rId2" Type="http://schemas.openxmlformats.org/officeDocument/2006/relationships/chart" Target="../charts/chart3.xml"/><Relationship Id="rId1" Type="http://schemas.openxmlformats.org/officeDocument/2006/relationships/slideLayout" Target="../slideLayouts/slideLayout10.xml"/><Relationship Id="rId6" Type="http://schemas.openxmlformats.org/officeDocument/2006/relationships/image" Target="../media/image11.svg"/><Relationship Id="rId5" Type="http://schemas.openxmlformats.org/officeDocument/2006/relationships/image" Target="../media/image10.png"/><Relationship Id="rId4" Type="http://schemas.openxmlformats.org/officeDocument/2006/relationships/image" Target="../media/image9.sv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矩形 13">
            <a:extLst>
              <a:ext uri="{FF2B5EF4-FFF2-40B4-BE49-F238E27FC236}">
                <a16:creationId xmlns:a16="http://schemas.microsoft.com/office/drawing/2014/main" id="{34758477-96F5-564F-3645-BD622ABF5646}"/>
              </a:ext>
            </a:extLst>
          </p:cNvPr>
          <p:cNvSpPr/>
          <p:nvPr/>
        </p:nvSpPr>
        <p:spPr>
          <a:xfrm>
            <a:off x="7971886" y="3422122"/>
            <a:ext cx="3410493" cy="790575"/>
          </a:xfrm>
          <a:prstGeom prst="rect">
            <a:avLst/>
          </a:prstGeom>
          <a:pattFill prst="dkDnDiag">
            <a:fgClr>
              <a:srgbClr val="FCE8E8"/>
            </a:fgClr>
            <a:bgClr>
              <a:schemeClr val="bg1"/>
            </a:bgClr>
          </a:pattFill>
          <a:ln w="28575">
            <a:noFill/>
          </a:ln>
        </p:spPr>
        <p:style>
          <a:lnRef idx="1">
            <a:schemeClr val="accent1"/>
          </a:lnRef>
          <a:fillRef idx="0">
            <a:schemeClr val="accent1"/>
          </a:fillRef>
          <a:effectRef idx="0">
            <a:schemeClr val="accent1"/>
          </a:effectRef>
          <a:fontRef idx="minor">
            <a:schemeClr val="tx1"/>
          </a:fontRef>
        </p:style>
        <p:txBody>
          <a:bodyPr wrap="none" rtlCol="0" anchor="ctr"/>
          <a:lstStyle/>
          <a:p>
            <a:pPr algn="ctr"/>
            <a:endParaRPr kumimoji="1" lang="zh-CN" altLang="en-US" dirty="0"/>
          </a:p>
        </p:txBody>
      </p:sp>
      <p:graphicFrame>
        <p:nvGraphicFramePr>
          <p:cNvPr id="3" name="对象 2" hidden="1">
            <a:extLst>
              <a:ext uri="{FF2B5EF4-FFF2-40B4-BE49-F238E27FC236}">
                <a16:creationId xmlns:a16="http://schemas.microsoft.com/office/drawing/2014/main" id="{2F44C8B5-91B3-46D4-9BF0-37CF119490FA}"/>
              </a:ext>
            </a:extLst>
          </p:cNvPr>
          <p:cNvGraphicFramePr>
            <a:graphicFrameLocks noChangeAspect="1"/>
          </p:cNvGraphicFramePr>
          <p:nvPr>
            <p:custDataLst>
              <p:tags r:id="rId1"/>
            </p:custDataLst>
            <p:extLst>
              <p:ext uri="{D42A27DB-BD31-4B8C-83A1-F6EECF244321}">
                <p14:modId xmlns:p14="http://schemas.microsoft.com/office/powerpoint/2010/main" val="27929468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15" imgH="416" progId="TCLayout.ActiveDocument.1">
                  <p:embed/>
                </p:oleObj>
              </mc:Choice>
              <mc:Fallback>
                <p:oleObj name="think-cell 幻灯片" r:id="rId4" imgW="415" imgH="416" progId="TCLayout.ActiveDocument.1">
                  <p:embed/>
                  <p:pic>
                    <p:nvPicPr>
                      <p:cNvPr id="3" name="对象 2" hidden="1">
                        <a:extLst>
                          <a:ext uri="{FF2B5EF4-FFF2-40B4-BE49-F238E27FC236}">
                            <a16:creationId xmlns:a16="http://schemas.microsoft.com/office/drawing/2014/main" id="{2F44C8B5-91B3-46D4-9BF0-37CF119490F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C944321-26F5-5841-9833-529382AC16FD}"/>
              </a:ext>
            </a:extLst>
          </p:cNvPr>
          <p:cNvSpPr>
            <a:spLocks noGrp="1"/>
          </p:cNvSpPr>
          <p:nvPr>
            <p:ph type="ctrTitle"/>
          </p:nvPr>
        </p:nvSpPr>
        <p:spPr>
          <a:xfrm>
            <a:off x="-2" y="1317292"/>
            <a:ext cx="12191999" cy="1600657"/>
          </a:xfrm>
        </p:spPr>
        <p:txBody>
          <a:bodyPr vert="horz">
            <a:noAutofit/>
          </a:bodyPr>
          <a:lstStyle/>
          <a:p>
            <a:pPr algn="ctr">
              <a:lnSpc>
                <a:spcPct val="150000"/>
              </a:lnSpc>
            </a:pPr>
            <a:r>
              <a:rPr lang="zh-CN" altLang="en-US" dirty="0">
                <a:solidFill>
                  <a:srgbClr val="1A1918"/>
                </a:solidFill>
                <a:latin typeface="微软雅黑" panose="020B0503020204020204" pitchFamily="34" charset="-122"/>
                <a:ea typeface="微软雅黑" panose="020B0503020204020204" pitchFamily="34" charset="-122"/>
              </a:rPr>
              <a:t>注射用</a:t>
            </a:r>
            <a:r>
              <a:rPr lang="zh-CN" altLang="en-US" dirty="0">
                <a:solidFill>
                  <a:srgbClr val="C00000"/>
                </a:solidFill>
                <a:latin typeface="微软雅黑" panose="020B0503020204020204" pitchFamily="34" charset="-122"/>
                <a:ea typeface="微软雅黑" panose="020B0503020204020204" pitchFamily="34" charset="-122"/>
              </a:rPr>
              <a:t>维拉苷酶</a:t>
            </a:r>
            <a:r>
              <a:rPr lang="en-US" altLang="zh-CN" dirty="0">
                <a:solidFill>
                  <a:srgbClr val="C00000"/>
                </a:solidFill>
                <a:latin typeface="微软雅黑" panose="020B0503020204020204" pitchFamily="34" charset="-122"/>
                <a:ea typeface="微软雅黑" panose="020B0503020204020204" pitchFamily="34" charset="-122"/>
              </a:rPr>
              <a:t>α</a:t>
            </a:r>
            <a:br>
              <a:rPr lang="en-US" altLang="zh-CN" dirty="0">
                <a:solidFill>
                  <a:srgbClr val="C00000"/>
                </a:solidFill>
                <a:latin typeface="微软雅黑" panose="020B0503020204020204" pitchFamily="34" charset="-122"/>
                <a:ea typeface="微软雅黑" panose="020B0503020204020204" pitchFamily="34" charset="-122"/>
              </a:rPr>
            </a:br>
            <a:r>
              <a:rPr lang="zh-CN" altLang="en-US" dirty="0">
                <a:solidFill>
                  <a:srgbClr val="1A1918"/>
                </a:solidFill>
                <a:latin typeface="微软雅黑" panose="020B0503020204020204" pitchFamily="34" charset="-122"/>
                <a:ea typeface="微软雅黑" panose="020B0503020204020204" pitchFamily="34" charset="-122"/>
              </a:rPr>
              <a:t>（维葡瑞</a:t>
            </a:r>
            <a:r>
              <a:rPr lang="en-US" altLang="zh-CN" baseline="30000" dirty="0">
                <a:solidFill>
                  <a:srgbClr val="1A1918"/>
                </a:solidFill>
                <a:latin typeface="微软雅黑" panose="020B0503020204020204" pitchFamily="34" charset="-122"/>
                <a:ea typeface="微软雅黑" panose="020B0503020204020204" pitchFamily="34" charset="-122"/>
              </a:rPr>
              <a:t>®</a:t>
            </a:r>
            <a:r>
              <a:rPr lang="zh-CN" altLang="en-US" dirty="0">
                <a:solidFill>
                  <a:srgbClr val="1A1918"/>
                </a:solidFill>
                <a:latin typeface="微软雅黑" panose="020B0503020204020204" pitchFamily="34" charset="-122"/>
                <a:ea typeface="微软雅黑" panose="020B0503020204020204" pitchFamily="34" charset="-122"/>
              </a:rPr>
              <a:t>）</a:t>
            </a:r>
            <a:endParaRPr lang="en-JP" dirty="0">
              <a:solidFill>
                <a:srgbClr val="1A1918"/>
              </a:solidFill>
              <a:latin typeface="微软雅黑" panose="020B0503020204020204" pitchFamily="34" charset="-122"/>
              <a:ea typeface="微软雅黑" panose="020B0503020204020204" pitchFamily="34" charset="-122"/>
            </a:endParaRPr>
          </a:p>
        </p:txBody>
      </p:sp>
      <p:sp>
        <p:nvSpPr>
          <p:cNvPr id="16" name="文本框 15">
            <a:extLst>
              <a:ext uri="{FF2B5EF4-FFF2-40B4-BE49-F238E27FC236}">
                <a16:creationId xmlns:a16="http://schemas.microsoft.com/office/drawing/2014/main" id="{10691A26-FED5-63D7-21B6-FAE0AD85B954}"/>
              </a:ext>
            </a:extLst>
          </p:cNvPr>
          <p:cNvSpPr txBox="1"/>
          <p:nvPr/>
        </p:nvSpPr>
        <p:spPr>
          <a:xfrm>
            <a:off x="2" y="4974721"/>
            <a:ext cx="12191998" cy="400110"/>
          </a:xfrm>
          <a:prstGeom prst="rect">
            <a:avLst/>
          </a:prstGeom>
          <a:noFill/>
        </p:spPr>
        <p:txBody>
          <a:bodyPr wrap="square">
            <a:spAutoFit/>
          </a:bodyPr>
          <a:lstStyle/>
          <a:p>
            <a:pPr algn="ctr"/>
            <a:r>
              <a:rPr lang="zh-CN" altLang="en-US" sz="2000" b="1" dirty="0">
                <a:solidFill>
                  <a:srgbClr val="1A1918"/>
                </a:solidFill>
                <a:latin typeface="微软雅黑" panose="020B0503020204020204" pitchFamily="34" charset="-122"/>
                <a:ea typeface="微软雅黑" panose="020B0503020204020204" pitchFamily="34" charset="-122"/>
              </a:rPr>
              <a:t>武田（中国）国际贸易有限公司</a:t>
            </a:r>
            <a:endParaRPr lang="en-JP" altLang="zh-CN" sz="2000" b="1" dirty="0">
              <a:solidFill>
                <a:srgbClr val="1A1918"/>
              </a:solidFill>
              <a:latin typeface="微软雅黑" panose="020B0503020204020204" pitchFamily="34" charset="-122"/>
              <a:ea typeface="微软雅黑" panose="020B0503020204020204" pitchFamily="34" charset="-122"/>
            </a:endParaRPr>
          </a:p>
        </p:txBody>
      </p:sp>
      <p:sp>
        <p:nvSpPr>
          <p:cNvPr id="6" name="矩形 5">
            <a:extLst>
              <a:ext uri="{FF2B5EF4-FFF2-40B4-BE49-F238E27FC236}">
                <a16:creationId xmlns:a16="http://schemas.microsoft.com/office/drawing/2014/main" id="{FA34178F-1F7C-BB3C-C72A-72B4158D82A0}"/>
              </a:ext>
            </a:extLst>
          </p:cNvPr>
          <p:cNvSpPr/>
          <p:nvPr/>
        </p:nvSpPr>
        <p:spPr>
          <a:xfrm>
            <a:off x="1066800" y="3434945"/>
            <a:ext cx="3267075" cy="790575"/>
          </a:xfrm>
          <a:prstGeom prst="rect">
            <a:avLst/>
          </a:prstGeom>
          <a:pattFill prst="dkDnDiag">
            <a:fgClr>
              <a:srgbClr val="FCE8E8"/>
            </a:fgClr>
            <a:bgClr>
              <a:schemeClr val="bg1"/>
            </a:bgClr>
          </a:pattFill>
          <a:ln w="28575">
            <a:noFill/>
          </a:ln>
        </p:spPr>
        <p:style>
          <a:lnRef idx="1">
            <a:schemeClr val="accent1"/>
          </a:lnRef>
          <a:fillRef idx="0">
            <a:schemeClr val="accent1"/>
          </a:fillRef>
          <a:effectRef idx="0">
            <a:schemeClr val="accent1"/>
          </a:effectRef>
          <a:fontRef idx="minor">
            <a:schemeClr val="tx1"/>
          </a:fontRef>
        </p:style>
        <p:txBody>
          <a:bodyPr wrap="none" rtlCol="0" anchor="ctr"/>
          <a:lstStyle/>
          <a:p>
            <a:pPr algn="ctr"/>
            <a:endParaRPr kumimoji="1" lang="zh-CN" altLang="en-US" dirty="0"/>
          </a:p>
        </p:txBody>
      </p:sp>
      <p:sp>
        <p:nvSpPr>
          <p:cNvPr id="7" name="文本框 6">
            <a:extLst>
              <a:ext uri="{FF2B5EF4-FFF2-40B4-BE49-F238E27FC236}">
                <a16:creationId xmlns:a16="http://schemas.microsoft.com/office/drawing/2014/main" id="{925282B5-4CD9-99F0-CF80-D43A9DBE10D5}"/>
              </a:ext>
            </a:extLst>
          </p:cNvPr>
          <p:cNvSpPr txBox="1"/>
          <p:nvPr/>
        </p:nvSpPr>
        <p:spPr>
          <a:xfrm>
            <a:off x="1066800" y="3499034"/>
            <a:ext cx="3228974" cy="613694"/>
          </a:xfrm>
          <a:prstGeom prst="rect">
            <a:avLst/>
          </a:prstGeom>
          <a:noFill/>
        </p:spPr>
        <p:txBody>
          <a:bodyPr wrap="square">
            <a:spAutoFit/>
          </a:bodyPr>
          <a:lstStyle/>
          <a:p>
            <a:pPr>
              <a:lnSpc>
                <a:spcPct val="150000"/>
              </a:lnSpc>
            </a:pPr>
            <a:r>
              <a:rPr lang="en-US" altLang="zh-CN" sz="1200" dirty="0">
                <a:latin typeface="微软雅黑" panose="020B0503020204020204" pitchFamily="34" charset="-122"/>
                <a:ea typeface="微软雅黑" panose="020B0503020204020204" pitchFamily="34" charset="-122"/>
              </a:rPr>
              <a:t>2018</a:t>
            </a:r>
            <a:r>
              <a:rPr lang="zh-CN" altLang="en-US" sz="1200" dirty="0">
                <a:latin typeface="微软雅黑" panose="020B0503020204020204" pitchFamily="34" charset="-122"/>
                <a:ea typeface="微软雅黑" panose="020B0503020204020204" pitchFamily="34" charset="-122"/>
              </a:rPr>
              <a:t>年</a:t>
            </a:r>
            <a:r>
              <a:rPr lang="en-US" altLang="zh-CN" sz="1200" dirty="0">
                <a:latin typeface="微软雅黑" panose="020B0503020204020204" pitchFamily="34" charset="-122"/>
                <a:ea typeface="微软雅黑" panose="020B0503020204020204" pitchFamily="34" charset="-122"/>
              </a:rPr>
              <a:t>1</a:t>
            </a:r>
            <a:r>
              <a:rPr lang="zh-CN" altLang="en-US" sz="1200" dirty="0">
                <a:latin typeface="微软雅黑" panose="020B0503020204020204" pitchFamily="34" charset="-122"/>
                <a:ea typeface="微软雅黑" panose="020B0503020204020204" pitchFamily="34" charset="-122"/>
              </a:rPr>
              <a:t>月</a:t>
            </a:r>
            <a:r>
              <a:rPr lang="en-US" altLang="zh-CN" sz="1200" dirty="0">
                <a:latin typeface="微软雅黑" panose="020B0503020204020204" pitchFamily="34" charset="-122"/>
                <a:ea typeface="微软雅黑" panose="020B0503020204020204" pitchFamily="34" charset="-122"/>
              </a:rPr>
              <a:t>1</a:t>
            </a:r>
            <a:r>
              <a:rPr lang="zh-CN" altLang="en-US" sz="1200" dirty="0">
                <a:latin typeface="微软雅黑" panose="020B0503020204020204" pitchFamily="34" charset="-122"/>
                <a:ea typeface="微软雅黑" panose="020B0503020204020204" pitchFamily="34" charset="-122"/>
              </a:rPr>
              <a:t>日至</a:t>
            </a:r>
            <a:r>
              <a:rPr lang="en-US" altLang="zh-CN" sz="1200" dirty="0">
                <a:latin typeface="微软雅黑" panose="020B0503020204020204" pitchFamily="34" charset="-122"/>
                <a:ea typeface="微软雅黑" panose="020B0503020204020204" pitchFamily="34" charset="-122"/>
              </a:rPr>
              <a:t>2023</a:t>
            </a:r>
            <a:r>
              <a:rPr lang="zh-CN" altLang="en-US" sz="1200" dirty="0">
                <a:latin typeface="微软雅黑" panose="020B0503020204020204" pitchFamily="34" charset="-122"/>
                <a:ea typeface="微软雅黑" panose="020B0503020204020204" pitchFamily="34" charset="-122"/>
              </a:rPr>
              <a:t>年</a:t>
            </a:r>
            <a:r>
              <a:rPr lang="en-US" altLang="zh-CN" sz="1200" dirty="0">
                <a:latin typeface="微软雅黑" panose="020B0503020204020204" pitchFamily="34" charset="-122"/>
                <a:ea typeface="微软雅黑" panose="020B0503020204020204" pitchFamily="34" charset="-122"/>
              </a:rPr>
              <a:t>6</a:t>
            </a:r>
            <a:r>
              <a:rPr lang="zh-CN" altLang="en-US" sz="1200" dirty="0">
                <a:latin typeface="微软雅黑" panose="020B0503020204020204" pitchFamily="34" charset="-122"/>
                <a:ea typeface="微软雅黑" panose="020B0503020204020204" pitchFamily="34" charset="-122"/>
              </a:rPr>
              <a:t>月</a:t>
            </a:r>
            <a:r>
              <a:rPr lang="en-US" altLang="zh-CN" sz="1200" dirty="0">
                <a:latin typeface="微软雅黑" panose="020B0503020204020204" pitchFamily="34" charset="-122"/>
                <a:ea typeface="微软雅黑" panose="020B0503020204020204" pitchFamily="34" charset="-122"/>
              </a:rPr>
              <a:t>30</a:t>
            </a:r>
            <a:r>
              <a:rPr lang="zh-CN" altLang="en-US" sz="1200" dirty="0">
                <a:latin typeface="微软雅黑" panose="020B0503020204020204" pitchFamily="34" charset="-122"/>
                <a:ea typeface="微软雅黑" panose="020B0503020204020204" pitchFamily="34" charset="-122"/>
              </a:rPr>
              <a:t>日（含）期间，经国家药监部门批准上市的新通用名药品</a:t>
            </a:r>
          </a:p>
        </p:txBody>
      </p:sp>
      <p:sp>
        <p:nvSpPr>
          <p:cNvPr id="8" name="矩形 7">
            <a:extLst>
              <a:ext uri="{FF2B5EF4-FFF2-40B4-BE49-F238E27FC236}">
                <a16:creationId xmlns:a16="http://schemas.microsoft.com/office/drawing/2014/main" id="{008AFDC7-AC49-2950-5456-0DF61E01BB9D}"/>
              </a:ext>
            </a:extLst>
          </p:cNvPr>
          <p:cNvSpPr/>
          <p:nvPr/>
        </p:nvSpPr>
        <p:spPr>
          <a:xfrm>
            <a:off x="4447634" y="3434945"/>
            <a:ext cx="3410493" cy="790575"/>
          </a:xfrm>
          <a:prstGeom prst="rect">
            <a:avLst/>
          </a:prstGeom>
          <a:pattFill prst="dkDnDiag">
            <a:fgClr>
              <a:srgbClr val="FCE8E8"/>
            </a:fgClr>
            <a:bgClr>
              <a:schemeClr val="bg1"/>
            </a:bgClr>
          </a:pattFill>
          <a:ln w="28575">
            <a:noFill/>
          </a:ln>
        </p:spPr>
        <p:style>
          <a:lnRef idx="1">
            <a:schemeClr val="accent1"/>
          </a:lnRef>
          <a:fillRef idx="0">
            <a:schemeClr val="accent1"/>
          </a:fillRef>
          <a:effectRef idx="0">
            <a:schemeClr val="accent1"/>
          </a:effectRef>
          <a:fontRef idx="minor">
            <a:schemeClr val="tx1"/>
          </a:fontRef>
        </p:style>
        <p:txBody>
          <a:bodyPr wrap="none" rtlCol="0" anchor="ctr"/>
          <a:lstStyle/>
          <a:p>
            <a:pPr algn="ctr"/>
            <a:endParaRPr kumimoji="1" lang="zh-CN" altLang="en-US" dirty="0"/>
          </a:p>
        </p:txBody>
      </p:sp>
      <p:sp>
        <p:nvSpPr>
          <p:cNvPr id="10" name="文本框 9">
            <a:extLst>
              <a:ext uri="{FF2B5EF4-FFF2-40B4-BE49-F238E27FC236}">
                <a16:creationId xmlns:a16="http://schemas.microsoft.com/office/drawing/2014/main" id="{193DAED4-35A4-4E06-E977-62412A0E0D07}"/>
              </a:ext>
            </a:extLst>
          </p:cNvPr>
          <p:cNvSpPr txBox="1"/>
          <p:nvPr/>
        </p:nvSpPr>
        <p:spPr>
          <a:xfrm>
            <a:off x="4485193" y="3455593"/>
            <a:ext cx="3410493" cy="700576"/>
          </a:xfrm>
          <a:prstGeom prst="rect">
            <a:avLst/>
          </a:prstGeom>
          <a:noFill/>
        </p:spPr>
        <p:txBody>
          <a:bodyPr wrap="square">
            <a:spAutoFit/>
          </a:bodyPr>
          <a:lstStyle>
            <a:defPPr>
              <a:defRPr lang="en-US"/>
            </a:defPPr>
            <a:lvl1pPr marL="342900" indent="-342900">
              <a:lnSpc>
                <a:spcPct val="150000"/>
              </a:lnSpc>
              <a:buFont typeface="+mj-ea"/>
              <a:buAutoNum type="circleNumDbPlain"/>
              <a:defRPr sz="1200">
                <a:latin typeface="微软雅黑" panose="020B0503020204020204" pitchFamily="34" charset="-122"/>
                <a:ea typeface="微软雅黑" panose="020B0503020204020204" pitchFamily="34" charset="-122"/>
              </a:defRPr>
            </a:lvl1pPr>
          </a:lstStyle>
          <a:p>
            <a:pPr marL="0" indent="0">
              <a:buNone/>
            </a:pPr>
            <a:r>
              <a:rPr lang="zh-CN" altLang="en-US" dirty="0"/>
              <a:t>纳入卫生健康委等部门</a:t>
            </a:r>
            <a:r>
              <a:rPr lang="en-US" altLang="zh-CN" sz="1400" b="1" dirty="0">
                <a:solidFill>
                  <a:srgbClr val="C00000"/>
                </a:solidFill>
              </a:rPr>
              <a:t>《</a:t>
            </a:r>
            <a:r>
              <a:rPr lang="zh-CN" altLang="en-US" sz="1400" b="1" dirty="0">
                <a:solidFill>
                  <a:srgbClr val="C00000"/>
                </a:solidFill>
              </a:rPr>
              <a:t>第二批鼓励研发申报儿童药品清单</a:t>
            </a:r>
            <a:r>
              <a:rPr lang="en-US" altLang="zh-CN" sz="1400" b="1" dirty="0">
                <a:solidFill>
                  <a:srgbClr val="C00000"/>
                </a:solidFill>
              </a:rPr>
              <a:t>》</a:t>
            </a:r>
            <a:r>
              <a:rPr lang="zh-CN" altLang="en-US" dirty="0"/>
              <a:t>的药品</a:t>
            </a:r>
          </a:p>
        </p:txBody>
      </p:sp>
      <p:sp>
        <p:nvSpPr>
          <p:cNvPr id="12" name="文本框 11">
            <a:extLst>
              <a:ext uri="{FF2B5EF4-FFF2-40B4-BE49-F238E27FC236}">
                <a16:creationId xmlns:a16="http://schemas.microsoft.com/office/drawing/2014/main" id="{43586C44-D175-22D6-26B5-72D047466E4B}"/>
              </a:ext>
            </a:extLst>
          </p:cNvPr>
          <p:cNvSpPr txBox="1"/>
          <p:nvPr/>
        </p:nvSpPr>
        <p:spPr>
          <a:xfrm>
            <a:off x="7971886" y="3455593"/>
            <a:ext cx="3410493" cy="654410"/>
          </a:xfrm>
          <a:prstGeom prst="rect">
            <a:avLst/>
          </a:prstGeom>
          <a:noFill/>
        </p:spPr>
        <p:txBody>
          <a:bodyPr wrap="square">
            <a:spAutoFit/>
          </a:bodyPr>
          <a:lstStyle>
            <a:defPPr>
              <a:defRPr lang="en-US"/>
            </a:defPPr>
            <a:lvl1pPr marL="342900" indent="-342900">
              <a:lnSpc>
                <a:spcPct val="150000"/>
              </a:lnSpc>
              <a:buFont typeface="+mj-ea"/>
              <a:buAutoNum type="circleNumDbPlain"/>
              <a:defRPr sz="1200">
                <a:latin typeface="微软雅黑" panose="020B0503020204020204" pitchFamily="34" charset="-122"/>
                <a:ea typeface="微软雅黑" panose="020B0503020204020204" pitchFamily="34" charset="-122"/>
              </a:defRPr>
            </a:lvl1pPr>
          </a:lstStyle>
          <a:p>
            <a:pPr marL="0" indent="0">
              <a:buNone/>
            </a:pPr>
            <a:r>
              <a:rPr lang="zh-CN" altLang="en-US" dirty="0"/>
              <a:t>说明书适应症或功能主治中包含有卫生健康委</a:t>
            </a:r>
            <a:r>
              <a:rPr lang="en-US" altLang="zh-CN" sz="1400" b="1" dirty="0">
                <a:solidFill>
                  <a:srgbClr val="C00000"/>
                </a:solidFill>
              </a:rPr>
              <a:t>《</a:t>
            </a:r>
            <a:r>
              <a:rPr lang="zh-CN" altLang="en-US" sz="1400" b="1" dirty="0">
                <a:solidFill>
                  <a:srgbClr val="C00000"/>
                </a:solidFill>
              </a:rPr>
              <a:t>第一批罕见病目录</a:t>
            </a:r>
            <a:r>
              <a:rPr lang="en-US" altLang="zh-CN" sz="1400" b="1" dirty="0">
                <a:solidFill>
                  <a:srgbClr val="C00000"/>
                </a:solidFill>
              </a:rPr>
              <a:t>》</a:t>
            </a:r>
            <a:r>
              <a:rPr lang="zh-CN" altLang="en-US" dirty="0"/>
              <a:t>所收录罕见病的药品</a:t>
            </a:r>
          </a:p>
        </p:txBody>
      </p:sp>
    </p:spTree>
    <p:extLst>
      <p:ext uri="{BB962C8B-B14F-4D97-AF65-F5344CB8AC3E}">
        <p14:creationId xmlns:p14="http://schemas.microsoft.com/office/powerpoint/2010/main" val="262531568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Object 17" hidden="1">
            <a:extLst>
              <a:ext uri="{FF2B5EF4-FFF2-40B4-BE49-F238E27FC236}">
                <a16:creationId xmlns:a16="http://schemas.microsoft.com/office/drawing/2014/main" id="{AF03376B-F0DC-4E45-A052-7BB7F2CF943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5" imgW="347" imgH="348" progId="TCLayout.ActiveDocument.1">
                  <p:embed/>
                </p:oleObj>
              </mc:Choice>
              <mc:Fallback>
                <p:oleObj name="think-cell 幻灯片" r:id="rId5" imgW="347" imgH="348" progId="TCLayout.ActiveDocument.1">
                  <p:embed/>
                  <p:pic>
                    <p:nvPicPr>
                      <p:cNvPr id="18" name="Object 17" hidden="1">
                        <a:extLst>
                          <a:ext uri="{FF2B5EF4-FFF2-40B4-BE49-F238E27FC236}">
                            <a16:creationId xmlns:a16="http://schemas.microsoft.com/office/drawing/2014/main" id="{AF03376B-F0DC-4E45-A052-7BB7F2CF943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60B2A641-EE1A-4353-B663-913BBED2AB49}"/>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800" b="1" i="0" u="none" strike="noStrike" kern="1200" cap="none" spc="0" normalizeH="0" baseline="0" noProof="0">
              <a:ln>
                <a:noFill/>
              </a:ln>
              <a:solidFill>
                <a:srgbClr val="FFFFFF"/>
              </a:solidFill>
              <a:effectLst/>
              <a:uLnTx/>
              <a:uFillTx/>
              <a:latin typeface="Calibri" panose="020F0502020204030204" pitchFamily="34" charset="0"/>
              <a:ea typeface="メイリオ" panose="020B0604030504040204" pitchFamily="50" charset="-128"/>
              <a:cs typeface="Calibri" panose="020F0502020204030204" pitchFamily="34" charset="0"/>
              <a:sym typeface="Calibri" panose="020F0502020204030204" pitchFamily="34" charset="0"/>
            </a:endParaRPr>
          </a:p>
        </p:txBody>
      </p:sp>
      <p:sp>
        <p:nvSpPr>
          <p:cNvPr id="37" name="Title 3">
            <a:extLst>
              <a:ext uri="{FF2B5EF4-FFF2-40B4-BE49-F238E27FC236}">
                <a16:creationId xmlns:a16="http://schemas.microsoft.com/office/drawing/2014/main" id="{8109A740-BC76-6447-9BA6-362E759DED0E}"/>
              </a:ext>
            </a:extLst>
          </p:cNvPr>
          <p:cNvSpPr>
            <a:spLocks noGrp="1"/>
          </p:cNvSpPr>
          <p:nvPr>
            <p:ph type="title"/>
          </p:nvPr>
        </p:nvSpPr>
        <p:spPr/>
        <p:txBody>
          <a:bodyPr>
            <a:normAutofit/>
          </a:bodyPr>
          <a:lstStyle/>
          <a:p>
            <a:r>
              <a:rPr lang="zh-CN" altLang="en-US" sz="3200" dirty="0">
                <a:solidFill>
                  <a:srgbClr val="1A1918"/>
                </a:solidFill>
                <a:latin typeface="微软雅黑" panose="020B0503020204020204" pitchFamily="34" charset="-122"/>
                <a:ea typeface="微软雅黑" panose="020B0503020204020204" pitchFamily="34" charset="-122"/>
              </a:rPr>
              <a:t>目录</a:t>
            </a:r>
            <a:endParaRPr lang="en-JP" sz="3200" dirty="0">
              <a:solidFill>
                <a:srgbClr val="1A1918"/>
              </a:solidFill>
              <a:latin typeface="微软雅黑" panose="020B0503020204020204" pitchFamily="34" charset="-122"/>
              <a:ea typeface="微软雅黑" panose="020B0503020204020204" pitchFamily="34" charset="-122"/>
            </a:endParaRPr>
          </a:p>
        </p:txBody>
      </p:sp>
      <p:sp>
        <p:nvSpPr>
          <p:cNvPr id="5" name="Rectangle 8">
            <a:extLst>
              <a:ext uri="{FF2B5EF4-FFF2-40B4-BE49-F238E27FC236}">
                <a16:creationId xmlns:a16="http://schemas.microsoft.com/office/drawing/2014/main" id="{ECDC47DE-77D6-426C-B817-B00C44E8D1B1}"/>
              </a:ext>
            </a:extLst>
          </p:cNvPr>
          <p:cNvSpPr/>
          <p:nvPr/>
        </p:nvSpPr>
        <p:spPr>
          <a:xfrm>
            <a:off x="1803465" y="1725673"/>
            <a:ext cx="680983" cy="685801"/>
          </a:xfrm>
          <a:prstGeom prst="rect">
            <a:avLst/>
          </a:prstGeom>
          <a:solidFill>
            <a:schemeClr val="accent2">
              <a:lumMod val="75000"/>
            </a:schemeClr>
          </a:solidFill>
          <a:ln w="25400" cap="flat" cmpd="sng" algn="ctr">
            <a:noFill/>
            <a:prstDash val="solid"/>
          </a:ln>
          <a:effectLst>
            <a:outerShdw blurRad="50800" dist="38100" dir="2700000" algn="tl" rotWithShape="0">
              <a:prstClr val="black">
                <a:alpha val="40000"/>
              </a:prstClr>
            </a:outerShdw>
          </a:effectLst>
        </p:spPr>
        <p:txBody>
          <a:bodyPr tIns="90000" bIns="90000" rtlCol="0" anchor="ctr"/>
          <a:lstStyle/>
          <a:p>
            <a:pPr algn="ctr"/>
            <a:r>
              <a:rPr lang="en-US" altLang="zh-CN" b="1" kern="0" dirty="0">
                <a:solidFill>
                  <a:srgbClr val="FFFFFF"/>
                </a:solidFill>
                <a:latin typeface="微软雅黑" panose="020B0503020204020204" pitchFamily="34" charset="-122"/>
                <a:ea typeface="微软雅黑" panose="020B0503020204020204" pitchFamily="34" charset="-122"/>
              </a:rPr>
              <a:t>1</a:t>
            </a:r>
            <a:endParaRPr lang="en-GB" b="1" kern="0" dirty="0">
              <a:solidFill>
                <a:srgbClr val="FFFFFF"/>
              </a:solidFill>
              <a:latin typeface="微软雅黑" panose="020B0503020204020204" pitchFamily="34" charset="-122"/>
              <a:ea typeface="微软雅黑" panose="020B0503020204020204" pitchFamily="34" charset="-122"/>
            </a:endParaRPr>
          </a:p>
        </p:txBody>
      </p:sp>
      <p:sp>
        <p:nvSpPr>
          <p:cNvPr id="6" name="Rectangle 8">
            <a:extLst>
              <a:ext uri="{FF2B5EF4-FFF2-40B4-BE49-F238E27FC236}">
                <a16:creationId xmlns:a16="http://schemas.microsoft.com/office/drawing/2014/main" id="{BF736C93-E167-4913-8470-B44928EB101F}"/>
              </a:ext>
            </a:extLst>
          </p:cNvPr>
          <p:cNvSpPr/>
          <p:nvPr/>
        </p:nvSpPr>
        <p:spPr>
          <a:xfrm>
            <a:off x="2564686" y="1725673"/>
            <a:ext cx="2808505" cy="685801"/>
          </a:xfrm>
          <a:prstGeom prst="rect">
            <a:avLst/>
          </a:prstGeom>
          <a:solidFill>
            <a:schemeClr val="accent2">
              <a:lumMod val="20000"/>
              <a:lumOff val="80000"/>
            </a:schemeClr>
          </a:solidFill>
          <a:ln w="25400" cap="flat" cmpd="sng" algn="ctr">
            <a:noFill/>
            <a:prstDash val="solid"/>
          </a:ln>
          <a:effectLst>
            <a:outerShdw blurRad="50800" dist="38100" dir="2700000" algn="tl" rotWithShape="0">
              <a:prstClr val="black">
                <a:alpha val="40000"/>
              </a:prstClr>
            </a:outerShdw>
          </a:effectLst>
        </p:spPr>
        <p:txBody>
          <a:bodyPr tIns="90000" bIns="90000" rtlCol="0" anchor="ctr"/>
          <a:lstStyle/>
          <a:p>
            <a:pPr algn="ctr"/>
            <a:r>
              <a:rPr kumimoji="1" lang="zh-CN" altLang="en-US" sz="1800" b="1" dirty="0">
                <a:solidFill>
                  <a:schemeClr val="bg1"/>
                </a:solidFill>
                <a:latin typeface="微软雅黑" panose="020B0503020204020204" pitchFamily="34" charset="-122"/>
                <a:ea typeface="微软雅黑" panose="020B0503020204020204" pitchFamily="34" charset="-122"/>
              </a:rPr>
              <a:t>基本信息</a:t>
            </a:r>
          </a:p>
        </p:txBody>
      </p:sp>
      <p:sp>
        <p:nvSpPr>
          <p:cNvPr id="7" name="Rectangle 8">
            <a:extLst>
              <a:ext uri="{FF2B5EF4-FFF2-40B4-BE49-F238E27FC236}">
                <a16:creationId xmlns:a16="http://schemas.microsoft.com/office/drawing/2014/main" id="{E5B49FAA-B59E-43F7-87A7-F2E7CD5F1AAD}"/>
              </a:ext>
            </a:extLst>
          </p:cNvPr>
          <p:cNvSpPr/>
          <p:nvPr/>
        </p:nvSpPr>
        <p:spPr>
          <a:xfrm>
            <a:off x="1803465" y="2864776"/>
            <a:ext cx="680983" cy="685801"/>
          </a:xfrm>
          <a:prstGeom prst="rect">
            <a:avLst/>
          </a:prstGeom>
          <a:solidFill>
            <a:schemeClr val="accent2">
              <a:lumMod val="75000"/>
            </a:schemeClr>
          </a:solidFill>
          <a:ln w="25400" cap="flat" cmpd="sng" algn="ctr">
            <a:noFill/>
            <a:prstDash val="solid"/>
          </a:ln>
          <a:effectLst>
            <a:outerShdw blurRad="50800" dist="38100" dir="2700000" algn="tl" rotWithShape="0">
              <a:prstClr val="black">
                <a:alpha val="40000"/>
              </a:prstClr>
            </a:outerShdw>
          </a:effectLst>
        </p:spPr>
        <p:txBody>
          <a:bodyPr tIns="90000" bIns="90000" rtlCol="0" anchor="ctr"/>
          <a:lstStyle/>
          <a:p>
            <a:pPr algn="ctr"/>
            <a:r>
              <a:rPr lang="en-US" b="1" kern="0" dirty="0">
                <a:solidFill>
                  <a:srgbClr val="FFFFFF"/>
                </a:solidFill>
                <a:latin typeface="微软雅黑" panose="020B0503020204020204" pitchFamily="34" charset="-122"/>
                <a:ea typeface="微软雅黑" panose="020B0503020204020204" pitchFamily="34" charset="-122"/>
              </a:rPr>
              <a:t>3</a:t>
            </a:r>
            <a:endParaRPr lang="en-GB" b="1" kern="0" dirty="0">
              <a:solidFill>
                <a:srgbClr val="FFFFFF"/>
              </a:solidFill>
              <a:latin typeface="微软雅黑" panose="020B0503020204020204" pitchFamily="34" charset="-122"/>
              <a:ea typeface="微软雅黑" panose="020B0503020204020204" pitchFamily="34" charset="-122"/>
            </a:endParaRPr>
          </a:p>
        </p:txBody>
      </p:sp>
      <p:sp>
        <p:nvSpPr>
          <p:cNvPr id="8" name="Rectangle 8">
            <a:extLst>
              <a:ext uri="{FF2B5EF4-FFF2-40B4-BE49-F238E27FC236}">
                <a16:creationId xmlns:a16="http://schemas.microsoft.com/office/drawing/2014/main" id="{A58E1C35-493D-4ECE-BAB1-073144B7A246}"/>
              </a:ext>
            </a:extLst>
          </p:cNvPr>
          <p:cNvSpPr/>
          <p:nvPr/>
        </p:nvSpPr>
        <p:spPr>
          <a:xfrm>
            <a:off x="2564686" y="2864776"/>
            <a:ext cx="2808505" cy="685801"/>
          </a:xfrm>
          <a:prstGeom prst="rect">
            <a:avLst/>
          </a:prstGeom>
          <a:solidFill>
            <a:schemeClr val="accent2">
              <a:lumMod val="20000"/>
              <a:lumOff val="80000"/>
            </a:schemeClr>
          </a:solidFill>
          <a:ln w="25400" cap="flat" cmpd="sng" algn="ctr">
            <a:noFill/>
            <a:prstDash val="solid"/>
          </a:ln>
          <a:effectLst>
            <a:outerShdw blurRad="50800" dist="38100" dir="2700000" algn="tl" rotWithShape="0">
              <a:prstClr val="black">
                <a:alpha val="40000"/>
              </a:prstClr>
            </a:outerShdw>
          </a:effectLst>
        </p:spPr>
        <p:txBody>
          <a:bodyPr tIns="90000" bIns="90000" rtlCol="0" anchor="ctr"/>
          <a:lstStyle/>
          <a:p>
            <a:pPr algn="ctr"/>
            <a:r>
              <a:rPr kumimoji="1" lang="zh-CN" altLang="en-US" sz="1800" b="1" dirty="0">
                <a:solidFill>
                  <a:schemeClr val="bg1"/>
                </a:solidFill>
                <a:latin typeface="微软雅黑" panose="020B0503020204020204" pitchFamily="34" charset="-122"/>
                <a:ea typeface="微软雅黑" panose="020B0503020204020204" pitchFamily="34" charset="-122"/>
              </a:rPr>
              <a:t>安全性</a:t>
            </a:r>
          </a:p>
        </p:txBody>
      </p:sp>
      <p:sp>
        <p:nvSpPr>
          <p:cNvPr id="9" name="Rectangle 8">
            <a:extLst>
              <a:ext uri="{FF2B5EF4-FFF2-40B4-BE49-F238E27FC236}">
                <a16:creationId xmlns:a16="http://schemas.microsoft.com/office/drawing/2014/main" id="{ACAA8949-3B4B-4C1F-9EFF-DF66223B8E3F}"/>
              </a:ext>
            </a:extLst>
          </p:cNvPr>
          <p:cNvSpPr/>
          <p:nvPr/>
        </p:nvSpPr>
        <p:spPr>
          <a:xfrm>
            <a:off x="1803465" y="4003878"/>
            <a:ext cx="680983" cy="685801"/>
          </a:xfrm>
          <a:prstGeom prst="rect">
            <a:avLst/>
          </a:prstGeom>
          <a:solidFill>
            <a:schemeClr val="accent2">
              <a:lumMod val="75000"/>
            </a:schemeClr>
          </a:solidFill>
          <a:ln w="25400" cap="flat" cmpd="sng" algn="ctr">
            <a:noFill/>
            <a:prstDash val="solid"/>
          </a:ln>
          <a:effectLst>
            <a:outerShdw blurRad="50800" dist="38100" dir="2700000" algn="tl" rotWithShape="0">
              <a:prstClr val="black">
                <a:alpha val="40000"/>
              </a:prstClr>
            </a:outerShdw>
          </a:effectLst>
        </p:spPr>
        <p:txBody>
          <a:bodyPr tIns="90000" bIns="90000" rtlCol="0" anchor="ctr"/>
          <a:lstStyle/>
          <a:p>
            <a:pPr algn="ctr"/>
            <a:r>
              <a:rPr lang="en-US" altLang="zh-CN" b="1" kern="0" dirty="0">
                <a:solidFill>
                  <a:srgbClr val="FFFFFF"/>
                </a:solidFill>
                <a:latin typeface="微软雅黑" panose="020B0503020204020204" pitchFamily="34" charset="-122"/>
                <a:ea typeface="微软雅黑" panose="020B0503020204020204" pitchFamily="34" charset="-122"/>
              </a:rPr>
              <a:t>5</a:t>
            </a:r>
            <a:endParaRPr lang="en-GB" b="1" kern="0" dirty="0">
              <a:solidFill>
                <a:srgbClr val="FFFFFF"/>
              </a:solidFill>
              <a:latin typeface="微软雅黑" panose="020B0503020204020204" pitchFamily="34" charset="-122"/>
              <a:ea typeface="微软雅黑" panose="020B0503020204020204" pitchFamily="34" charset="-122"/>
            </a:endParaRPr>
          </a:p>
        </p:txBody>
      </p:sp>
      <p:sp>
        <p:nvSpPr>
          <p:cNvPr id="10" name="Rectangle 8">
            <a:extLst>
              <a:ext uri="{FF2B5EF4-FFF2-40B4-BE49-F238E27FC236}">
                <a16:creationId xmlns:a16="http://schemas.microsoft.com/office/drawing/2014/main" id="{70CAD0C0-AFE6-425F-95FD-7026CD76ECBE}"/>
              </a:ext>
            </a:extLst>
          </p:cNvPr>
          <p:cNvSpPr/>
          <p:nvPr/>
        </p:nvSpPr>
        <p:spPr>
          <a:xfrm>
            <a:off x="2564686" y="4003878"/>
            <a:ext cx="2808505" cy="685801"/>
          </a:xfrm>
          <a:prstGeom prst="rect">
            <a:avLst/>
          </a:prstGeom>
          <a:solidFill>
            <a:schemeClr val="accent2">
              <a:lumMod val="20000"/>
              <a:lumOff val="80000"/>
            </a:schemeClr>
          </a:solidFill>
          <a:ln w="25400" cap="flat" cmpd="sng" algn="ctr">
            <a:noFill/>
            <a:prstDash val="solid"/>
          </a:ln>
          <a:effectLst>
            <a:outerShdw blurRad="50800" dist="38100" dir="2700000" algn="tl" rotWithShape="0">
              <a:prstClr val="black">
                <a:alpha val="40000"/>
              </a:prstClr>
            </a:outerShdw>
          </a:effectLst>
        </p:spPr>
        <p:txBody>
          <a:bodyPr tIns="90000" bIns="90000" rtlCol="0" anchor="ctr"/>
          <a:lstStyle/>
          <a:p>
            <a:pPr algn="ctr"/>
            <a:r>
              <a:rPr kumimoji="1" lang="zh-CN" altLang="en-US" sz="1800" b="1" dirty="0">
                <a:solidFill>
                  <a:schemeClr val="bg1"/>
                </a:solidFill>
                <a:latin typeface="微软雅黑" panose="020B0503020204020204" pitchFamily="34" charset="-122"/>
                <a:ea typeface="微软雅黑" panose="020B0503020204020204" pitchFamily="34" charset="-122"/>
              </a:rPr>
              <a:t>创新性</a:t>
            </a:r>
          </a:p>
        </p:txBody>
      </p:sp>
      <p:sp>
        <p:nvSpPr>
          <p:cNvPr id="13" name="Rectangle 8">
            <a:extLst>
              <a:ext uri="{FF2B5EF4-FFF2-40B4-BE49-F238E27FC236}">
                <a16:creationId xmlns:a16="http://schemas.microsoft.com/office/drawing/2014/main" id="{AF0F697D-3C75-455D-9742-E7D44D79D22D}"/>
              </a:ext>
            </a:extLst>
          </p:cNvPr>
          <p:cNvSpPr/>
          <p:nvPr/>
        </p:nvSpPr>
        <p:spPr>
          <a:xfrm>
            <a:off x="6827516" y="1725673"/>
            <a:ext cx="680983" cy="685801"/>
          </a:xfrm>
          <a:prstGeom prst="rect">
            <a:avLst/>
          </a:prstGeom>
          <a:solidFill>
            <a:schemeClr val="accent2">
              <a:lumMod val="75000"/>
            </a:schemeClr>
          </a:solidFill>
          <a:ln w="25400" cap="flat" cmpd="sng" algn="ctr">
            <a:noFill/>
            <a:prstDash val="solid"/>
          </a:ln>
          <a:effectLst>
            <a:outerShdw blurRad="50800" dist="38100" dir="2700000" algn="tl" rotWithShape="0">
              <a:prstClr val="black">
                <a:alpha val="40000"/>
              </a:prstClr>
            </a:outerShdw>
          </a:effectLst>
        </p:spPr>
        <p:txBody>
          <a:bodyPr tIns="90000" bIns="90000" rtlCol="0" anchor="ctr"/>
          <a:lstStyle/>
          <a:p>
            <a:pPr algn="ctr"/>
            <a:r>
              <a:rPr lang="en-US" altLang="zh-CN" b="1" kern="0" dirty="0">
                <a:solidFill>
                  <a:srgbClr val="FFFFFF"/>
                </a:solidFill>
                <a:latin typeface="微软雅黑" panose="020B0503020204020204" pitchFamily="34" charset="-122"/>
                <a:ea typeface="微软雅黑" panose="020B0503020204020204" pitchFamily="34" charset="-122"/>
              </a:rPr>
              <a:t>2</a:t>
            </a:r>
            <a:endParaRPr lang="en-GB" b="1" kern="0" dirty="0">
              <a:solidFill>
                <a:srgbClr val="FFFFFF"/>
              </a:solidFill>
              <a:latin typeface="微软雅黑" panose="020B0503020204020204" pitchFamily="34" charset="-122"/>
              <a:ea typeface="微软雅黑" panose="020B0503020204020204" pitchFamily="34" charset="-122"/>
            </a:endParaRPr>
          </a:p>
        </p:txBody>
      </p:sp>
      <p:sp>
        <p:nvSpPr>
          <p:cNvPr id="14" name="Rectangle 8">
            <a:extLst>
              <a:ext uri="{FF2B5EF4-FFF2-40B4-BE49-F238E27FC236}">
                <a16:creationId xmlns:a16="http://schemas.microsoft.com/office/drawing/2014/main" id="{2336BA2F-C8BC-42BA-96B0-8C624F243519}"/>
              </a:ext>
            </a:extLst>
          </p:cNvPr>
          <p:cNvSpPr/>
          <p:nvPr/>
        </p:nvSpPr>
        <p:spPr>
          <a:xfrm>
            <a:off x="7588737" y="1725673"/>
            <a:ext cx="2808505" cy="685801"/>
          </a:xfrm>
          <a:prstGeom prst="rect">
            <a:avLst/>
          </a:prstGeom>
          <a:solidFill>
            <a:schemeClr val="accent2">
              <a:lumMod val="20000"/>
              <a:lumOff val="80000"/>
            </a:schemeClr>
          </a:solidFill>
          <a:ln w="25400" cap="flat" cmpd="sng" algn="ctr">
            <a:noFill/>
            <a:prstDash val="solid"/>
          </a:ln>
          <a:effectLst>
            <a:outerShdw blurRad="50800" dist="38100" dir="2700000" algn="tl" rotWithShape="0">
              <a:prstClr val="black">
                <a:alpha val="40000"/>
              </a:prstClr>
            </a:outerShdw>
          </a:effectLst>
        </p:spPr>
        <p:txBody>
          <a:bodyPr tIns="90000" bIns="90000" rtlCol="0" anchor="ctr"/>
          <a:lstStyle/>
          <a:p>
            <a:pPr algn="ctr"/>
            <a:r>
              <a:rPr kumimoji="1" lang="zh-CN" altLang="en-US" sz="1800" b="1" dirty="0">
                <a:solidFill>
                  <a:schemeClr val="bg1"/>
                </a:solidFill>
                <a:latin typeface="微软雅黑" panose="020B0503020204020204" pitchFamily="34" charset="-122"/>
                <a:ea typeface="微软雅黑" panose="020B0503020204020204" pitchFamily="34" charset="-122"/>
              </a:rPr>
              <a:t>公平</a:t>
            </a:r>
            <a:r>
              <a:rPr kumimoji="1" lang="zh-CN" altLang="en-US" b="1" dirty="0">
                <a:solidFill>
                  <a:schemeClr val="bg1"/>
                </a:solidFill>
                <a:latin typeface="微软雅黑" panose="020B0503020204020204" pitchFamily="34" charset="-122"/>
                <a:ea typeface="微软雅黑" panose="020B0503020204020204" pitchFamily="34" charset="-122"/>
              </a:rPr>
              <a:t>性</a:t>
            </a:r>
            <a:endParaRPr kumimoji="1" lang="zh-CN" altLang="en-US" sz="1800" b="1" dirty="0">
              <a:solidFill>
                <a:schemeClr val="bg1"/>
              </a:solidFill>
              <a:latin typeface="微软雅黑" panose="020B0503020204020204" pitchFamily="34" charset="-122"/>
              <a:ea typeface="微软雅黑" panose="020B0503020204020204" pitchFamily="34" charset="-122"/>
            </a:endParaRPr>
          </a:p>
        </p:txBody>
      </p:sp>
      <p:sp>
        <p:nvSpPr>
          <p:cNvPr id="15" name="Rectangle 8">
            <a:extLst>
              <a:ext uri="{FF2B5EF4-FFF2-40B4-BE49-F238E27FC236}">
                <a16:creationId xmlns:a16="http://schemas.microsoft.com/office/drawing/2014/main" id="{A766C1DC-DA77-4D0C-8C63-D18266644097}"/>
              </a:ext>
            </a:extLst>
          </p:cNvPr>
          <p:cNvSpPr/>
          <p:nvPr/>
        </p:nvSpPr>
        <p:spPr>
          <a:xfrm>
            <a:off x="6827516" y="2864776"/>
            <a:ext cx="680983" cy="685801"/>
          </a:xfrm>
          <a:prstGeom prst="rect">
            <a:avLst/>
          </a:prstGeom>
          <a:solidFill>
            <a:schemeClr val="accent2">
              <a:lumMod val="75000"/>
            </a:schemeClr>
          </a:solidFill>
          <a:ln w="25400" cap="flat" cmpd="sng" algn="ctr">
            <a:noFill/>
            <a:prstDash val="solid"/>
          </a:ln>
          <a:effectLst>
            <a:outerShdw blurRad="50800" dist="38100" dir="2700000" algn="tl" rotWithShape="0">
              <a:prstClr val="black">
                <a:alpha val="40000"/>
              </a:prstClr>
            </a:outerShdw>
          </a:effectLst>
        </p:spPr>
        <p:txBody>
          <a:bodyPr tIns="90000" bIns="90000" rtlCol="0" anchor="ctr"/>
          <a:lstStyle/>
          <a:p>
            <a:pPr algn="ctr"/>
            <a:r>
              <a:rPr lang="en-US" altLang="zh-CN" b="1" kern="0" dirty="0">
                <a:solidFill>
                  <a:srgbClr val="FFFFFF"/>
                </a:solidFill>
                <a:latin typeface="微软雅黑" panose="020B0503020204020204" pitchFamily="34" charset="-122"/>
                <a:ea typeface="微软雅黑" panose="020B0503020204020204" pitchFamily="34" charset="-122"/>
              </a:rPr>
              <a:t>4</a:t>
            </a:r>
            <a:endParaRPr lang="en-GB" b="1" kern="0" dirty="0">
              <a:solidFill>
                <a:srgbClr val="FFFFFF"/>
              </a:solidFill>
              <a:latin typeface="微软雅黑" panose="020B0503020204020204" pitchFamily="34" charset="-122"/>
              <a:ea typeface="微软雅黑" panose="020B0503020204020204" pitchFamily="34" charset="-122"/>
            </a:endParaRPr>
          </a:p>
        </p:txBody>
      </p:sp>
      <p:sp>
        <p:nvSpPr>
          <p:cNvPr id="16" name="Rectangle 8">
            <a:extLst>
              <a:ext uri="{FF2B5EF4-FFF2-40B4-BE49-F238E27FC236}">
                <a16:creationId xmlns:a16="http://schemas.microsoft.com/office/drawing/2014/main" id="{FB93AF8E-7686-4365-9E21-A8F9A86945E6}"/>
              </a:ext>
            </a:extLst>
          </p:cNvPr>
          <p:cNvSpPr/>
          <p:nvPr/>
        </p:nvSpPr>
        <p:spPr>
          <a:xfrm>
            <a:off x="7588737" y="2864776"/>
            <a:ext cx="2808505" cy="685801"/>
          </a:xfrm>
          <a:prstGeom prst="rect">
            <a:avLst/>
          </a:prstGeom>
          <a:solidFill>
            <a:schemeClr val="accent2">
              <a:lumMod val="20000"/>
              <a:lumOff val="80000"/>
            </a:schemeClr>
          </a:solidFill>
          <a:ln w="25400" cap="flat" cmpd="sng" algn="ctr">
            <a:noFill/>
            <a:prstDash val="solid"/>
          </a:ln>
          <a:effectLst>
            <a:outerShdw blurRad="50800" dist="38100" dir="2700000" algn="tl" rotWithShape="0">
              <a:prstClr val="black">
                <a:alpha val="40000"/>
              </a:prstClr>
            </a:outerShdw>
          </a:effectLst>
        </p:spPr>
        <p:txBody>
          <a:bodyPr tIns="90000" bIns="90000" rtlCol="0" anchor="ctr"/>
          <a:lstStyle/>
          <a:p>
            <a:pPr algn="ctr"/>
            <a:r>
              <a:rPr kumimoji="1" lang="zh-CN" altLang="en-US" sz="1800" b="1" dirty="0">
                <a:solidFill>
                  <a:schemeClr val="bg1"/>
                </a:solidFill>
                <a:latin typeface="微软雅黑" panose="020B0503020204020204" pitchFamily="34" charset="-122"/>
                <a:ea typeface="微软雅黑" panose="020B0503020204020204" pitchFamily="34" charset="-122"/>
              </a:rPr>
              <a:t>有效性</a:t>
            </a:r>
          </a:p>
        </p:txBody>
      </p:sp>
    </p:spTree>
    <p:extLst>
      <p:ext uri="{BB962C8B-B14F-4D97-AF65-F5344CB8AC3E}">
        <p14:creationId xmlns:p14="http://schemas.microsoft.com/office/powerpoint/2010/main" val="15488822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Object 17" hidden="1">
            <a:extLst>
              <a:ext uri="{FF2B5EF4-FFF2-40B4-BE49-F238E27FC236}">
                <a16:creationId xmlns:a16="http://schemas.microsoft.com/office/drawing/2014/main" id="{AF03376B-F0DC-4E45-A052-7BB7F2CF943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5" imgW="347" imgH="348" progId="TCLayout.ActiveDocument.1">
                  <p:embed/>
                </p:oleObj>
              </mc:Choice>
              <mc:Fallback>
                <p:oleObj name="think-cell 幻灯片" r:id="rId5" imgW="347" imgH="348" progId="TCLayout.ActiveDocument.1">
                  <p:embed/>
                  <p:pic>
                    <p:nvPicPr>
                      <p:cNvPr id="18" name="Object 17" hidden="1">
                        <a:extLst>
                          <a:ext uri="{FF2B5EF4-FFF2-40B4-BE49-F238E27FC236}">
                            <a16:creationId xmlns:a16="http://schemas.microsoft.com/office/drawing/2014/main" id="{AF03376B-F0DC-4E45-A052-7BB7F2CF943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60B2A641-EE1A-4353-B663-913BBED2AB49}"/>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800" b="1" i="0" u="none" strike="noStrike" kern="1200" cap="none" spc="0" normalizeH="0" baseline="0" noProof="0">
              <a:ln>
                <a:noFill/>
              </a:ln>
              <a:solidFill>
                <a:srgbClr val="FFFFFF"/>
              </a:solidFill>
              <a:effectLst/>
              <a:uLnTx/>
              <a:uFillTx/>
              <a:latin typeface="Calibri" panose="020F0502020204030204" pitchFamily="34" charset="0"/>
              <a:ea typeface="メイリオ" panose="020B0604030504040204" pitchFamily="50" charset="-128"/>
              <a:cs typeface="Calibri" panose="020F0502020204030204" pitchFamily="34" charset="0"/>
              <a:sym typeface="Calibri" panose="020F0502020204030204" pitchFamily="34" charset="0"/>
            </a:endParaRPr>
          </a:p>
        </p:txBody>
      </p:sp>
      <p:sp>
        <p:nvSpPr>
          <p:cNvPr id="37" name="Title 3">
            <a:extLst>
              <a:ext uri="{FF2B5EF4-FFF2-40B4-BE49-F238E27FC236}">
                <a16:creationId xmlns:a16="http://schemas.microsoft.com/office/drawing/2014/main" id="{8109A740-BC76-6447-9BA6-362E759DED0E}"/>
              </a:ext>
            </a:extLst>
          </p:cNvPr>
          <p:cNvSpPr>
            <a:spLocks noGrp="1"/>
          </p:cNvSpPr>
          <p:nvPr>
            <p:ph type="title"/>
          </p:nvPr>
        </p:nvSpPr>
        <p:spPr>
          <a:xfrm>
            <a:off x="1038225" y="209230"/>
            <a:ext cx="9508106" cy="685801"/>
          </a:xfrm>
        </p:spPr>
        <p:txBody>
          <a:bodyPr vert="horz">
            <a:normAutofit/>
          </a:bodyPr>
          <a:lstStyle/>
          <a:p>
            <a:r>
              <a:rPr lang="zh-CN" altLang="en-US" sz="3200" dirty="0">
                <a:solidFill>
                  <a:srgbClr val="1A1918"/>
                </a:solidFill>
                <a:latin typeface="微软雅黑" panose="020B0503020204020204" pitchFamily="34" charset="-122"/>
                <a:ea typeface="微软雅黑" panose="020B0503020204020204" pitchFamily="34" charset="-122"/>
              </a:rPr>
              <a:t>基本信息</a:t>
            </a:r>
            <a:endParaRPr lang="en-JP" sz="3200" dirty="0">
              <a:solidFill>
                <a:srgbClr val="1A1918"/>
              </a:solidFill>
              <a:latin typeface="微软雅黑" panose="020B0503020204020204" pitchFamily="34" charset="-122"/>
              <a:ea typeface="微软雅黑" panose="020B0503020204020204" pitchFamily="34" charset="-122"/>
            </a:endParaRPr>
          </a:p>
        </p:txBody>
      </p:sp>
      <p:sp>
        <p:nvSpPr>
          <p:cNvPr id="22" name="椭圆 21">
            <a:extLst>
              <a:ext uri="{FF2B5EF4-FFF2-40B4-BE49-F238E27FC236}">
                <a16:creationId xmlns:a16="http://schemas.microsoft.com/office/drawing/2014/main" id="{5F530736-32AD-42C7-B3FC-79FE10B74A3A}"/>
              </a:ext>
            </a:extLst>
          </p:cNvPr>
          <p:cNvSpPr/>
          <p:nvPr/>
        </p:nvSpPr>
        <p:spPr>
          <a:xfrm>
            <a:off x="616186" y="315174"/>
            <a:ext cx="360000" cy="360000"/>
          </a:xfrm>
          <a:prstGeom prst="ellipse">
            <a:avLst/>
          </a:prstGeom>
          <a:solidFill>
            <a:schemeClr val="accent2">
              <a:lumMod val="75000"/>
            </a:schemeClr>
          </a:solidFill>
          <a:ln w="28575">
            <a:noFill/>
          </a:ln>
        </p:spPr>
        <p:style>
          <a:lnRef idx="1">
            <a:schemeClr val="accent1"/>
          </a:lnRef>
          <a:fillRef idx="0">
            <a:schemeClr val="accent1"/>
          </a:fillRef>
          <a:effectRef idx="0">
            <a:schemeClr val="accent1"/>
          </a:effectRef>
          <a:fontRef idx="minor">
            <a:schemeClr val="tx1"/>
          </a:fontRef>
        </p:style>
        <p:txBody>
          <a:bodyPr wrap="none" rtlCol="0" anchor="ctr"/>
          <a:lstStyle/>
          <a:p>
            <a:pPr algn="ctr"/>
            <a:r>
              <a:rPr kumimoji="1" lang="en-US" altLang="zh-CN" sz="1600" b="1" dirty="0">
                <a:solidFill>
                  <a:schemeClr val="bg1"/>
                </a:solidFill>
                <a:latin typeface="微软雅黑" panose="020B0503020204020204" pitchFamily="34" charset="-122"/>
                <a:ea typeface="微软雅黑" panose="020B0503020204020204" pitchFamily="34" charset="-122"/>
              </a:rPr>
              <a:t>1</a:t>
            </a:r>
            <a:endParaRPr kumimoji="1" lang="zh-CN" altLang="en-US" sz="1600" b="1" dirty="0">
              <a:solidFill>
                <a:schemeClr val="bg1"/>
              </a:solidFill>
              <a:latin typeface="微软雅黑" panose="020B0503020204020204" pitchFamily="34" charset="-122"/>
              <a:ea typeface="微软雅黑" panose="020B0503020204020204" pitchFamily="34" charset="-122"/>
            </a:endParaRPr>
          </a:p>
        </p:txBody>
      </p:sp>
      <p:sp>
        <p:nvSpPr>
          <p:cNvPr id="21" name="文本框 20">
            <a:extLst>
              <a:ext uri="{FF2B5EF4-FFF2-40B4-BE49-F238E27FC236}">
                <a16:creationId xmlns:a16="http://schemas.microsoft.com/office/drawing/2014/main" id="{1665824D-4315-4CB2-81A1-B0643683E1C0}"/>
              </a:ext>
            </a:extLst>
          </p:cNvPr>
          <p:cNvSpPr txBox="1"/>
          <p:nvPr/>
        </p:nvSpPr>
        <p:spPr>
          <a:xfrm>
            <a:off x="669498" y="6549636"/>
            <a:ext cx="10853003" cy="215444"/>
          </a:xfrm>
          <a:prstGeom prst="rect">
            <a:avLst/>
          </a:prstGeom>
          <a:noFill/>
        </p:spPr>
        <p:txBody>
          <a:bodyPr wrap="square">
            <a:spAutoFit/>
          </a:bodyPr>
          <a:lstStyle/>
          <a:p>
            <a:r>
              <a:rPr lang="zh-CN" altLang="en-US" sz="600" dirty="0">
                <a:latin typeface="微软雅黑" panose="020B0503020204020204" pitchFamily="34" charset="-122"/>
                <a:ea typeface="微软雅黑" panose="020B0503020204020204" pitchFamily="34" charset="-122"/>
              </a:rPr>
              <a:t>参考文献：</a:t>
            </a:r>
            <a:r>
              <a:rPr lang="en-US" altLang="zh-CN" sz="600" dirty="0">
                <a:latin typeface="微软雅黑" panose="020B0503020204020204" pitchFamily="34" charset="-122"/>
                <a:ea typeface="微软雅黑" panose="020B0503020204020204" pitchFamily="34" charset="-122"/>
              </a:rPr>
              <a:t>1.</a:t>
            </a:r>
            <a:r>
              <a:rPr lang="en-US" sz="600" dirty="0">
                <a:latin typeface="微软雅黑" panose="020B0503020204020204" pitchFamily="34" charset="-122"/>
                <a:ea typeface="微软雅黑" panose="020B0503020204020204" pitchFamily="34" charset="-122"/>
              </a:rPr>
              <a:t>Zimran A, Wang N, </a:t>
            </a:r>
            <a:r>
              <a:rPr lang="en-US" sz="600" dirty="0" err="1">
                <a:latin typeface="微软雅黑" panose="020B0503020204020204" pitchFamily="34" charset="-122"/>
                <a:ea typeface="微软雅黑" panose="020B0503020204020204" pitchFamily="34" charset="-122"/>
              </a:rPr>
              <a:t>Ogg</a:t>
            </a:r>
            <a:r>
              <a:rPr lang="en-US" sz="600" dirty="0">
                <a:latin typeface="微软雅黑" panose="020B0503020204020204" pitchFamily="34" charset="-122"/>
                <a:ea typeface="微软雅黑" panose="020B0503020204020204" pitchFamily="34" charset="-122"/>
              </a:rPr>
              <a:t> C, </a:t>
            </a:r>
            <a:r>
              <a:rPr lang="en-US" sz="600" dirty="0" err="1">
                <a:latin typeface="微软雅黑" panose="020B0503020204020204" pitchFamily="34" charset="-122"/>
                <a:ea typeface="微软雅黑" panose="020B0503020204020204" pitchFamily="34" charset="-122"/>
              </a:rPr>
              <a:t>Crombez</a:t>
            </a:r>
            <a:r>
              <a:rPr lang="en-US" sz="600" dirty="0">
                <a:latin typeface="微软雅黑" panose="020B0503020204020204" pitchFamily="34" charset="-122"/>
                <a:ea typeface="微软雅黑" panose="020B0503020204020204" pitchFamily="34" charset="-122"/>
              </a:rPr>
              <a:t> E, et al. Am J </a:t>
            </a:r>
            <a:r>
              <a:rPr lang="en-US" sz="600" dirty="0" err="1">
                <a:latin typeface="微软雅黑" panose="020B0503020204020204" pitchFamily="34" charset="-122"/>
                <a:ea typeface="微软雅黑" panose="020B0503020204020204" pitchFamily="34" charset="-122"/>
              </a:rPr>
              <a:t>Hematol</a:t>
            </a:r>
            <a:r>
              <a:rPr lang="en-US" sz="600" dirty="0">
                <a:latin typeface="微软雅黑" panose="020B0503020204020204" pitchFamily="34" charset="-122"/>
                <a:ea typeface="微软雅黑" panose="020B0503020204020204" pitchFamily="34" charset="-122"/>
              </a:rPr>
              <a:t>. 2015 Jul;90(7):577-83. 2.</a:t>
            </a:r>
            <a:r>
              <a:rPr lang="nl-NL" altLang="zh-CN" sz="700" dirty="0"/>
              <a:t> BEN TURKIA H, et al. Am J Hematol 2013;88:179–84</a:t>
            </a:r>
            <a:r>
              <a:rPr lang="es-ES" altLang="zh-CN" sz="700" dirty="0"/>
              <a:t> 3.</a:t>
            </a:r>
            <a:r>
              <a:rPr lang="en-US" altLang="zh-CN" sz="800" b="0" i="0" dirty="0">
                <a:solidFill>
                  <a:srgbClr val="212121"/>
                </a:solidFill>
                <a:effectLst/>
                <a:latin typeface="BlinkMacSystemFont"/>
              </a:rPr>
              <a:t> </a:t>
            </a:r>
            <a:r>
              <a:rPr lang="en-US" altLang="zh-CN" sz="800" b="0" i="0" dirty="0" err="1">
                <a:solidFill>
                  <a:srgbClr val="212121"/>
                </a:solidFill>
                <a:effectLst/>
                <a:latin typeface="BlinkMacSystemFont"/>
              </a:rPr>
              <a:t>Elstein</a:t>
            </a:r>
            <a:r>
              <a:rPr lang="en-US" altLang="zh-CN" sz="800" b="0" i="0" dirty="0">
                <a:solidFill>
                  <a:srgbClr val="212121"/>
                </a:solidFill>
                <a:effectLst/>
                <a:latin typeface="BlinkMacSystemFont"/>
              </a:rPr>
              <a:t> D, et al. 2012 Jan 15;48(1):45-50</a:t>
            </a:r>
            <a:endParaRPr lang="en-US" sz="600" dirty="0">
              <a:latin typeface="微软雅黑" panose="020B0503020204020204" pitchFamily="34" charset="-122"/>
              <a:ea typeface="微软雅黑" panose="020B0503020204020204" pitchFamily="34" charset="-122"/>
            </a:endParaRPr>
          </a:p>
        </p:txBody>
      </p:sp>
      <p:sp>
        <p:nvSpPr>
          <p:cNvPr id="11" name="Text Placeholder 5">
            <a:extLst>
              <a:ext uri="{FF2B5EF4-FFF2-40B4-BE49-F238E27FC236}">
                <a16:creationId xmlns:a16="http://schemas.microsoft.com/office/drawing/2014/main" id="{F96EFBFF-67EB-43A1-B3BC-A98BCE0F49C9}"/>
              </a:ext>
            </a:extLst>
          </p:cNvPr>
          <p:cNvSpPr txBox="1">
            <a:spLocks/>
          </p:cNvSpPr>
          <p:nvPr/>
        </p:nvSpPr>
        <p:spPr>
          <a:xfrm>
            <a:off x="1038225" y="817217"/>
            <a:ext cx="10853738" cy="263075"/>
          </a:xfrm>
          <a:prstGeom prst="rect">
            <a:avLst/>
          </a:prstGeom>
        </p:spPr>
        <p:txBody>
          <a:bodyPr/>
          <a:lstStyle>
            <a:lvl1pPr marL="457071" indent="-457071" algn="l" defTabSz="914150" rtl="0" eaLnBrk="1" latinLnBrk="0" hangingPunct="1">
              <a:spcBef>
                <a:spcPct val="20000"/>
              </a:spcBef>
              <a:buClr>
                <a:srgbClr val="4C4948"/>
              </a:buClr>
              <a:buFont typeface="Arial" panose="020B0604020202020204" pitchFamily="34" charset="0"/>
              <a:buChar char="•"/>
              <a:defRPr kumimoji="1" sz="2000" b="0" i="0" kern="1200" baseline="0">
                <a:solidFill>
                  <a:schemeClr val="tx1"/>
                </a:solidFill>
                <a:latin typeface="Calibri" panose="020F0502020204030204" pitchFamily="34" charset="0"/>
                <a:ea typeface="メイリオ" pitchFamily="50" charset="-128"/>
                <a:cs typeface="Calibri" pitchFamily="34" charset="0"/>
              </a:defRPr>
            </a:lvl1pPr>
            <a:lvl2pPr marL="742745" indent="-285677" algn="l" defTabSz="914150" rtl="0" eaLnBrk="1" latinLnBrk="0" hangingPunct="1">
              <a:spcBef>
                <a:spcPct val="20000"/>
              </a:spcBef>
              <a:buClr>
                <a:srgbClr val="4C4948"/>
              </a:buClr>
              <a:buFont typeface="Arial" pitchFamily="34" charset="0"/>
              <a:buChar char="–"/>
              <a:defRPr kumimoji="1" sz="2000" b="0" i="0" kern="1200">
                <a:solidFill>
                  <a:schemeClr val="tx1"/>
                </a:solidFill>
                <a:latin typeface="Calibri" panose="020F0502020204030204" pitchFamily="34" charset="0"/>
                <a:ea typeface="メイリオ" pitchFamily="50" charset="-128"/>
                <a:cs typeface="Calibri" pitchFamily="34" charset="0"/>
              </a:defRPr>
            </a:lvl2pPr>
            <a:lvl3pPr marL="1142690" indent="-228541" algn="l" defTabSz="914150" rtl="0" eaLnBrk="1" latinLnBrk="0" hangingPunct="1">
              <a:spcBef>
                <a:spcPct val="20000"/>
              </a:spcBef>
              <a:buClr>
                <a:srgbClr val="4C4948"/>
              </a:buClr>
              <a:buFont typeface="Arial" pitchFamily="34" charset="0"/>
              <a:buChar char="•"/>
              <a:defRPr kumimoji="1" sz="2000" b="0" i="0" kern="1200" baseline="0">
                <a:solidFill>
                  <a:schemeClr val="tx1"/>
                </a:solidFill>
                <a:latin typeface="Calibri" panose="020F0502020204030204" pitchFamily="34" charset="0"/>
                <a:ea typeface="メイリオ" pitchFamily="50" charset="-128"/>
                <a:cs typeface="Calibri" pitchFamily="34" charset="0"/>
              </a:defRPr>
            </a:lvl3pPr>
            <a:lvl4pPr marL="1599760" indent="-228541" algn="l" defTabSz="914150" rtl="0" eaLnBrk="1" latinLnBrk="0" hangingPunct="1">
              <a:spcBef>
                <a:spcPct val="20000"/>
              </a:spcBef>
              <a:buClr>
                <a:srgbClr val="4C4948"/>
              </a:buClr>
              <a:buFont typeface="Arial" pitchFamily="34" charset="0"/>
              <a:buChar char="–"/>
              <a:defRPr kumimoji="1" sz="2000" b="0" i="0" kern="1200" baseline="0">
                <a:solidFill>
                  <a:schemeClr val="tx1"/>
                </a:solidFill>
                <a:latin typeface="Calibri" panose="020F0502020204030204" pitchFamily="34" charset="0"/>
                <a:ea typeface="メイリオ" pitchFamily="50" charset="-128"/>
                <a:cs typeface="Calibri" pitchFamily="34" charset="0"/>
              </a:defRPr>
            </a:lvl4pPr>
            <a:lvl5pPr marL="2056831" indent="-228541" algn="l" defTabSz="914150" rtl="0" eaLnBrk="1" latinLnBrk="0" hangingPunct="1">
              <a:spcBef>
                <a:spcPct val="20000"/>
              </a:spcBef>
              <a:buClr>
                <a:srgbClr val="4C4948"/>
              </a:buClr>
              <a:buFont typeface="Arial" pitchFamily="34" charset="0"/>
              <a:buChar char="»"/>
              <a:defRPr kumimoji="1" sz="2000" b="0" i="0" kern="1200" baseline="0">
                <a:solidFill>
                  <a:schemeClr val="tx1"/>
                </a:solidFill>
                <a:latin typeface="Calibri" panose="020F0502020204030204" pitchFamily="34" charset="0"/>
                <a:ea typeface="メイリオ" pitchFamily="50" charset="-128"/>
                <a:cs typeface="Calibri" pitchFamily="34" charset="0"/>
              </a:defRPr>
            </a:lvl5pPr>
            <a:lvl6pPr marL="2513910"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0986"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8061"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5142"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buNone/>
            </a:pPr>
            <a:r>
              <a:rPr lang="en-US" altLang="zh-CN" sz="1800" b="1" dirty="0">
                <a:solidFill>
                  <a:srgbClr val="1A1918"/>
                </a:solidFill>
                <a:latin typeface="微软雅黑" panose="020B0503020204020204" pitchFamily="34" charset="-122"/>
                <a:ea typeface="微软雅黑" panose="020B0503020204020204" pitchFamily="34" charset="-122"/>
              </a:rPr>
              <a:t>——</a:t>
            </a:r>
            <a:r>
              <a:rPr lang="zh-CN" altLang="en-US" sz="1800" b="1" dirty="0">
                <a:solidFill>
                  <a:srgbClr val="1A1918"/>
                </a:solidFill>
                <a:latin typeface="微软雅黑" panose="020B0503020204020204" pitchFamily="34" charset="-122"/>
                <a:ea typeface="微软雅黑" panose="020B0503020204020204" pitchFamily="34" charset="-122"/>
              </a:rPr>
              <a:t>维拉苷酶</a:t>
            </a:r>
            <a:r>
              <a:rPr lang="en-US" altLang="zh-CN" sz="1800" b="1" dirty="0">
                <a:solidFill>
                  <a:srgbClr val="1A1918"/>
                </a:solidFill>
                <a:latin typeface="微软雅黑" panose="020B0503020204020204" pitchFamily="34" charset="-122"/>
                <a:ea typeface="微软雅黑" panose="020B0503020204020204" pitchFamily="34" charset="-122"/>
              </a:rPr>
              <a:t>α</a:t>
            </a:r>
            <a:r>
              <a:rPr lang="zh-CN" altLang="en-US" sz="1800" b="1" dirty="0">
                <a:solidFill>
                  <a:srgbClr val="1A1918"/>
                </a:solidFill>
                <a:latin typeface="微软雅黑" panose="020B0503020204020204" pitchFamily="34" charset="-122"/>
                <a:ea typeface="微软雅黑" panose="020B0503020204020204" pitchFamily="34" charset="-122"/>
              </a:rPr>
              <a:t>为</a:t>
            </a:r>
            <a:r>
              <a:rPr lang="en-US" altLang="zh-CN" sz="1800" b="1" dirty="0">
                <a:solidFill>
                  <a:srgbClr val="1A1918"/>
                </a:solidFill>
                <a:latin typeface="微软雅黑" panose="020B0503020204020204" pitchFamily="34" charset="-122"/>
                <a:ea typeface="微软雅黑" panose="020B0503020204020204" pitchFamily="34" charset="-122"/>
              </a:rPr>
              <a:t>1</a:t>
            </a:r>
            <a:r>
              <a:rPr lang="zh-CN" altLang="en-US" sz="1800" b="1" dirty="0">
                <a:solidFill>
                  <a:srgbClr val="1A1918"/>
                </a:solidFill>
                <a:latin typeface="微软雅黑" panose="020B0503020204020204" pitchFamily="34" charset="-122"/>
                <a:ea typeface="微软雅黑" panose="020B0503020204020204" pitchFamily="34" charset="-122"/>
              </a:rPr>
              <a:t>型戈谢病标准治疗方案，医保目录内无任何针对性治疗，</a:t>
            </a:r>
            <a:r>
              <a:rPr lang="zh-CN" altLang="en-US" sz="2400" b="1" dirty="0">
                <a:solidFill>
                  <a:srgbClr val="C00000"/>
                </a:solidFill>
                <a:latin typeface="微软雅黑" panose="020B0503020204020204" pitchFamily="34" charset="-122"/>
                <a:ea typeface="微软雅黑" panose="020B0503020204020204" pitchFamily="34" charset="-122"/>
              </a:rPr>
              <a:t>无合适参照药物</a:t>
            </a:r>
            <a:endParaRPr lang="en-JP" sz="1800" b="1" dirty="0">
              <a:solidFill>
                <a:srgbClr val="C00000"/>
              </a:solidFill>
              <a:latin typeface="微软雅黑" panose="020B0503020204020204" pitchFamily="34" charset="-122"/>
              <a:ea typeface="微软雅黑" panose="020B0503020204020204" pitchFamily="34" charset="-122"/>
            </a:endParaRPr>
          </a:p>
        </p:txBody>
      </p:sp>
      <p:grpSp>
        <p:nvGrpSpPr>
          <p:cNvPr id="4" name="组合 3">
            <a:extLst>
              <a:ext uri="{FF2B5EF4-FFF2-40B4-BE49-F238E27FC236}">
                <a16:creationId xmlns:a16="http://schemas.microsoft.com/office/drawing/2014/main" id="{A0C76D40-4439-4470-91A5-4BC833C93F44}"/>
              </a:ext>
            </a:extLst>
          </p:cNvPr>
          <p:cNvGrpSpPr/>
          <p:nvPr/>
        </p:nvGrpSpPr>
        <p:grpSpPr>
          <a:xfrm>
            <a:off x="806975" y="1503018"/>
            <a:ext cx="10789585" cy="4913657"/>
            <a:chOff x="-1504179" y="1710169"/>
            <a:chExt cx="9065876" cy="4971913"/>
          </a:xfrm>
          <a:effectLst>
            <a:outerShdw blurRad="50800" dist="38100" dir="2700000" algn="tl" rotWithShape="0">
              <a:prstClr val="black">
                <a:alpha val="40000"/>
              </a:prstClr>
            </a:outerShdw>
          </a:effectLst>
        </p:grpSpPr>
        <p:sp>
          <p:nvSpPr>
            <p:cNvPr id="54" name="Rectangle 7">
              <a:extLst>
                <a:ext uri="{FF2B5EF4-FFF2-40B4-BE49-F238E27FC236}">
                  <a16:creationId xmlns:a16="http://schemas.microsoft.com/office/drawing/2014/main" id="{A7130905-FFC5-42DD-88DE-E75F9483819E}"/>
                </a:ext>
              </a:extLst>
            </p:cNvPr>
            <p:cNvSpPr/>
            <p:nvPr/>
          </p:nvSpPr>
          <p:spPr>
            <a:xfrm>
              <a:off x="-1335089" y="1878619"/>
              <a:ext cx="8896786" cy="4803463"/>
            </a:xfrm>
            <a:prstGeom prst="rect">
              <a:avLst/>
            </a:prstGeom>
            <a:solidFill>
              <a:schemeClr val="accent2">
                <a:lumMod val="75000"/>
              </a:schemeClr>
            </a:solidFill>
            <a:ln>
              <a:noFill/>
            </a:ln>
            <a:effectLst>
              <a:outerShdw blurRad="76200" dist="50800" dir="5400000" sx="18000" sy="18000" algn="ctr" rotWithShape="0">
                <a:srgbClr val="000000">
                  <a:alpha val="76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44371" tIns="44371" rIns="44371" bIns="44371" rtlCol="0" anchor="ctr"/>
            <a:lstStyle/>
            <a:p>
              <a:pPr algn="l"/>
              <a:endParaRPr lang="en-GB" sz="1400" dirty="0">
                <a:solidFill>
                  <a:schemeClr val="bg1"/>
                </a:solidFill>
              </a:endParaRPr>
            </a:p>
          </p:txBody>
        </p:sp>
        <p:sp>
          <p:nvSpPr>
            <p:cNvPr id="55" name="Rectangle 8">
              <a:extLst>
                <a:ext uri="{FF2B5EF4-FFF2-40B4-BE49-F238E27FC236}">
                  <a16:creationId xmlns:a16="http://schemas.microsoft.com/office/drawing/2014/main" id="{163F0679-1F83-406E-8880-27AE686319E0}"/>
                </a:ext>
              </a:extLst>
            </p:cNvPr>
            <p:cNvSpPr/>
            <p:nvPr/>
          </p:nvSpPr>
          <p:spPr>
            <a:xfrm>
              <a:off x="-1504179" y="1710169"/>
              <a:ext cx="8897295" cy="4803463"/>
            </a:xfrm>
            <a:prstGeom prst="rect">
              <a:avLst/>
            </a:prstGeom>
            <a:solidFill>
              <a:srgbClr val="FDF1F2"/>
            </a:solidFill>
            <a:ln w="12700">
              <a:solidFill>
                <a:schemeClr val="accent2"/>
              </a:solidFill>
              <a:prstDash val="dash"/>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44371" tIns="44371" rIns="44371" bIns="44371" rtlCol="0" anchor="ctr"/>
            <a:lstStyle/>
            <a:p>
              <a:pPr algn="l"/>
              <a:endParaRPr lang="en-GB" sz="1400" dirty="0">
                <a:solidFill>
                  <a:schemeClr val="bg1"/>
                </a:solidFill>
              </a:endParaRPr>
            </a:p>
          </p:txBody>
        </p:sp>
      </p:grpSp>
      <p:sp>
        <p:nvSpPr>
          <p:cNvPr id="23" name="矩形: 圆角 22">
            <a:extLst>
              <a:ext uri="{FF2B5EF4-FFF2-40B4-BE49-F238E27FC236}">
                <a16:creationId xmlns:a16="http://schemas.microsoft.com/office/drawing/2014/main" id="{C42D7144-9BCF-4A34-80A9-B62CD682B103}"/>
              </a:ext>
            </a:extLst>
          </p:cNvPr>
          <p:cNvSpPr/>
          <p:nvPr/>
        </p:nvSpPr>
        <p:spPr>
          <a:xfrm>
            <a:off x="903548" y="1533042"/>
            <a:ext cx="10384901" cy="4967037"/>
          </a:xfrm>
          <a:prstGeom prst="roundRect">
            <a:avLst>
              <a:gd name="adj" fmla="val 0"/>
            </a:avLst>
          </a:prstGeom>
          <a:noFill/>
          <a:ln w="19050">
            <a:noFill/>
          </a:ln>
        </p:spPr>
        <p:style>
          <a:lnRef idx="1">
            <a:schemeClr val="accent1"/>
          </a:lnRef>
          <a:fillRef idx="0">
            <a:schemeClr val="accent1"/>
          </a:fillRef>
          <a:effectRef idx="0">
            <a:schemeClr val="accent1"/>
          </a:effectRef>
          <a:fontRef idx="minor">
            <a:schemeClr val="tx1"/>
          </a:fontRef>
        </p:style>
        <p:txBody>
          <a:bodyPr wrap="square" rtlCol="0" anchor="t"/>
          <a:lstStyle/>
          <a:p>
            <a:pPr marL="285750" indent="-285750">
              <a:lnSpc>
                <a:spcPct val="150000"/>
              </a:lnSpc>
              <a:spcBef>
                <a:spcPts val="600"/>
              </a:spcBef>
              <a:buFont typeface="Arial" panose="020B0604020202020204" pitchFamily="34" charset="0"/>
              <a:buChar char="•"/>
            </a:pPr>
            <a:r>
              <a:rPr kumimoji="1" lang="zh-CN" altLang="en-US" sz="1400" b="1" dirty="0">
                <a:solidFill>
                  <a:srgbClr val="1A1918"/>
                </a:solidFill>
                <a:latin typeface="微软雅黑" panose="020B0503020204020204" pitchFamily="34" charset="-122"/>
                <a:ea typeface="微软雅黑" panose="020B0503020204020204" pitchFamily="34" charset="-122"/>
              </a:rPr>
              <a:t>通用名：</a:t>
            </a:r>
            <a:r>
              <a:rPr kumimoji="1" lang="zh-CN" altLang="en-US" sz="1400" dirty="0">
                <a:solidFill>
                  <a:srgbClr val="1A1918"/>
                </a:solidFill>
                <a:latin typeface="微软雅黑" panose="020B0503020204020204" pitchFamily="34" charset="-122"/>
                <a:ea typeface="微软雅黑" panose="020B0503020204020204" pitchFamily="34" charset="-122"/>
              </a:rPr>
              <a:t>注射用维拉苷酶</a:t>
            </a:r>
            <a:r>
              <a:rPr kumimoji="1" lang="en-US" altLang="zh-CN" sz="1400" dirty="0">
                <a:solidFill>
                  <a:srgbClr val="1A1918"/>
                </a:solidFill>
                <a:latin typeface="微软雅黑" panose="020B0503020204020204" pitchFamily="34" charset="-122"/>
                <a:ea typeface="微软雅黑" panose="020B0503020204020204" pitchFamily="34" charset="-122"/>
              </a:rPr>
              <a:t>α</a:t>
            </a:r>
          </a:p>
          <a:p>
            <a:pPr marL="285750" indent="-285750">
              <a:lnSpc>
                <a:spcPct val="150000"/>
              </a:lnSpc>
              <a:spcBef>
                <a:spcPts val="600"/>
              </a:spcBef>
              <a:buFont typeface="Arial" panose="020B0604020202020204" pitchFamily="34" charset="0"/>
              <a:buChar char="•"/>
            </a:pPr>
            <a:r>
              <a:rPr kumimoji="1" lang="zh-CN" altLang="en-US" sz="1400" b="1" dirty="0">
                <a:solidFill>
                  <a:srgbClr val="1A1918"/>
                </a:solidFill>
                <a:latin typeface="微软雅黑" panose="020B0503020204020204" pitchFamily="34" charset="-122"/>
                <a:ea typeface="微软雅黑" panose="020B0503020204020204" pitchFamily="34" charset="-122"/>
              </a:rPr>
              <a:t>注册规格：</a:t>
            </a:r>
            <a:r>
              <a:rPr kumimoji="1" lang="en-US" altLang="zh-CN" sz="1400" dirty="0">
                <a:solidFill>
                  <a:srgbClr val="1A1918"/>
                </a:solidFill>
                <a:latin typeface="微软雅黑" panose="020B0503020204020204" pitchFamily="34" charset="-122"/>
                <a:ea typeface="微软雅黑" panose="020B0503020204020204" pitchFamily="34" charset="-122"/>
              </a:rPr>
              <a:t>400U/</a:t>
            </a:r>
            <a:r>
              <a:rPr kumimoji="1" lang="zh-CN" altLang="en-US" sz="1400" dirty="0">
                <a:solidFill>
                  <a:srgbClr val="1A1918"/>
                </a:solidFill>
                <a:latin typeface="微软雅黑" panose="020B0503020204020204" pitchFamily="34" charset="-122"/>
                <a:ea typeface="微软雅黑" panose="020B0503020204020204" pitchFamily="34" charset="-122"/>
              </a:rPr>
              <a:t>瓶</a:t>
            </a:r>
            <a:endParaRPr kumimoji="1" lang="en-US" altLang="zh-CN" sz="1400" dirty="0">
              <a:solidFill>
                <a:srgbClr val="1A1918"/>
              </a:solidFill>
              <a:latin typeface="微软雅黑" panose="020B0503020204020204" pitchFamily="34" charset="-122"/>
              <a:ea typeface="微软雅黑" panose="020B0503020204020204" pitchFamily="34" charset="-122"/>
            </a:endParaRPr>
          </a:p>
          <a:p>
            <a:pPr marL="285750" indent="-285750">
              <a:lnSpc>
                <a:spcPct val="150000"/>
              </a:lnSpc>
              <a:spcBef>
                <a:spcPts val="600"/>
              </a:spcBef>
              <a:buFont typeface="Arial" panose="020B0604020202020204" pitchFamily="34" charset="0"/>
              <a:buChar char="•"/>
            </a:pPr>
            <a:r>
              <a:rPr kumimoji="1" lang="zh-CN" altLang="en-US" sz="1400" b="1" dirty="0">
                <a:solidFill>
                  <a:srgbClr val="1A1918"/>
                </a:solidFill>
                <a:latin typeface="微软雅黑" panose="020B0503020204020204" pitchFamily="34" charset="-122"/>
                <a:ea typeface="微软雅黑" panose="020B0503020204020204" pitchFamily="34" charset="-122"/>
              </a:rPr>
              <a:t>说明书适应症：</a:t>
            </a:r>
            <a:r>
              <a:rPr kumimoji="1" lang="zh-CN" altLang="en-US" sz="1400" dirty="0">
                <a:solidFill>
                  <a:srgbClr val="1A1918"/>
                </a:solidFill>
                <a:latin typeface="微软雅黑" panose="020B0503020204020204" pitchFamily="34" charset="-122"/>
                <a:ea typeface="微软雅黑" panose="020B0503020204020204" pitchFamily="34" charset="-122"/>
              </a:rPr>
              <a:t>适用于</a:t>
            </a:r>
            <a:r>
              <a:rPr kumimoji="1" lang="en-US" altLang="zh-CN" sz="1400" dirty="0">
                <a:solidFill>
                  <a:srgbClr val="1A1918"/>
                </a:solidFill>
                <a:latin typeface="微软雅黑" panose="020B0503020204020204" pitchFamily="34" charset="-122"/>
                <a:ea typeface="微软雅黑" panose="020B0503020204020204" pitchFamily="34" charset="-122"/>
              </a:rPr>
              <a:t>1</a:t>
            </a:r>
            <a:r>
              <a:rPr kumimoji="1" lang="zh-CN" altLang="en-US" sz="1400" dirty="0">
                <a:solidFill>
                  <a:srgbClr val="1A1918"/>
                </a:solidFill>
                <a:latin typeface="微软雅黑" panose="020B0503020204020204" pitchFamily="34" charset="-122"/>
                <a:ea typeface="微软雅黑" panose="020B0503020204020204" pitchFamily="34" charset="-122"/>
              </a:rPr>
              <a:t>型戈谢病患者的长期酶替代治疗（</a:t>
            </a:r>
            <a:r>
              <a:rPr kumimoji="1" lang="en-US" altLang="zh-CN" sz="1400" dirty="0">
                <a:solidFill>
                  <a:srgbClr val="1A1918"/>
                </a:solidFill>
                <a:latin typeface="微软雅黑" panose="020B0503020204020204" pitchFamily="34" charset="-122"/>
                <a:ea typeface="微软雅黑" panose="020B0503020204020204" pitchFamily="34" charset="-122"/>
              </a:rPr>
              <a:t>ERT</a:t>
            </a:r>
            <a:r>
              <a:rPr kumimoji="1" lang="zh-CN" altLang="en-US" sz="1400" dirty="0">
                <a:solidFill>
                  <a:srgbClr val="1A1918"/>
                </a:solidFill>
                <a:latin typeface="微软雅黑" panose="020B0503020204020204" pitchFamily="34" charset="-122"/>
                <a:ea typeface="微软雅黑" panose="020B0503020204020204" pitchFamily="34" charset="-122"/>
              </a:rPr>
              <a:t>）</a:t>
            </a:r>
            <a:endParaRPr kumimoji="1" lang="en-US" altLang="zh-CN" sz="1400" dirty="0">
              <a:solidFill>
                <a:srgbClr val="1A1918"/>
              </a:solidFill>
              <a:latin typeface="微软雅黑" panose="020B0503020204020204" pitchFamily="34" charset="-122"/>
              <a:ea typeface="微软雅黑" panose="020B0503020204020204" pitchFamily="34" charset="-122"/>
            </a:endParaRPr>
          </a:p>
          <a:p>
            <a:pPr marL="285750" indent="-285750">
              <a:lnSpc>
                <a:spcPct val="150000"/>
              </a:lnSpc>
              <a:spcBef>
                <a:spcPts val="600"/>
              </a:spcBef>
              <a:buFont typeface="Arial" panose="020B0604020202020204" pitchFamily="34" charset="0"/>
              <a:buChar char="•"/>
            </a:pPr>
            <a:r>
              <a:rPr kumimoji="1" lang="zh-CN" altLang="en-US" sz="1400" b="1" dirty="0">
                <a:solidFill>
                  <a:srgbClr val="1A1918"/>
                </a:solidFill>
                <a:latin typeface="微软雅黑" panose="020B0503020204020204" pitchFamily="34" charset="-122"/>
                <a:ea typeface="微软雅黑" panose="020B0503020204020204" pitchFamily="34" charset="-122"/>
              </a:rPr>
              <a:t>用法用量：</a:t>
            </a:r>
            <a:r>
              <a:rPr kumimoji="1" lang="zh-CN" altLang="en-US" sz="1400" dirty="0">
                <a:solidFill>
                  <a:srgbClr val="1A1918"/>
                </a:solidFill>
                <a:latin typeface="微软雅黑" panose="020B0503020204020204" pitchFamily="34" charset="-122"/>
                <a:ea typeface="微软雅黑" panose="020B0503020204020204" pitchFamily="34" charset="-122"/>
              </a:rPr>
              <a:t>静脉滴注给药，</a:t>
            </a:r>
            <a:r>
              <a:rPr kumimoji="1" lang="zh-CN" altLang="en-US" sz="1400" dirty="0">
                <a:latin typeface="微软雅黑" panose="020B0503020204020204" pitchFamily="34" charset="-122"/>
                <a:ea typeface="微软雅黑" panose="020B0503020204020204" pitchFamily="34" charset="-122"/>
              </a:rPr>
              <a:t>经临床试验验证的剂量范围为</a:t>
            </a:r>
            <a:r>
              <a:rPr kumimoji="1" lang="en-US" altLang="zh-CN" sz="1400" dirty="0">
                <a:latin typeface="微软雅黑" panose="020B0503020204020204" pitchFamily="34" charset="-122"/>
                <a:ea typeface="微软雅黑" panose="020B0503020204020204" pitchFamily="34" charset="-122"/>
              </a:rPr>
              <a:t>15-60U/kg</a:t>
            </a:r>
            <a:r>
              <a:rPr kumimoji="1" lang="en-US" altLang="zh-CN" sz="1400" b="1" dirty="0">
                <a:solidFill>
                  <a:srgbClr val="1A1918"/>
                </a:solidFill>
                <a:latin typeface="微软雅黑" panose="020B0503020204020204" pitchFamily="34" charset="-122"/>
                <a:ea typeface="微软雅黑" panose="020B0503020204020204" pitchFamily="34" charset="-122"/>
              </a:rPr>
              <a:t>; </a:t>
            </a:r>
            <a:r>
              <a:rPr kumimoji="1" lang="zh-CN" altLang="en-US" sz="1400" dirty="0">
                <a:solidFill>
                  <a:srgbClr val="1A1918"/>
                </a:solidFill>
                <a:latin typeface="微软雅黑" panose="020B0503020204020204" pitchFamily="34" charset="-122"/>
                <a:ea typeface="微软雅黑" panose="020B0503020204020204" pitchFamily="34" charset="-122"/>
              </a:rPr>
              <a:t>剂量可根据每例患者治疗目标的达成和维持情况进行调整</a:t>
            </a:r>
            <a:endParaRPr kumimoji="1" lang="en-US" altLang="zh-CN" sz="1400" dirty="0">
              <a:solidFill>
                <a:srgbClr val="1A1918"/>
              </a:solidFill>
              <a:latin typeface="微软雅黑" panose="020B0503020204020204" pitchFamily="34" charset="-122"/>
              <a:ea typeface="微软雅黑" panose="020B0503020204020204" pitchFamily="34" charset="-122"/>
            </a:endParaRPr>
          </a:p>
          <a:p>
            <a:pPr marL="285750" indent="-285750">
              <a:lnSpc>
                <a:spcPct val="150000"/>
              </a:lnSpc>
              <a:spcBef>
                <a:spcPts val="600"/>
              </a:spcBef>
              <a:buFont typeface="Arial" panose="020B0604020202020204" pitchFamily="34" charset="0"/>
              <a:buChar char="•"/>
            </a:pPr>
            <a:r>
              <a:rPr kumimoji="1" lang="zh-CN" altLang="en-US" sz="1400" b="1" dirty="0">
                <a:solidFill>
                  <a:srgbClr val="1A1918"/>
                </a:solidFill>
                <a:latin typeface="微软雅黑" panose="020B0503020204020204" pitchFamily="34" charset="-122"/>
                <a:ea typeface="微软雅黑" panose="020B0503020204020204" pitchFamily="34" charset="-122"/>
              </a:rPr>
              <a:t>中国大陆首次上市时间：</a:t>
            </a:r>
            <a:r>
              <a:rPr kumimoji="1" lang="en-US" altLang="zh-CN" sz="1400" dirty="0">
                <a:solidFill>
                  <a:srgbClr val="1A1918"/>
                </a:solidFill>
                <a:latin typeface="微软雅黑" panose="020B0503020204020204" pitchFamily="34" charset="-122"/>
                <a:ea typeface="微软雅黑" panose="020B0503020204020204" pitchFamily="34" charset="-122"/>
              </a:rPr>
              <a:t>2021</a:t>
            </a:r>
            <a:r>
              <a:rPr kumimoji="1" lang="zh-CN" altLang="en-US" sz="1400" dirty="0">
                <a:solidFill>
                  <a:srgbClr val="1A1918"/>
                </a:solidFill>
                <a:latin typeface="微软雅黑" panose="020B0503020204020204" pitchFamily="34" charset="-122"/>
                <a:ea typeface="微软雅黑" panose="020B0503020204020204" pitchFamily="34" charset="-122"/>
              </a:rPr>
              <a:t>年</a:t>
            </a:r>
            <a:r>
              <a:rPr kumimoji="1" lang="en-US" altLang="zh-CN" sz="1400" dirty="0">
                <a:solidFill>
                  <a:srgbClr val="1A1918"/>
                </a:solidFill>
                <a:latin typeface="微软雅黑" panose="020B0503020204020204" pitchFamily="34" charset="-122"/>
                <a:ea typeface="微软雅黑" panose="020B0503020204020204" pitchFamily="34" charset="-122"/>
              </a:rPr>
              <a:t>4</a:t>
            </a:r>
            <a:r>
              <a:rPr kumimoji="1" lang="zh-CN" altLang="en-US" sz="1400" dirty="0">
                <a:solidFill>
                  <a:srgbClr val="1A1918"/>
                </a:solidFill>
                <a:latin typeface="微软雅黑" panose="020B0503020204020204" pitchFamily="34" charset="-122"/>
                <a:ea typeface="微软雅黑" panose="020B0503020204020204" pitchFamily="34" charset="-122"/>
              </a:rPr>
              <a:t>月</a:t>
            </a:r>
            <a:r>
              <a:rPr kumimoji="1" lang="en-US" altLang="zh-CN" sz="1400" dirty="0">
                <a:solidFill>
                  <a:srgbClr val="1A1918"/>
                </a:solidFill>
                <a:latin typeface="微软雅黑" panose="020B0503020204020204" pitchFamily="34" charset="-122"/>
                <a:ea typeface="微软雅黑" panose="020B0503020204020204" pitchFamily="34" charset="-122"/>
              </a:rPr>
              <a:t>27</a:t>
            </a:r>
            <a:r>
              <a:rPr kumimoji="1" lang="zh-CN" altLang="en-US" sz="1400" dirty="0">
                <a:solidFill>
                  <a:srgbClr val="1A1918"/>
                </a:solidFill>
                <a:latin typeface="微软雅黑" panose="020B0503020204020204" pitchFamily="34" charset="-122"/>
                <a:ea typeface="微软雅黑" panose="020B0503020204020204" pitchFamily="34" charset="-122"/>
              </a:rPr>
              <a:t>日</a:t>
            </a:r>
            <a:endParaRPr kumimoji="1" lang="en-US" altLang="zh-CN" sz="1400" dirty="0">
              <a:solidFill>
                <a:srgbClr val="1A1918"/>
              </a:solidFill>
              <a:latin typeface="微软雅黑" panose="020B0503020204020204" pitchFamily="34" charset="-122"/>
              <a:ea typeface="微软雅黑" panose="020B0503020204020204" pitchFamily="34" charset="-122"/>
            </a:endParaRPr>
          </a:p>
          <a:p>
            <a:pPr marL="285750" indent="-285750">
              <a:lnSpc>
                <a:spcPct val="150000"/>
              </a:lnSpc>
              <a:spcBef>
                <a:spcPts val="600"/>
              </a:spcBef>
              <a:buFont typeface="Arial" panose="020B0604020202020204" pitchFamily="34" charset="0"/>
              <a:buChar char="•"/>
            </a:pPr>
            <a:r>
              <a:rPr kumimoji="1" lang="zh-CN" altLang="en-US" sz="1400" b="1" dirty="0">
                <a:solidFill>
                  <a:srgbClr val="1A1918"/>
                </a:solidFill>
                <a:latin typeface="微软雅黑" panose="020B0503020204020204" pitchFamily="34" charset="-122"/>
                <a:ea typeface="微软雅黑" panose="020B0503020204020204" pitchFamily="34" charset="-122"/>
              </a:rPr>
              <a:t>目前大陆地区同通用名药品的上市情况：</a:t>
            </a:r>
            <a:r>
              <a:rPr kumimoji="1" lang="zh-CN" altLang="en-US" sz="1400" dirty="0">
                <a:latin typeface="微软雅黑" panose="020B0503020204020204" pitchFamily="34" charset="-122"/>
                <a:ea typeface="微软雅黑" panose="020B0503020204020204" pitchFamily="34" charset="-122"/>
              </a:rPr>
              <a:t>无                   </a:t>
            </a:r>
            <a:r>
              <a:rPr kumimoji="1" lang="zh-CN" altLang="en-US" sz="1400" b="1" dirty="0">
                <a:solidFill>
                  <a:srgbClr val="1A1918"/>
                </a:solidFill>
                <a:latin typeface="微软雅黑" panose="020B0503020204020204" pitchFamily="34" charset="-122"/>
                <a:ea typeface="微软雅黑" panose="020B0503020204020204" pitchFamily="34" charset="-122"/>
              </a:rPr>
              <a:t>全球首个上市国家</a:t>
            </a:r>
            <a:r>
              <a:rPr kumimoji="1" lang="en-US" altLang="zh-CN" sz="1400" b="1" dirty="0">
                <a:solidFill>
                  <a:srgbClr val="1A1918"/>
                </a:solidFill>
                <a:latin typeface="微软雅黑" panose="020B0503020204020204" pitchFamily="34" charset="-122"/>
                <a:ea typeface="微软雅黑" panose="020B0503020204020204" pitchFamily="34" charset="-122"/>
              </a:rPr>
              <a:t>/</a:t>
            </a:r>
            <a:r>
              <a:rPr kumimoji="1" lang="zh-CN" altLang="en-US" sz="1400" b="1" dirty="0">
                <a:solidFill>
                  <a:srgbClr val="1A1918"/>
                </a:solidFill>
                <a:latin typeface="微软雅黑" panose="020B0503020204020204" pitchFamily="34" charset="-122"/>
                <a:ea typeface="微软雅黑" panose="020B0503020204020204" pitchFamily="34" charset="-122"/>
              </a:rPr>
              <a:t>地区及上市时间：</a:t>
            </a:r>
            <a:r>
              <a:rPr kumimoji="1" lang="zh-CN" altLang="en-US" sz="1400" dirty="0">
                <a:solidFill>
                  <a:srgbClr val="1A1918"/>
                </a:solidFill>
                <a:latin typeface="微软雅黑" panose="020B0503020204020204" pitchFamily="34" charset="-122"/>
                <a:ea typeface="微软雅黑" panose="020B0503020204020204" pitchFamily="34" charset="-122"/>
              </a:rPr>
              <a:t>美国，</a:t>
            </a:r>
            <a:r>
              <a:rPr kumimoji="1" lang="en-US" altLang="zh-CN" sz="1400" dirty="0">
                <a:solidFill>
                  <a:srgbClr val="1A1918"/>
                </a:solidFill>
                <a:latin typeface="微软雅黑" panose="020B0503020204020204" pitchFamily="34" charset="-122"/>
                <a:ea typeface="微软雅黑" panose="020B0503020204020204" pitchFamily="34" charset="-122"/>
              </a:rPr>
              <a:t>2010</a:t>
            </a:r>
            <a:r>
              <a:rPr kumimoji="1" lang="zh-CN" altLang="en-US" sz="1400" dirty="0">
                <a:solidFill>
                  <a:srgbClr val="1A1918"/>
                </a:solidFill>
                <a:latin typeface="微软雅黑" panose="020B0503020204020204" pitchFamily="34" charset="-122"/>
                <a:ea typeface="微软雅黑" panose="020B0503020204020204" pitchFamily="34" charset="-122"/>
              </a:rPr>
              <a:t>年</a:t>
            </a:r>
            <a:r>
              <a:rPr kumimoji="1" lang="en-US" altLang="zh-CN" sz="1400" dirty="0">
                <a:solidFill>
                  <a:srgbClr val="1A1918"/>
                </a:solidFill>
                <a:latin typeface="微软雅黑" panose="020B0503020204020204" pitchFamily="34" charset="-122"/>
                <a:ea typeface="微软雅黑" panose="020B0503020204020204" pitchFamily="34" charset="-122"/>
              </a:rPr>
              <a:t>2</a:t>
            </a:r>
            <a:r>
              <a:rPr kumimoji="1" lang="zh-CN" altLang="en-US" sz="1400" dirty="0">
                <a:solidFill>
                  <a:srgbClr val="1A1918"/>
                </a:solidFill>
                <a:latin typeface="微软雅黑" panose="020B0503020204020204" pitchFamily="34" charset="-122"/>
                <a:ea typeface="微软雅黑" panose="020B0503020204020204" pitchFamily="34" charset="-122"/>
              </a:rPr>
              <a:t>月</a:t>
            </a:r>
            <a:r>
              <a:rPr kumimoji="1" lang="en-US" altLang="zh-CN" sz="1400" dirty="0">
                <a:solidFill>
                  <a:srgbClr val="1A1918"/>
                </a:solidFill>
                <a:latin typeface="微软雅黑" panose="020B0503020204020204" pitchFamily="34" charset="-122"/>
                <a:ea typeface="微软雅黑" panose="020B0503020204020204" pitchFamily="34" charset="-122"/>
              </a:rPr>
              <a:t>26</a:t>
            </a:r>
            <a:r>
              <a:rPr kumimoji="1" lang="zh-CN" altLang="en-US" sz="1400" dirty="0">
                <a:solidFill>
                  <a:srgbClr val="1A1918"/>
                </a:solidFill>
                <a:latin typeface="微软雅黑" panose="020B0503020204020204" pitchFamily="34" charset="-122"/>
                <a:ea typeface="微软雅黑" panose="020B0503020204020204" pitchFamily="34" charset="-122"/>
              </a:rPr>
              <a:t>日 </a:t>
            </a:r>
            <a:endParaRPr kumimoji="1" lang="en-US" altLang="zh-CN" sz="1400" dirty="0">
              <a:latin typeface="微软雅黑" panose="020B0503020204020204" pitchFamily="34" charset="-122"/>
              <a:ea typeface="微软雅黑" panose="020B0503020204020204" pitchFamily="34" charset="-122"/>
            </a:endParaRPr>
          </a:p>
          <a:p>
            <a:pPr marL="285750" indent="-285750">
              <a:lnSpc>
                <a:spcPct val="150000"/>
              </a:lnSpc>
              <a:spcBef>
                <a:spcPts val="600"/>
              </a:spcBef>
              <a:buFont typeface="Arial" panose="020B0604020202020204" pitchFamily="34" charset="0"/>
              <a:buChar char="•"/>
            </a:pPr>
            <a:r>
              <a:rPr kumimoji="1" lang="zh-CN" altLang="en-US" sz="1400" b="1" dirty="0">
                <a:solidFill>
                  <a:srgbClr val="1A1918"/>
                </a:solidFill>
                <a:latin typeface="微软雅黑" panose="020B0503020204020204" pitchFamily="34" charset="-122"/>
                <a:ea typeface="微软雅黑" panose="020B0503020204020204" pitchFamily="34" charset="-122"/>
              </a:rPr>
              <a:t>是否为</a:t>
            </a:r>
            <a:r>
              <a:rPr kumimoji="1" lang="en-US" altLang="zh-CN" sz="1400" b="1" dirty="0">
                <a:solidFill>
                  <a:srgbClr val="1A1918"/>
                </a:solidFill>
                <a:latin typeface="微软雅黑" panose="020B0503020204020204" pitchFamily="34" charset="-122"/>
                <a:ea typeface="微软雅黑" panose="020B0503020204020204" pitchFamily="34" charset="-122"/>
              </a:rPr>
              <a:t>OTC</a:t>
            </a:r>
            <a:r>
              <a:rPr kumimoji="1" lang="zh-CN" altLang="en-US" sz="1400" b="1" dirty="0">
                <a:solidFill>
                  <a:srgbClr val="1A1918"/>
                </a:solidFill>
                <a:latin typeface="微软雅黑" panose="020B0503020204020204" pitchFamily="34" charset="-122"/>
                <a:ea typeface="微软雅黑" panose="020B0503020204020204" pitchFamily="34" charset="-122"/>
              </a:rPr>
              <a:t>药品：</a:t>
            </a:r>
            <a:r>
              <a:rPr kumimoji="1" lang="zh-CN" altLang="en-US" sz="1400" dirty="0">
                <a:solidFill>
                  <a:srgbClr val="1A1918"/>
                </a:solidFill>
                <a:latin typeface="微软雅黑" panose="020B0503020204020204" pitchFamily="34" charset="-122"/>
                <a:ea typeface="微软雅黑" panose="020B0503020204020204" pitchFamily="34" charset="-122"/>
              </a:rPr>
              <a:t>否                                                     </a:t>
            </a:r>
            <a:r>
              <a:rPr kumimoji="1" lang="zh-CN" altLang="en-US" sz="1400" b="1" dirty="0">
                <a:solidFill>
                  <a:srgbClr val="1A1918"/>
                </a:solidFill>
                <a:latin typeface="微软雅黑" panose="020B0503020204020204" pitchFamily="34" charset="-122"/>
                <a:ea typeface="微软雅黑" panose="020B0503020204020204" pitchFamily="34" charset="-122"/>
              </a:rPr>
              <a:t>参照药品建议：</a:t>
            </a:r>
            <a:r>
              <a:rPr kumimoji="1" lang="zh-CN" altLang="en-US" sz="1400" dirty="0">
                <a:solidFill>
                  <a:srgbClr val="1A1918"/>
                </a:solidFill>
                <a:latin typeface="微软雅黑" panose="020B0503020204020204" pitchFamily="34" charset="-122"/>
                <a:ea typeface="微软雅黑" panose="020B0503020204020204" pitchFamily="34" charset="-122"/>
              </a:rPr>
              <a:t>无参照药物</a:t>
            </a:r>
            <a:endParaRPr kumimoji="1" lang="en-US" altLang="zh-CN" sz="1400" dirty="0">
              <a:solidFill>
                <a:srgbClr val="1A1918"/>
              </a:solidFill>
              <a:latin typeface="微软雅黑" panose="020B0503020204020204" pitchFamily="34" charset="-122"/>
              <a:ea typeface="微软雅黑" panose="020B0503020204020204" pitchFamily="34" charset="-122"/>
            </a:endParaRPr>
          </a:p>
          <a:p>
            <a:pPr marL="285750" indent="-285750">
              <a:lnSpc>
                <a:spcPct val="150000"/>
              </a:lnSpc>
              <a:buFont typeface="Arial" panose="020B0604020202020204" pitchFamily="34" charset="0"/>
              <a:buChar char="•"/>
            </a:pPr>
            <a:r>
              <a:rPr kumimoji="1" lang="zh-CN" altLang="en-US" sz="1400" b="1" dirty="0">
                <a:solidFill>
                  <a:srgbClr val="1A1918"/>
                </a:solidFill>
                <a:latin typeface="微软雅黑" panose="020B0503020204020204" pitchFamily="34" charset="-122"/>
                <a:ea typeface="微软雅黑" panose="020B0503020204020204" pitchFamily="34" charset="-122"/>
              </a:rPr>
              <a:t>与已上市的同治疗领域药物相比的优势：</a:t>
            </a:r>
            <a:endParaRPr kumimoji="1" lang="en-US" altLang="zh-CN" sz="1400" b="1" dirty="0">
              <a:solidFill>
                <a:srgbClr val="1A1918"/>
              </a:solidFill>
              <a:latin typeface="微软雅黑" panose="020B0503020204020204" pitchFamily="34" charset="-122"/>
              <a:ea typeface="微软雅黑" panose="020B0503020204020204" pitchFamily="34" charset="-122"/>
            </a:endParaRPr>
          </a:p>
          <a:p>
            <a:pPr marL="540000" indent="-285750">
              <a:lnSpc>
                <a:spcPct val="150000"/>
              </a:lnSpc>
              <a:buFont typeface="微软雅黑" panose="020B0503020204020204" pitchFamily="34" charset="-122"/>
              <a:buChar char="−"/>
            </a:pPr>
            <a:r>
              <a:rPr kumimoji="1" lang="zh-CN" altLang="en-US" sz="1400" b="1" dirty="0">
                <a:solidFill>
                  <a:srgbClr val="1A1918"/>
                </a:solidFill>
                <a:latin typeface="微软雅黑" panose="020B0503020204020204" pitchFamily="34" charset="-122"/>
                <a:ea typeface="微软雅黑" panose="020B0503020204020204" pitchFamily="34" charset="-122"/>
              </a:rPr>
              <a:t>对比伊米苷酶（医保目录外产品</a:t>
            </a:r>
            <a:r>
              <a:rPr kumimoji="1" lang="en-US" altLang="zh-CN" sz="1400" b="1" dirty="0">
                <a:solidFill>
                  <a:srgbClr val="1A1918"/>
                </a:solidFill>
                <a:latin typeface="微软雅黑" panose="020B0503020204020204" pitchFamily="34" charset="-122"/>
                <a:ea typeface="微软雅黑" panose="020B0503020204020204" pitchFamily="34" charset="-122"/>
              </a:rPr>
              <a:t>)</a:t>
            </a:r>
            <a:r>
              <a:rPr kumimoji="1" lang="zh-CN" altLang="en-US" sz="1400" dirty="0">
                <a:solidFill>
                  <a:srgbClr val="1A1918"/>
                </a:solidFill>
                <a:latin typeface="微软雅黑" panose="020B0503020204020204" pitchFamily="34" charset="-122"/>
                <a:ea typeface="微软雅黑" panose="020B0503020204020204" pitchFamily="34" charset="-122"/>
              </a:rPr>
              <a:t>：</a:t>
            </a:r>
            <a:r>
              <a:rPr kumimoji="1" lang="en-US" altLang="zh-CN" sz="1400" dirty="0">
                <a:solidFill>
                  <a:srgbClr val="1A1918"/>
                </a:solidFill>
                <a:latin typeface="微软雅黑" panose="020B0503020204020204" pitchFamily="34" charset="-122"/>
                <a:ea typeface="微软雅黑" panose="020B0503020204020204" pitchFamily="34" charset="-122"/>
              </a:rPr>
              <a:t>1) </a:t>
            </a:r>
            <a:r>
              <a:rPr kumimoji="1" lang="zh-CN" altLang="en-US" sz="1400" dirty="0">
                <a:solidFill>
                  <a:srgbClr val="1A1918"/>
                </a:solidFill>
                <a:latin typeface="微软雅黑" panose="020B0503020204020204" pitchFamily="34" charset="-122"/>
                <a:ea typeface="微软雅黑" panose="020B0503020204020204" pitchFamily="34" charset="-122"/>
              </a:rPr>
              <a:t>维拉苷酶</a:t>
            </a:r>
            <a:r>
              <a:rPr kumimoji="1" lang="el-GR" altLang="zh-CN" sz="1400" dirty="0">
                <a:solidFill>
                  <a:srgbClr val="1A1918"/>
                </a:solidFill>
                <a:latin typeface="微软雅黑" panose="020B0503020204020204" pitchFamily="34" charset="-122"/>
                <a:ea typeface="微软雅黑" panose="020B0503020204020204" pitchFamily="34" charset="-122"/>
              </a:rPr>
              <a:t>α</a:t>
            </a:r>
            <a:r>
              <a:rPr kumimoji="1" lang="zh-CN" altLang="en-US" sz="1400" dirty="0">
                <a:solidFill>
                  <a:srgbClr val="1A1918"/>
                </a:solidFill>
                <a:latin typeface="微软雅黑" panose="020B0503020204020204" pitchFamily="34" charset="-122"/>
                <a:ea typeface="微软雅黑" panose="020B0503020204020204" pitchFamily="34" charset="-122"/>
              </a:rPr>
              <a:t>是</a:t>
            </a:r>
            <a:r>
              <a:rPr kumimoji="1" lang="zh-CN" altLang="en-US" sz="1400" dirty="0">
                <a:latin typeface="微软雅黑" panose="020B0503020204020204" pitchFamily="34" charset="-122"/>
                <a:ea typeface="微软雅黑" panose="020B0503020204020204" pitchFamily="34" charset="-122"/>
              </a:rPr>
              <a:t>唯一在人细胞系中生产的酶替代治疗药物</a:t>
            </a:r>
            <a:r>
              <a:rPr kumimoji="1" lang="zh-CN" altLang="en-US" sz="1400" dirty="0">
                <a:solidFill>
                  <a:srgbClr val="1A1918"/>
                </a:solidFill>
                <a:latin typeface="微软雅黑" panose="020B0503020204020204" pitchFamily="34" charset="-122"/>
                <a:ea typeface="微软雅黑" panose="020B0503020204020204" pitchFamily="34" charset="-122"/>
              </a:rPr>
              <a:t>，免疫原性低；</a:t>
            </a:r>
            <a:r>
              <a:rPr kumimoji="1" lang="en-US" altLang="zh-CN" sz="1400" dirty="0">
                <a:latin typeface="微软雅黑" panose="020B0503020204020204" pitchFamily="34" charset="-122"/>
                <a:ea typeface="微软雅黑" panose="020B0503020204020204" pitchFamily="34" charset="-122"/>
              </a:rPr>
              <a:t>2) </a:t>
            </a:r>
            <a:r>
              <a:rPr kumimoji="1" lang="zh-CN" altLang="en-US" sz="1400" dirty="0">
                <a:latin typeface="微软雅黑" panose="020B0503020204020204" pitchFamily="34" charset="-122"/>
                <a:ea typeface="微软雅黑" panose="020B0503020204020204" pitchFamily="34" charset="-122"/>
              </a:rPr>
              <a:t>上市价格及年治疗费用更低；</a:t>
            </a:r>
            <a:r>
              <a:rPr kumimoji="1" lang="en-US" altLang="zh-CN" sz="1400" dirty="0">
                <a:latin typeface="微软雅黑" panose="020B0503020204020204" pitchFamily="34" charset="-122"/>
                <a:ea typeface="微软雅黑" panose="020B0503020204020204" pitchFamily="34" charset="-122"/>
              </a:rPr>
              <a:t>3)</a:t>
            </a:r>
            <a:r>
              <a:rPr kumimoji="1" lang="zh-CN" altLang="en-US" sz="1400" dirty="0">
                <a:latin typeface="微软雅黑" panose="020B0503020204020204" pitchFamily="34" charset="-122"/>
                <a:ea typeface="微软雅黑" panose="020B0503020204020204" pitchFamily="34" charset="-122"/>
              </a:rPr>
              <a:t>对于初治的患者与伊米苷酶效果相当，对从伊米苷酶转换至维拉苷酶</a:t>
            </a:r>
            <a:r>
              <a:rPr kumimoji="1" lang="en-US" altLang="zh-CN" sz="1400" dirty="0">
                <a:latin typeface="微软雅黑" panose="020B0503020204020204" pitchFamily="34" charset="-122"/>
                <a:ea typeface="微软雅黑" panose="020B0503020204020204" pitchFamily="34" charset="-122"/>
              </a:rPr>
              <a:t>α</a:t>
            </a:r>
            <a:r>
              <a:rPr kumimoji="1" lang="zh-CN" altLang="en-US" sz="1400" dirty="0">
                <a:latin typeface="微软雅黑" panose="020B0503020204020204" pitchFamily="34" charset="-122"/>
                <a:ea typeface="微软雅黑" panose="020B0503020204020204" pitchFamily="34" charset="-122"/>
              </a:rPr>
              <a:t>的患者存在“增强效应”，患者临床参数进一步改善。</a:t>
            </a:r>
            <a:endParaRPr kumimoji="1" lang="en-US" altLang="zh-CN" sz="1400" dirty="0">
              <a:latin typeface="微软雅黑" panose="020B0503020204020204" pitchFamily="34" charset="-122"/>
              <a:ea typeface="微软雅黑" panose="020B0503020204020204" pitchFamily="34" charset="-122"/>
            </a:endParaRPr>
          </a:p>
          <a:p>
            <a:pPr marL="540000" indent="-285750">
              <a:lnSpc>
                <a:spcPct val="150000"/>
              </a:lnSpc>
              <a:buFont typeface="微软雅黑" panose="020B0503020204020204" pitchFamily="34" charset="-122"/>
              <a:buChar char="−"/>
            </a:pPr>
            <a:r>
              <a:rPr kumimoji="1" lang="zh-CN" altLang="en-US" sz="1400" b="1" dirty="0">
                <a:latin typeface="微软雅黑" panose="020B0503020204020204" pitchFamily="34" charset="-122"/>
                <a:ea typeface="微软雅黑" panose="020B0503020204020204" pitchFamily="34" charset="-122"/>
              </a:rPr>
              <a:t>对比艾格司他</a:t>
            </a:r>
            <a:r>
              <a:rPr kumimoji="1" lang="zh-CN" altLang="en-US" sz="1400" b="1" dirty="0">
                <a:solidFill>
                  <a:srgbClr val="1A1918"/>
                </a:solidFill>
                <a:latin typeface="微软雅黑" panose="020B0503020204020204" pitchFamily="34" charset="-122"/>
                <a:ea typeface="微软雅黑" panose="020B0503020204020204" pitchFamily="34" charset="-122"/>
              </a:rPr>
              <a:t>（医保目录外产品）</a:t>
            </a:r>
            <a:r>
              <a:rPr kumimoji="1" lang="zh-CN" altLang="en-US" sz="1400" dirty="0">
                <a:solidFill>
                  <a:srgbClr val="1A1918"/>
                </a:solidFill>
                <a:latin typeface="微软雅黑" panose="020B0503020204020204" pitchFamily="34" charset="-122"/>
                <a:ea typeface="微软雅黑" panose="020B0503020204020204" pitchFamily="34" charset="-122"/>
              </a:rPr>
              <a:t>：艾格司他仅能用于成人</a:t>
            </a:r>
            <a:r>
              <a:rPr kumimoji="1" lang="en-US" altLang="zh-CN" sz="1400" dirty="0">
                <a:solidFill>
                  <a:srgbClr val="1A1918"/>
                </a:solidFill>
                <a:latin typeface="微软雅黑" panose="020B0503020204020204" pitchFamily="34" charset="-122"/>
                <a:ea typeface="微软雅黑" panose="020B0503020204020204" pitchFamily="34" charset="-122"/>
              </a:rPr>
              <a:t>1</a:t>
            </a:r>
            <a:r>
              <a:rPr kumimoji="1" lang="zh-CN" altLang="en-US" sz="1400" dirty="0">
                <a:solidFill>
                  <a:srgbClr val="1A1918"/>
                </a:solidFill>
                <a:latin typeface="微软雅黑" panose="020B0503020204020204" pitchFamily="34" charset="-122"/>
                <a:ea typeface="微软雅黑" panose="020B0503020204020204" pitchFamily="34" charset="-122"/>
              </a:rPr>
              <a:t>型戈谢病患者，维拉苷酶</a:t>
            </a:r>
            <a:r>
              <a:rPr kumimoji="1" lang="el-GR" altLang="zh-CN" sz="1400" dirty="0">
                <a:solidFill>
                  <a:srgbClr val="1A1918"/>
                </a:solidFill>
                <a:latin typeface="微软雅黑" panose="020B0503020204020204" pitchFamily="34" charset="-122"/>
                <a:ea typeface="微软雅黑" panose="020B0503020204020204" pitchFamily="34" charset="-122"/>
              </a:rPr>
              <a:t>α</a:t>
            </a:r>
            <a:r>
              <a:rPr kumimoji="1" lang="zh-CN" altLang="en-US" sz="1400" dirty="0">
                <a:solidFill>
                  <a:srgbClr val="1A1918"/>
                </a:solidFill>
                <a:latin typeface="微软雅黑" panose="020B0503020204020204" pitchFamily="34" charset="-122"/>
                <a:ea typeface="微软雅黑" panose="020B0503020204020204" pitchFamily="34" charset="-122"/>
              </a:rPr>
              <a:t>适应症人群包括儿童患者，可满足儿童患者的用药需求。</a:t>
            </a:r>
            <a:endParaRPr kumimoji="1" lang="en-US" altLang="zh-CN" sz="1400" dirty="0">
              <a:latin typeface="微软雅黑" panose="020B0503020204020204" pitchFamily="34" charset="-122"/>
              <a:ea typeface="微软雅黑" panose="020B0503020204020204" pitchFamily="34" charset="-122"/>
            </a:endParaRPr>
          </a:p>
        </p:txBody>
      </p:sp>
    </p:spTree>
    <p:extLst>
      <p:ext uri="{BB962C8B-B14F-4D97-AF65-F5344CB8AC3E}">
        <p14:creationId xmlns:p14="http://schemas.microsoft.com/office/powerpoint/2010/main" val="71214033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Object 17" hidden="1">
            <a:extLst>
              <a:ext uri="{FF2B5EF4-FFF2-40B4-BE49-F238E27FC236}">
                <a16:creationId xmlns:a16="http://schemas.microsoft.com/office/drawing/2014/main" id="{AF03376B-F0DC-4E45-A052-7BB7F2CF943D}"/>
              </a:ext>
            </a:extLst>
          </p:cNvPr>
          <p:cNvGraphicFramePr>
            <a:graphicFrameLocks noChangeAspect="1"/>
          </p:cNvGraphicFramePr>
          <p:nvPr>
            <p:custDataLst>
              <p:tags r:id="rId1"/>
            </p:custDataLst>
            <p:extLst>
              <p:ext uri="{D42A27DB-BD31-4B8C-83A1-F6EECF244321}">
                <p14:modId xmlns:p14="http://schemas.microsoft.com/office/powerpoint/2010/main" val="20721156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5" imgW="347" imgH="348" progId="TCLayout.ActiveDocument.1">
                  <p:embed/>
                </p:oleObj>
              </mc:Choice>
              <mc:Fallback>
                <p:oleObj name="think-cell 幻灯片" r:id="rId5" imgW="347" imgH="348" progId="TCLayout.ActiveDocument.1">
                  <p:embed/>
                  <p:pic>
                    <p:nvPicPr>
                      <p:cNvPr id="18" name="Object 17" hidden="1">
                        <a:extLst>
                          <a:ext uri="{FF2B5EF4-FFF2-40B4-BE49-F238E27FC236}">
                            <a16:creationId xmlns:a16="http://schemas.microsoft.com/office/drawing/2014/main" id="{AF03376B-F0DC-4E45-A052-7BB7F2CF943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60B2A641-EE1A-4353-B663-913BBED2AB49}"/>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800" b="1" i="0" u="none" strike="noStrike" kern="1200" cap="none" spc="0" normalizeH="0" baseline="0" noProof="0">
              <a:ln>
                <a:noFill/>
              </a:ln>
              <a:solidFill>
                <a:srgbClr val="FFFFFF"/>
              </a:solidFill>
              <a:effectLst/>
              <a:uLnTx/>
              <a:uFillTx/>
              <a:latin typeface="Calibri" panose="020F0502020204030204" pitchFamily="34" charset="0"/>
              <a:ea typeface="メイリオ" panose="020B0604030504040204" pitchFamily="50" charset="-128"/>
              <a:cs typeface="Calibri" panose="020F0502020204030204" pitchFamily="34" charset="0"/>
              <a:sym typeface="Calibri" panose="020F0502020204030204" pitchFamily="34" charset="0"/>
            </a:endParaRPr>
          </a:p>
        </p:txBody>
      </p:sp>
      <p:sp>
        <p:nvSpPr>
          <p:cNvPr id="37" name="Title 3">
            <a:extLst>
              <a:ext uri="{FF2B5EF4-FFF2-40B4-BE49-F238E27FC236}">
                <a16:creationId xmlns:a16="http://schemas.microsoft.com/office/drawing/2014/main" id="{8109A740-BC76-6447-9BA6-362E759DED0E}"/>
              </a:ext>
            </a:extLst>
          </p:cNvPr>
          <p:cNvSpPr>
            <a:spLocks noGrp="1"/>
          </p:cNvSpPr>
          <p:nvPr>
            <p:ph type="title"/>
          </p:nvPr>
        </p:nvSpPr>
        <p:spPr>
          <a:xfrm>
            <a:off x="1038225" y="209230"/>
            <a:ext cx="9508106" cy="685801"/>
          </a:xfrm>
        </p:spPr>
        <p:txBody>
          <a:bodyPr vert="horz">
            <a:normAutofit/>
          </a:bodyPr>
          <a:lstStyle/>
          <a:p>
            <a:r>
              <a:rPr lang="zh-CN" altLang="en-US" sz="3200" dirty="0">
                <a:solidFill>
                  <a:srgbClr val="1A1918"/>
                </a:solidFill>
                <a:latin typeface="微软雅黑" panose="020B0503020204020204" pitchFamily="34" charset="-122"/>
                <a:ea typeface="微软雅黑" panose="020B0503020204020204" pitchFamily="34" charset="-122"/>
              </a:rPr>
              <a:t>基本信息</a:t>
            </a:r>
            <a:endParaRPr lang="en-JP" sz="3200" dirty="0">
              <a:solidFill>
                <a:srgbClr val="1A1918"/>
              </a:solidFill>
              <a:latin typeface="微软雅黑" panose="020B0503020204020204" pitchFamily="34" charset="-122"/>
              <a:ea typeface="微软雅黑" panose="020B0503020204020204" pitchFamily="34" charset="-122"/>
            </a:endParaRPr>
          </a:p>
        </p:txBody>
      </p:sp>
      <p:sp>
        <p:nvSpPr>
          <p:cNvPr id="22" name="椭圆 21">
            <a:extLst>
              <a:ext uri="{FF2B5EF4-FFF2-40B4-BE49-F238E27FC236}">
                <a16:creationId xmlns:a16="http://schemas.microsoft.com/office/drawing/2014/main" id="{5F530736-32AD-42C7-B3FC-79FE10B74A3A}"/>
              </a:ext>
            </a:extLst>
          </p:cNvPr>
          <p:cNvSpPr/>
          <p:nvPr/>
        </p:nvSpPr>
        <p:spPr>
          <a:xfrm>
            <a:off x="616186" y="315174"/>
            <a:ext cx="360000" cy="360000"/>
          </a:xfrm>
          <a:prstGeom prst="ellipse">
            <a:avLst/>
          </a:prstGeom>
          <a:solidFill>
            <a:schemeClr val="accent2">
              <a:lumMod val="75000"/>
            </a:schemeClr>
          </a:solidFill>
          <a:ln w="28575">
            <a:noFill/>
          </a:ln>
        </p:spPr>
        <p:style>
          <a:lnRef idx="1">
            <a:schemeClr val="accent1"/>
          </a:lnRef>
          <a:fillRef idx="0">
            <a:schemeClr val="accent1"/>
          </a:fillRef>
          <a:effectRef idx="0">
            <a:schemeClr val="accent1"/>
          </a:effectRef>
          <a:fontRef idx="minor">
            <a:schemeClr val="tx1"/>
          </a:fontRef>
        </p:style>
        <p:txBody>
          <a:bodyPr wrap="none" rtlCol="0" anchor="ctr"/>
          <a:lstStyle/>
          <a:p>
            <a:pPr algn="ctr"/>
            <a:r>
              <a:rPr kumimoji="1" lang="en-US" altLang="zh-CN" sz="1600" b="1" dirty="0">
                <a:solidFill>
                  <a:schemeClr val="bg1"/>
                </a:solidFill>
                <a:latin typeface="微软雅黑" panose="020B0503020204020204" pitchFamily="34" charset="-122"/>
                <a:ea typeface="微软雅黑" panose="020B0503020204020204" pitchFamily="34" charset="-122"/>
              </a:rPr>
              <a:t>1</a:t>
            </a:r>
            <a:endParaRPr kumimoji="1" lang="zh-CN" altLang="en-US" sz="1600" b="1" dirty="0">
              <a:solidFill>
                <a:schemeClr val="bg1"/>
              </a:solidFill>
              <a:latin typeface="微软雅黑" panose="020B0503020204020204" pitchFamily="34" charset="-122"/>
              <a:ea typeface="微软雅黑" panose="020B0503020204020204" pitchFamily="34" charset="-122"/>
            </a:endParaRPr>
          </a:p>
        </p:txBody>
      </p:sp>
      <p:sp>
        <p:nvSpPr>
          <p:cNvPr id="24" name="矩形: 圆角 23">
            <a:extLst>
              <a:ext uri="{FF2B5EF4-FFF2-40B4-BE49-F238E27FC236}">
                <a16:creationId xmlns:a16="http://schemas.microsoft.com/office/drawing/2014/main" id="{89BF22C8-B669-43A3-88C1-1F21935D06A5}"/>
              </a:ext>
            </a:extLst>
          </p:cNvPr>
          <p:cNvSpPr/>
          <p:nvPr/>
        </p:nvSpPr>
        <p:spPr>
          <a:xfrm>
            <a:off x="427804" y="1626526"/>
            <a:ext cx="5437657" cy="4621465"/>
          </a:xfrm>
          <a:prstGeom prst="roundRect">
            <a:avLst/>
          </a:prstGeom>
          <a:noFill/>
          <a:ln w="19050">
            <a:noFill/>
          </a:ln>
        </p:spPr>
        <p:style>
          <a:lnRef idx="1">
            <a:schemeClr val="accent1"/>
          </a:lnRef>
          <a:fillRef idx="0">
            <a:schemeClr val="accent1"/>
          </a:fillRef>
          <a:effectRef idx="0">
            <a:schemeClr val="accent1"/>
          </a:effectRef>
          <a:fontRef idx="minor">
            <a:schemeClr val="tx1"/>
          </a:fontRef>
        </p:style>
        <p:txBody>
          <a:bodyPr wrap="square" rtlCol="0" anchor="t"/>
          <a:lstStyle/>
          <a:p>
            <a:pPr marL="171450" indent="-171450">
              <a:lnSpc>
                <a:spcPct val="150000"/>
              </a:lnSpc>
              <a:spcBef>
                <a:spcPts val="600"/>
              </a:spcBef>
              <a:buFont typeface="Arial" panose="020B0604020202020204" pitchFamily="34" charset="0"/>
              <a:buChar char="•"/>
            </a:pPr>
            <a:r>
              <a:rPr kumimoji="1" lang="zh-CN" altLang="en-US" sz="1400" b="1" dirty="0">
                <a:solidFill>
                  <a:srgbClr val="1A1918"/>
                </a:solidFill>
                <a:latin typeface="微软雅黑" panose="020B0503020204020204" pitchFamily="34" charset="-122"/>
                <a:ea typeface="微软雅黑" panose="020B0503020204020204" pitchFamily="34" charset="-122"/>
              </a:rPr>
              <a:t>戈谢病是一种溶酶体贮积症</a:t>
            </a:r>
            <a:r>
              <a:rPr kumimoji="1" lang="zh-CN" altLang="en-US" sz="1400" dirty="0">
                <a:solidFill>
                  <a:srgbClr val="1A1918"/>
                </a:solidFill>
                <a:latin typeface="微软雅黑" panose="020B0503020204020204" pitchFamily="34" charset="-122"/>
                <a:ea typeface="微软雅黑" panose="020B0503020204020204" pitchFamily="34" charset="-122"/>
              </a:rPr>
              <a:t>，由于</a:t>
            </a:r>
            <a:r>
              <a:rPr kumimoji="1" lang="en-US" altLang="zh-CN" sz="1400" dirty="0">
                <a:solidFill>
                  <a:srgbClr val="1A1918"/>
                </a:solidFill>
                <a:latin typeface="微软雅黑" panose="020B0503020204020204" pitchFamily="34" charset="-122"/>
                <a:ea typeface="微软雅黑" panose="020B0503020204020204" pitchFamily="34" charset="-122"/>
              </a:rPr>
              <a:t>β-</a:t>
            </a:r>
            <a:r>
              <a:rPr kumimoji="1" lang="zh-CN" altLang="en-US" sz="1400" dirty="0">
                <a:solidFill>
                  <a:srgbClr val="1A1918"/>
                </a:solidFill>
                <a:latin typeface="微软雅黑" panose="020B0503020204020204" pitchFamily="34" charset="-122"/>
                <a:ea typeface="微软雅黑" panose="020B0503020204020204" pitchFamily="34" charset="-122"/>
              </a:rPr>
              <a:t>葡糖脑苷脂酶基因突变导致该溶酶体酶缺乏活性，造成其底物在肝、脾、骨骼、肺，甚至脑的巨噬细胞溶酶体中贮积，后续引发组织器官损伤</a:t>
            </a:r>
            <a:endParaRPr kumimoji="1" lang="en-US" altLang="zh-CN" sz="1400" dirty="0">
              <a:solidFill>
                <a:srgbClr val="1A1918"/>
              </a:solidFill>
              <a:latin typeface="微软雅黑" panose="020B0503020204020204" pitchFamily="34" charset="-122"/>
              <a:ea typeface="微软雅黑" panose="020B0503020204020204" pitchFamily="34" charset="-122"/>
            </a:endParaRPr>
          </a:p>
          <a:p>
            <a:pPr marL="171450" indent="-171450">
              <a:lnSpc>
                <a:spcPct val="150000"/>
              </a:lnSpc>
              <a:spcBef>
                <a:spcPts val="600"/>
              </a:spcBef>
              <a:buFont typeface="Arial" panose="020B0604020202020204" pitchFamily="34" charset="0"/>
              <a:buChar char="•"/>
            </a:pPr>
            <a:r>
              <a:rPr kumimoji="1" lang="zh-CN" altLang="en-US" sz="1400" b="1" dirty="0">
                <a:solidFill>
                  <a:srgbClr val="1A1918"/>
                </a:solidFill>
                <a:latin typeface="微软雅黑" panose="020B0503020204020204" pitchFamily="34" charset="-122"/>
                <a:ea typeface="微软雅黑" panose="020B0503020204020204" pitchFamily="34" charset="-122"/>
              </a:rPr>
              <a:t>戈谢病为第一批罕见病目录中的疾病，</a:t>
            </a:r>
            <a:r>
              <a:rPr kumimoji="1" lang="zh-CN" altLang="en-US" sz="1400" dirty="0">
                <a:solidFill>
                  <a:srgbClr val="1A1918"/>
                </a:solidFill>
                <a:latin typeface="微软雅黑" panose="020B0503020204020204" pitchFamily="34" charset="-122"/>
                <a:ea typeface="微软雅黑" panose="020B0503020204020204" pitchFamily="34" charset="-122"/>
              </a:rPr>
              <a:t>大陆地区患病率约为</a:t>
            </a:r>
            <a:r>
              <a:rPr kumimoji="1" lang="en-US" altLang="zh-CN" sz="1400" dirty="0">
                <a:solidFill>
                  <a:srgbClr val="1A1918"/>
                </a:solidFill>
                <a:latin typeface="微软雅黑" panose="020B0503020204020204" pitchFamily="34" charset="-122"/>
                <a:ea typeface="微软雅黑" panose="020B0503020204020204" pitchFamily="34" charset="-122"/>
              </a:rPr>
              <a:t>1/50 </a:t>
            </a:r>
            <a:r>
              <a:rPr kumimoji="1" lang="zh-CN" altLang="en-US" sz="1400" dirty="0">
                <a:solidFill>
                  <a:srgbClr val="1A1918"/>
                </a:solidFill>
                <a:latin typeface="微软雅黑" panose="020B0503020204020204" pitchFamily="34" charset="-122"/>
                <a:ea typeface="微软雅黑" panose="020B0503020204020204" pitchFamily="34" charset="-122"/>
              </a:rPr>
              <a:t>万</a:t>
            </a:r>
            <a:r>
              <a:rPr kumimoji="1" lang="en-US" altLang="zh-CN" sz="1400" dirty="0">
                <a:solidFill>
                  <a:srgbClr val="1A1918"/>
                </a:solidFill>
                <a:latin typeface="微软雅黑" panose="020B0503020204020204" pitchFamily="34" charset="-122"/>
                <a:ea typeface="微软雅黑" panose="020B0503020204020204" pitchFamily="34" charset="-122"/>
              </a:rPr>
              <a:t>~1/20</a:t>
            </a:r>
            <a:r>
              <a:rPr kumimoji="1" lang="zh-CN" altLang="en-US" sz="1400" dirty="0">
                <a:solidFill>
                  <a:srgbClr val="1A1918"/>
                </a:solidFill>
                <a:latin typeface="微软雅黑" panose="020B0503020204020204" pitchFamily="34" charset="-122"/>
                <a:ea typeface="微软雅黑" panose="020B0503020204020204" pitchFamily="34" charset="-122"/>
              </a:rPr>
              <a:t>万，理论患病人数约</a:t>
            </a:r>
            <a:r>
              <a:rPr kumimoji="1" lang="en-US" altLang="zh-CN" sz="1400" dirty="0">
                <a:solidFill>
                  <a:srgbClr val="1A1918"/>
                </a:solidFill>
                <a:latin typeface="微软雅黑" panose="020B0503020204020204" pitchFamily="34" charset="-122"/>
                <a:ea typeface="微软雅黑" panose="020B0503020204020204" pitchFamily="34" charset="-122"/>
              </a:rPr>
              <a:t>2,800~7,000</a:t>
            </a:r>
            <a:r>
              <a:rPr kumimoji="1" lang="zh-CN" altLang="en-US" sz="1400" dirty="0">
                <a:solidFill>
                  <a:srgbClr val="1A1918"/>
                </a:solidFill>
                <a:latin typeface="微软雅黑" panose="020B0503020204020204" pitchFamily="34" charset="-122"/>
                <a:ea typeface="微软雅黑" panose="020B0503020204020204" pitchFamily="34" charset="-122"/>
              </a:rPr>
              <a:t>人，</a:t>
            </a:r>
            <a:r>
              <a:rPr kumimoji="1" lang="zh-CN" altLang="en-US" sz="1400" b="1" dirty="0">
                <a:solidFill>
                  <a:srgbClr val="C00000"/>
                </a:solidFill>
                <a:latin typeface="微软雅黑" panose="020B0503020204020204" pitchFamily="34" charset="-122"/>
                <a:ea typeface="微软雅黑" panose="020B0503020204020204" pitchFamily="34" charset="-122"/>
              </a:rPr>
              <a:t>目前全国累计确诊人数仅为</a:t>
            </a:r>
            <a:r>
              <a:rPr kumimoji="1" lang="en-US" altLang="zh-CN" sz="1400" b="1" dirty="0">
                <a:solidFill>
                  <a:srgbClr val="C00000"/>
                </a:solidFill>
                <a:latin typeface="微软雅黑" panose="020B0503020204020204" pitchFamily="34" charset="-122"/>
                <a:ea typeface="微软雅黑" panose="020B0503020204020204" pitchFamily="34" charset="-122"/>
              </a:rPr>
              <a:t>441</a:t>
            </a:r>
            <a:r>
              <a:rPr kumimoji="1" lang="zh-CN" altLang="en-US" sz="1400" b="1" dirty="0">
                <a:solidFill>
                  <a:srgbClr val="C00000"/>
                </a:solidFill>
                <a:latin typeface="微软雅黑" panose="020B0503020204020204" pitchFamily="34" charset="-122"/>
                <a:ea typeface="微软雅黑" panose="020B0503020204020204" pitchFamily="34" charset="-122"/>
              </a:rPr>
              <a:t>人</a:t>
            </a:r>
            <a:endParaRPr kumimoji="1" lang="en-US" altLang="zh-CN" sz="1400" b="1" dirty="0">
              <a:solidFill>
                <a:srgbClr val="C00000"/>
              </a:solidFill>
              <a:latin typeface="微软雅黑" panose="020B0503020204020204" pitchFamily="34" charset="-122"/>
              <a:ea typeface="微软雅黑" panose="020B0503020204020204" pitchFamily="34" charset="-122"/>
            </a:endParaRPr>
          </a:p>
          <a:p>
            <a:pPr marL="171450" indent="-171450">
              <a:lnSpc>
                <a:spcPct val="150000"/>
              </a:lnSpc>
              <a:spcBef>
                <a:spcPts val="600"/>
              </a:spcBef>
              <a:buFont typeface="Arial" panose="020B0604020202020204" pitchFamily="34" charset="0"/>
              <a:buChar char="•"/>
            </a:pPr>
            <a:r>
              <a:rPr kumimoji="1" lang="zh-CN" altLang="en-US" sz="1400" b="1" dirty="0">
                <a:solidFill>
                  <a:srgbClr val="1A1918"/>
                </a:solidFill>
                <a:latin typeface="微软雅黑" panose="020B0503020204020204" pitchFamily="34" charset="-122"/>
                <a:ea typeface="微软雅黑" panose="020B0503020204020204" pitchFamily="34" charset="-122"/>
              </a:rPr>
              <a:t>戈谢病多累及儿童患者</a:t>
            </a:r>
            <a:r>
              <a:rPr lang="zh-CN" altLang="en-US" sz="1400" b="1" dirty="0">
                <a:solidFill>
                  <a:srgbClr val="1A1918"/>
                </a:solidFill>
                <a:latin typeface="Arial" panose="020B0604020202020204" pitchFamily="34" charset="0"/>
                <a:ea typeface="微软雅黑" panose="020B0503020204020204" pitchFamily="34" charset="-122"/>
              </a:rPr>
              <a:t>。</a:t>
            </a:r>
            <a:r>
              <a:rPr kumimoji="1" lang="en-US" altLang="zh-CN" sz="1400" dirty="0">
                <a:solidFill>
                  <a:srgbClr val="1A1918"/>
                </a:solidFill>
                <a:latin typeface="微软雅黑" panose="020B0503020204020204" pitchFamily="34" charset="-122"/>
                <a:ea typeface="微软雅黑" panose="020B0503020204020204" pitchFamily="34" charset="-122"/>
              </a:rPr>
              <a:t>2019</a:t>
            </a:r>
            <a:r>
              <a:rPr kumimoji="1" lang="zh-CN" altLang="en-US" sz="1400" dirty="0">
                <a:solidFill>
                  <a:srgbClr val="1A1918"/>
                </a:solidFill>
                <a:latin typeface="微软雅黑" panose="020B0503020204020204" pitchFamily="34" charset="-122"/>
                <a:ea typeface="微软雅黑" panose="020B0503020204020204" pitchFamily="34" charset="-122"/>
              </a:rPr>
              <a:t>年中国戈谢病患者综合社会调查显示</a:t>
            </a:r>
            <a:r>
              <a:rPr kumimoji="1" lang="en-US" altLang="zh-CN" sz="1400" b="1" dirty="0">
                <a:solidFill>
                  <a:srgbClr val="C00000"/>
                </a:solidFill>
                <a:latin typeface="微软雅黑" panose="020B0503020204020204" pitchFamily="34" charset="-122"/>
                <a:ea typeface="微软雅黑" panose="020B0503020204020204" pitchFamily="34" charset="-122"/>
              </a:rPr>
              <a:t>45.6%</a:t>
            </a:r>
            <a:r>
              <a:rPr kumimoji="1" lang="zh-CN" altLang="en-US" sz="1400" b="1" dirty="0">
                <a:solidFill>
                  <a:srgbClr val="C00000"/>
                </a:solidFill>
                <a:latin typeface="微软雅黑" panose="020B0503020204020204" pitchFamily="34" charset="-122"/>
                <a:ea typeface="微软雅黑" panose="020B0503020204020204" pitchFamily="34" charset="-122"/>
              </a:rPr>
              <a:t>的患者在</a:t>
            </a:r>
            <a:r>
              <a:rPr kumimoji="1" lang="en-US" altLang="zh-CN" sz="1400" b="1" dirty="0">
                <a:solidFill>
                  <a:srgbClr val="C00000"/>
                </a:solidFill>
                <a:latin typeface="微软雅黑" panose="020B0503020204020204" pitchFamily="34" charset="-122"/>
                <a:ea typeface="微软雅黑" panose="020B0503020204020204" pitchFamily="34" charset="-122"/>
              </a:rPr>
              <a:t>9</a:t>
            </a:r>
            <a:r>
              <a:rPr kumimoji="1" lang="zh-CN" altLang="en-US" sz="1400" b="1" dirty="0">
                <a:solidFill>
                  <a:srgbClr val="C00000"/>
                </a:solidFill>
                <a:latin typeface="微软雅黑" panose="020B0503020204020204" pitchFamily="34" charset="-122"/>
                <a:ea typeface="微软雅黑" panose="020B0503020204020204" pitchFamily="34" charset="-122"/>
              </a:rPr>
              <a:t>岁或以下，</a:t>
            </a:r>
            <a:r>
              <a:rPr kumimoji="1" lang="en-US" altLang="zh-CN" sz="1400" b="1" dirty="0">
                <a:solidFill>
                  <a:srgbClr val="C00000"/>
                </a:solidFill>
                <a:latin typeface="微软雅黑" panose="020B0503020204020204" pitchFamily="34" charset="-122"/>
                <a:ea typeface="微软雅黑" panose="020B0503020204020204" pitchFamily="34" charset="-122"/>
              </a:rPr>
              <a:t>64.6%</a:t>
            </a:r>
            <a:r>
              <a:rPr kumimoji="1" lang="zh-CN" altLang="en-US" sz="1400" b="1" dirty="0">
                <a:solidFill>
                  <a:srgbClr val="C00000"/>
                </a:solidFill>
                <a:latin typeface="微软雅黑" panose="020B0503020204020204" pitchFamily="34" charset="-122"/>
                <a:ea typeface="微软雅黑" panose="020B0503020204020204" pitchFamily="34" charset="-122"/>
              </a:rPr>
              <a:t>的患者在</a:t>
            </a:r>
            <a:r>
              <a:rPr kumimoji="1" lang="en-US" altLang="zh-CN" sz="1400" b="1" dirty="0">
                <a:solidFill>
                  <a:srgbClr val="C00000"/>
                </a:solidFill>
                <a:latin typeface="微软雅黑" panose="020B0503020204020204" pitchFamily="34" charset="-122"/>
                <a:ea typeface="微软雅黑" panose="020B0503020204020204" pitchFamily="34" charset="-122"/>
              </a:rPr>
              <a:t>19</a:t>
            </a:r>
            <a:r>
              <a:rPr kumimoji="1" lang="zh-CN" altLang="en-US" sz="1400" b="1" dirty="0">
                <a:solidFill>
                  <a:srgbClr val="C00000"/>
                </a:solidFill>
                <a:latin typeface="微软雅黑" panose="020B0503020204020204" pitchFamily="34" charset="-122"/>
                <a:ea typeface="微软雅黑" panose="020B0503020204020204" pitchFamily="34" charset="-122"/>
              </a:rPr>
              <a:t>岁或以下</a:t>
            </a:r>
            <a:r>
              <a:rPr kumimoji="1" lang="zh-CN" altLang="en-US" sz="1400" dirty="0">
                <a:solidFill>
                  <a:srgbClr val="C00000"/>
                </a:solidFill>
                <a:latin typeface="微软雅黑" panose="020B0503020204020204" pitchFamily="34" charset="-122"/>
                <a:ea typeface="微软雅黑" panose="020B0503020204020204" pitchFamily="34" charset="-122"/>
              </a:rPr>
              <a:t>，</a:t>
            </a:r>
            <a:r>
              <a:rPr kumimoji="1" lang="zh-CN" altLang="zh-CN" sz="1400" b="1" dirty="0">
                <a:solidFill>
                  <a:srgbClr val="C00000"/>
                </a:solidFill>
                <a:latin typeface="微软雅黑" panose="020B0503020204020204" pitchFamily="34" charset="-122"/>
                <a:ea typeface="微软雅黑" panose="020B0503020204020204" pitchFamily="34" charset="-122"/>
              </a:rPr>
              <a:t>发病越早，症状越重</a:t>
            </a:r>
            <a:r>
              <a:rPr kumimoji="1" lang="zh-CN" altLang="en-US" sz="1400" dirty="0">
                <a:solidFill>
                  <a:srgbClr val="1A1918"/>
                </a:solidFill>
                <a:latin typeface="微软雅黑" panose="020B0503020204020204" pitchFamily="34" charset="-122"/>
                <a:ea typeface="微软雅黑" panose="020B0503020204020204" pitchFamily="34" charset="-122"/>
              </a:rPr>
              <a:t>，若无及时治疗，患儿的生命质量将受到显著影响，甚至出现严重畸形或早期死亡</a:t>
            </a:r>
            <a:endParaRPr kumimoji="1" lang="en-US" altLang="zh-CN" sz="1400" dirty="0">
              <a:solidFill>
                <a:srgbClr val="1A1918"/>
              </a:solidFill>
              <a:latin typeface="微软雅黑" panose="020B0503020204020204" pitchFamily="34" charset="-122"/>
              <a:ea typeface="微软雅黑" panose="020B0503020204020204" pitchFamily="34" charset="-122"/>
            </a:endParaRPr>
          </a:p>
          <a:p>
            <a:pPr marL="171450" indent="-171450">
              <a:lnSpc>
                <a:spcPct val="150000"/>
              </a:lnSpc>
              <a:spcBef>
                <a:spcPts val="600"/>
              </a:spcBef>
              <a:buFont typeface="Arial" panose="020B0604020202020204" pitchFamily="34" charset="0"/>
              <a:buChar char="•"/>
            </a:pPr>
            <a:r>
              <a:rPr kumimoji="1" lang="zh-CN" altLang="en-US" sz="1400" b="1" dirty="0">
                <a:solidFill>
                  <a:srgbClr val="1A1918"/>
                </a:solidFill>
                <a:latin typeface="微软雅黑" panose="020B0503020204020204" pitchFamily="34" charset="-122"/>
                <a:ea typeface="微软雅黑" panose="020B0503020204020204" pitchFamily="34" charset="-122"/>
              </a:rPr>
              <a:t>医保目录内无任何特异性治疗药物，</a:t>
            </a:r>
            <a:r>
              <a:rPr kumimoji="1" lang="zh-CN" altLang="en-US" sz="1400" dirty="0">
                <a:solidFill>
                  <a:srgbClr val="1A1918"/>
                </a:solidFill>
                <a:latin typeface="微软雅黑" panose="020B0503020204020204" pitchFamily="34" charset="-122"/>
                <a:ea typeface="微软雅黑" panose="020B0503020204020204" pitchFamily="34" charset="-122"/>
              </a:rPr>
              <a:t>患者仅能接受一些脾切除、止痛、人工关节置换等对症治疗，患者预后极差，临床未满足需求高</a:t>
            </a:r>
            <a:endParaRPr kumimoji="1" lang="en-US" altLang="zh-CN" sz="1400" dirty="0">
              <a:solidFill>
                <a:srgbClr val="1A1918"/>
              </a:solidFill>
              <a:latin typeface="微软雅黑" panose="020B0503020204020204" pitchFamily="34" charset="-122"/>
              <a:ea typeface="微软雅黑" panose="020B0503020204020204" pitchFamily="34" charset="-122"/>
            </a:endParaRPr>
          </a:p>
          <a:p>
            <a:pPr marL="171450" indent="-171450">
              <a:lnSpc>
                <a:spcPct val="150000"/>
              </a:lnSpc>
              <a:spcBef>
                <a:spcPts val="600"/>
              </a:spcBef>
              <a:buFont typeface="Arial" panose="020B0604020202020204" pitchFamily="34" charset="0"/>
              <a:buChar char="•"/>
            </a:pPr>
            <a:endParaRPr kumimoji="1" lang="en-US" altLang="zh-CN" sz="1400" baseline="30000" dirty="0">
              <a:solidFill>
                <a:srgbClr val="1A1918"/>
              </a:solidFill>
              <a:latin typeface="微软雅黑" panose="020B0503020204020204" pitchFamily="34" charset="-122"/>
              <a:ea typeface="微软雅黑" panose="020B0503020204020204" pitchFamily="34" charset="-122"/>
            </a:endParaRPr>
          </a:p>
        </p:txBody>
      </p:sp>
      <p:sp>
        <p:nvSpPr>
          <p:cNvPr id="27" name="矩形: 圆角 26">
            <a:extLst>
              <a:ext uri="{FF2B5EF4-FFF2-40B4-BE49-F238E27FC236}">
                <a16:creationId xmlns:a16="http://schemas.microsoft.com/office/drawing/2014/main" id="{B7DB02E4-8157-467C-B23B-EC61BCDEFB55}"/>
              </a:ext>
            </a:extLst>
          </p:cNvPr>
          <p:cNvSpPr/>
          <p:nvPr/>
        </p:nvSpPr>
        <p:spPr>
          <a:xfrm>
            <a:off x="595491" y="1749144"/>
            <a:ext cx="5310492" cy="4621464"/>
          </a:xfrm>
          <a:prstGeom prst="roundRect">
            <a:avLst>
              <a:gd name="adj" fmla="val 0"/>
            </a:avLst>
          </a:prstGeom>
          <a:noFill/>
          <a:ln w="19050">
            <a:solidFill>
              <a:schemeClr val="accent2"/>
            </a:soli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wrap="none" rtlCol="0" anchor="ctr"/>
          <a:lstStyle/>
          <a:p>
            <a:pPr algn="ctr"/>
            <a:endParaRPr kumimoji="1" lang="zh-CN" altLang="en-US" dirty="0"/>
          </a:p>
        </p:txBody>
      </p:sp>
      <p:sp>
        <p:nvSpPr>
          <p:cNvPr id="28" name="矩形 27">
            <a:extLst>
              <a:ext uri="{FF2B5EF4-FFF2-40B4-BE49-F238E27FC236}">
                <a16:creationId xmlns:a16="http://schemas.microsoft.com/office/drawing/2014/main" id="{BC7D4A06-3BFE-4551-AE94-2DDC13F3250A}"/>
              </a:ext>
            </a:extLst>
          </p:cNvPr>
          <p:cNvSpPr/>
          <p:nvPr/>
        </p:nvSpPr>
        <p:spPr>
          <a:xfrm>
            <a:off x="595491" y="1397142"/>
            <a:ext cx="5310492" cy="386728"/>
          </a:xfrm>
          <a:prstGeom prst="rect">
            <a:avLst/>
          </a:prstGeom>
          <a:solidFill>
            <a:schemeClr val="accent1">
              <a:lumMod val="50000"/>
            </a:schemeClr>
          </a:solidFill>
          <a:ln w="28575">
            <a:noFill/>
          </a:ln>
        </p:spPr>
        <p:style>
          <a:lnRef idx="1">
            <a:schemeClr val="accent1"/>
          </a:lnRef>
          <a:fillRef idx="0">
            <a:schemeClr val="accent1"/>
          </a:fillRef>
          <a:effectRef idx="0">
            <a:schemeClr val="accent1"/>
          </a:effectRef>
          <a:fontRef idx="minor">
            <a:schemeClr val="tx1"/>
          </a:fontRef>
        </p:style>
        <p:txBody>
          <a:bodyPr wrap="none" rtlCol="0" anchor="ctr"/>
          <a:lstStyle/>
          <a:p>
            <a:pPr algn="ctr"/>
            <a:r>
              <a:rPr kumimoji="1" lang="zh-CN" altLang="en-US" sz="1600" b="1" dirty="0">
                <a:solidFill>
                  <a:schemeClr val="bg1"/>
                </a:solidFill>
                <a:latin typeface="微软雅黑" panose="020B0503020204020204" pitchFamily="34" charset="-122"/>
                <a:ea typeface="微软雅黑" panose="020B0503020204020204" pitchFamily="34" charset="-122"/>
              </a:rPr>
              <a:t>疾病介绍及未满足治疗需求</a:t>
            </a:r>
          </a:p>
        </p:txBody>
      </p:sp>
      <p:sp>
        <p:nvSpPr>
          <p:cNvPr id="13" name="矩形: 圆角 12">
            <a:extLst>
              <a:ext uri="{FF2B5EF4-FFF2-40B4-BE49-F238E27FC236}">
                <a16:creationId xmlns:a16="http://schemas.microsoft.com/office/drawing/2014/main" id="{B4418AEE-1ABD-49BC-A820-CD583E24CE2C}"/>
              </a:ext>
            </a:extLst>
          </p:cNvPr>
          <p:cNvSpPr/>
          <p:nvPr/>
        </p:nvSpPr>
        <p:spPr>
          <a:xfrm>
            <a:off x="6377947" y="1749144"/>
            <a:ext cx="5310492" cy="4621464"/>
          </a:xfrm>
          <a:prstGeom prst="roundRect">
            <a:avLst>
              <a:gd name="adj" fmla="val 0"/>
            </a:avLst>
          </a:prstGeom>
          <a:noFill/>
          <a:ln w="19050">
            <a:solidFill>
              <a:schemeClr val="accent2"/>
            </a:soli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wrap="none" rtlCol="0" anchor="ctr"/>
          <a:lstStyle/>
          <a:p>
            <a:pPr algn="ctr"/>
            <a:endParaRPr kumimoji="1" lang="zh-CN" altLang="en-US" dirty="0"/>
          </a:p>
        </p:txBody>
      </p:sp>
      <p:sp>
        <p:nvSpPr>
          <p:cNvPr id="15" name="矩形 14">
            <a:extLst>
              <a:ext uri="{FF2B5EF4-FFF2-40B4-BE49-F238E27FC236}">
                <a16:creationId xmlns:a16="http://schemas.microsoft.com/office/drawing/2014/main" id="{7BB27FCA-474A-4FCB-8710-840F562412BA}"/>
              </a:ext>
            </a:extLst>
          </p:cNvPr>
          <p:cNvSpPr/>
          <p:nvPr/>
        </p:nvSpPr>
        <p:spPr>
          <a:xfrm>
            <a:off x="6378382" y="1397142"/>
            <a:ext cx="5310492" cy="386728"/>
          </a:xfrm>
          <a:prstGeom prst="rect">
            <a:avLst/>
          </a:prstGeom>
          <a:solidFill>
            <a:schemeClr val="accent2">
              <a:lumMod val="75000"/>
            </a:schemeClr>
          </a:solidFill>
          <a:ln w="28575">
            <a:noFill/>
          </a:ln>
        </p:spPr>
        <p:style>
          <a:lnRef idx="1">
            <a:schemeClr val="accent1"/>
          </a:lnRef>
          <a:fillRef idx="0">
            <a:schemeClr val="accent1"/>
          </a:fillRef>
          <a:effectRef idx="0">
            <a:schemeClr val="accent1"/>
          </a:effectRef>
          <a:fontRef idx="minor">
            <a:schemeClr val="tx1"/>
          </a:fontRef>
        </p:style>
        <p:txBody>
          <a:bodyPr wrap="none" rtlCol="0" anchor="ctr"/>
          <a:lstStyle/>
          <a:p>
            <a:pPr algn="ctr"/>
            <a:r>
              <a:rPr kumimoji="1" lang="zh-CN" altLang="en-US" sz="1600" b="1" dirty="0">
                <a:solidFill>
                  <a:schemeClr val="bg1"/>
                </a:solidFill>
                <a:latin typeface="微软雅黑" panose="020B0503020204020204" pitchFamily="34" charset="-122"/>
                <a:ea typeface="微软雅黑" panose="020B0503020204020204" pitchFamily="34" charset="-122"/>
              </a:rPr>
              <a:t>戈谢病临床表现</a:t>
            </a:r>
          </a:p>
        </p:txBody>
      </p:sp>
      <p:grpSp>
        <p:nvGrpSpPr>
          <p:cNvPr id="38" name="组合 37">
            <a:extLst>
              <a:ext uri="{FF2B5EF4-FFF2-40B4-BE49-F238E27FC236}">
                <a16:creationId xmlns:a16="http://schemas.microsoft.com/office/drawing/2014/main" id="{BDEEFE73-82DB-4D21-8F17-161D3E840956}"/>
              </a:ext>
            </a:extLst>
          </p:cNvPr>
          <p:cNvGrpSpPr/>
          <p:nvPr/>
        </p:nvGrpSpPr>
        <p:grpSpPr>
          <a:xfrm>
            <a:off x="6535024" y="1847984"/>
            <a:ext cx="4949504" cy="2540049"/>
            <a:chOff x="415784" y="759184"/>
            <a:chExt cx="8280744" cy="3618079"/>
          </a:xfrm>
        </p:grpSpPr>
        <p:sp>
          <p:nvSpPr>
            <p:cNvPr id="42" name="Rectangle: Rounded Corners 3">
              <a:extLst>
                <a:ext uri="{FF2B5EF4-FFF2-40B4-BE49-F238E27FC236}">
                  <a16:creationId xmlns:a16="http://schemas.microsoft.com/office/drawing/2014/main" id="{83F29C74-6079-40B4-8D04-103FA2BD831E}"/>
                </a:ext>
              </a:extLst>
            </p:cNvPr>
            <p:cNvSpPr/>
            <p:nvPr/>
          </p:nvSpPr>
          <p:spPr>
            <a:xfrm>
              <a:off x="415784" y="1955965"/>
              <a:ext cx="2565033" cy="1957068"/>
            </a:xfrm>
            <a:prstGeom prst="roundRect">
              <a:avLst>
                <a:gd name="adj" fmla="val 10422"/>
              </a:avLst>
            </a:prstGeom>
            <a:solidFill>
              <a:schemeClr val="bg1"/>
            </a:solidFill>
            <a:ln w="19050">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50" baseline="30000" dirty="0">
                <a:solidFill>
                  <a:srgbClr val="C00000"/>
                </a:solidFill>
                <a:latin typeface="微软雅黑" panose="020B0503020204020204" pitchFamily="34" charset="-122"/>
                <a:ea typeface="微软雅黑" panose="020B0503020204020204" pitchFamily="34" charset="-122"/>
              </a:endParaRPr>
            </a:p>
          </p:txBody>
        </p:sp>
        <p:sp>
          <p:nvSpPr>
            <p:cNvPr id="48" name="Rectangle 8">
              <a:extLst>
                <a:ext uri="{FF2B5EF4-FFF2-40B4-BE49-F238E27FC236}">
                  <a16:creationId xmlns:a16="http://schemas.microsoft.com/office/drawing/2014/main" id="{2EF42527-C9B4-4832-81A9-A5014C3753D9}"/>
                </a:ext>
              </a:extLst>
            </p:cNvPr>
            <p:cNvSpPr>
              <a:spLocks noChangeArrowheads="1"/>
            </p:cNvSpPr>
            <p:nvPr/>
          </p:nvSpPr>
          <p:spPr bwMode="auto">
            <a:xfrm>
              <a:off x="537795" y="1017075"/>
              <a:ext cx="2322637" cy="405000"/>
            </a:xfrm>
            <a:prstGeom prst="roundRect">
              <a:avLst/>
            </a:prstGeom>
            <a:solidFill>
              <a:schemeClr val="accent1">
                <a:lumMod val="20000"/>
                <a:lumOff val="80000"/>
              </a:schemeClr>
            </a:solidFill>
            <a:ln w="19050">
              <a:solidFill>
                <a:schemeClr val="accent1">
                  <a:lumMod val="20000"/>
                  <a:lumOff val="8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anchor="ctr">
              <a:noAutofit/>
            </a:bodyPr>
            <a:lstStyle/>
            <a:p>
              <a:pPr algn="ctr"/>
              <a:r>
                <a:rPr lang="zh-CN" altLang="en-US" sz="1000" dirty="0">
                  <a:solidFill>
                    <a:srgbClr val="1A1918"/>
                  </a:solidFill>
                  <a:latin typeface="微软雅黑" panose="020B0503020204020204" pitchFamily="34" charset="-122"/>
                  <a:ea typeface="微软雅黑" panose="020B0503020204020204" pitchFamily="34" charset="-122"/>
                  <a:cs typeface="Arial" pitchFamily="34" charset="0"/>
                </a:rPr>
                <a:t>肺部受累</a:t>
              </a:r>
              <a:endParaRPr lang="en-US" sz="1000" baseline="30000" dirty="0">
                <a:solidFill>
                  <a:srgbClr val="1A1918"/>
                </a:solidFill>
                <a:latin typeface="微软雅黑" panose="020B0503020204020204" pitchFamily="34" charset="-122"/>
                <a:ea typeface="微软雅黑" panose="020B0503020204020204" pitchFamily="34" charset="-122"/>
                <a:cs typeface="Arial" pitchFamily="34" charset="0"/>
              </a:endParaRPr>
            </a:p>
          </p:txBody>
        </p:sp>
        <p:sp>
          <p:nvSpPr>
            <p:cNvPr id="49" name="Rounded Rectangle 12">
              <a:extLst>
                <a:ext uri="{FF2B5EF4-FFF2-40B4-BE49-F238E27FC236}">
                  <a16:creationId xmlns:a16="http://schemas.microsoft.com/office/drawing/2014/main" id="{8BBFB0DE-9878-4C13-AD42-FFDC8417AD8D}"/>
                </a:ext>
              </a:extLst>
            </p:cNvPr>
            <p:cNvSpPr>
              <a:spLocks noChangeArrowheads="1"/>
            </p:cNvSpPr>
            <p:nvPr/>
          </p:nvSpPr>
          <p:spPr bwMode="auto">
            <a:xfrm>
              <a:off x="6280579" y="1714619"/>
              <a:ext cx="2415949" cy="910793"/>
            </a:xfrm>
            <a:prstGeom prst="roundRect">
              <a:avLst/>
            </a:prstGeom>
            <a:solidFill>
              <a:schemeClr val="accent1">
                <a:lumMod val="50000"/>
              </a:schemeClr>
            </a:solidFill>
            <a:ln w="19050">
              <a:solidFill>
                <a:schemeClr val="accent2">
                  <a:lumMod val="7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anchor="ctr">
              <a:noAutofit/>
            </a:bodyPr>
            <a:lstStyle/>
            <a:p>
              <a:pPr algn="ctr"/>
              <a:r>
                <a:rPr lang="zh-CN" altLang="en-US" sz="1050" dirty="0">
                  <a:solidFill>
                    <a:srgbClr val="FFFFFF"/>
                  </a:solidFill>
                  <a:latin typeface="微软雅黑" panose="020B0503020204020204" pitchFamily="34" charset="-122"/>
                  <a:ea typeface="微软雅黑" panose="020B0503020204020204" pitchFamily="34" charset="-122"/>
                  <a:cs typeface="Arial" pitchFamily="34" charset="0"/>
                </a:rPr>
                <a:t>贫血</a:t>
              </a:r>
              <a:r>
                <a:rPr lang="en-GB" sz="1050" dirty="0">
                  <a:solidFill>
                    <a:srgbClr val="FFFFFF"/>
                  </a:solidFill>
                  <a:latin typeface="微软雅黑" panose="020B0503020204020204" pitchFamily="34" charset="-122"/>
                  <a:ea typeface="微软雅黑" panose="020B0503020204020204" pitchFamily="34" charset="-122"/>
                  <a:cs typeface="Arial" pitchFamily="34" charset="0"/>
                </a:rPr>
                <a:t> (</a:t>
              </a:r>
              <a:r>
                <a:rPr lang="zh-CN" altLang="en-US" sz="1050" dirty="0">
                  <a:solidFill>
                    <a:srgbClr val="FFFFFF"/>
                  </a:solidFill>
                  <a:latin typeface="微软雅黑" panose="020B0503020204020204" pitchFamily="34" charset="-122"/>
                  <a:ea typeface="微软雅黑" panose="020B0503020204020204" pitchFamily="34" charset="-122"/>
                  <a:cs typeface="Arial" pitchFamily="34" charset="0"/>
                </a:rPr>
                <a:t>通常为中度</a:t>
              </a:r>
              <a:r>
                <a:rPr lang="en-GB" sz="1050" dirty="0">
                  <a:solidFill>
                    <a:srgbClr val="FFFFFF"/>
                  </a:solidFill>
                  <a:latin typeface="微软雅黑" panose="020B0503020204020204" pitchFamily="34" charset="-122"/>
                  <a:ea typeface="微软雅黑" panose="020B0503020204020204" pitchFamily="34" charset="-122"/>
                  <a:cs typeface="Arial" pitchFamily="34" charset="0"/>
                </a:rPr>
                <a:t>): 20–50%</a:t>
              </a:r>
              <a:endParaRPr lang="en-GB" sz="1050" baseline="30000" dirty="0">
                <a:solidFill>
                  <a:srgbClr val="FFFFFF"/>
                </a:solidFill>
                <a:latin typeface="微软雅黑" panose="020B0503020204020204" pitchFamily="34" charset="-122"/>
                <a:ea typeface="微软雅黑" panose="020B0503020204020204" pitchFamily="34" charset="-122"/>
                <a:cs typeface="Arial" pitchFamily="34" charset="0"/>
              </a:endParaRPr>
            </a:p>
            <a:p>
              <a:pPr algn="ctr"/>
              <a:r>
                <a:rPr lang="zh-CN" altLang="en-US" sz="1050" dirty="0">
                  <a:solidFill>
                    <a:srgbClr val="FFFFFF"/>
                  </a:solidFill>
                  <a:latin typeface="微软雅黑" panose="020B0503020204020204" pitchFamily="34" charset="-122"/>
                  <a:ea typeface="微软雅黑" panose="020B0503020204020204" pitchFamily="34" charset="-122"/>
                  <a:cs typeface="Arial" pitchFamily="34" charset="0"/>
                </a:rPr>
                <a:t>中重度血小板减少症</a:t>
              </a:r>
              <a:r>
                <a:rPr lang="en-GB" sz="1050" dirty="0">
                  <a:solidFill>
                    <a:srgbClr val="FFFFFF"/>
                  </a:solidFill>
                  <a:latin typeface="微软雅黑" panose="020B0503020204020204" pitchFamily="34" charset="-122"/>
                  <a:ea typeface="微软雅黑" panose="020B0503020204020204" pitchFamily="34" charset="-122"/>
                  <a:cs typeface="Arial" pitchFamily="34" charset="0"/>
                </a:rPr>
                <a:t>: 60%</a:t>
              </a:r>
              <a:endParaRPr lang="en-GB" sz="1050" baseline="30000" dirty="0">
                <a:solidFill>
                  <a:srgbClr val="FFFFFF"/>
                </a:solidFill>
                <a:latin typeface="微软雅黑" panose="020B0503020204020204" pitchFamily="34" charset="-122"/>
                <a:ea typeface="微软雅黑" panose="020B0503020204020204" pitchFamily="34" charset="-122"/>
                <a:cs typeface="Arial" pitchFamily="34" charset="0"/>
              </a:endParaRPr>
            </a:p>
          </p:txBody>
        </p:sp>
        <p:sp>
          <p:nvSpPr>
            <p:cNvPr id="50" name="Rounded Rectangle 13">
              <a:extLst>
                <a:ext uri="{FF2B5EF4-FFF2-40B4-BE49-F238E27FC236}">
                  <a16:creationId xmlns:a16="http://schemas.microsoft.com/office/drawing/2014/main" id="{6197BC65-9278-4F8C-B321-A4D1AE11C587}"/>
                </a:ext>
              </a:extLst>
            </p:cNvPr>
            <p:cNvSpPr>
              <a:spLocks noChangeArrowheads="1"/>
            </p:cNvSpPr>
            <p:nvPr/>
          </p:nvSpPr>
          <p:spPr bwMode="auto">
            <a:xfrm>
              <a:off x="537795" y="2067349"/>
              <a:ext cx="2338663" cy="405000"/>
            </a:xfrm>
            <a:prstGeom prst="roundRect">
              <a:avLst>
                <a:gd name="adj" fmla="val 21805"/>
              </a:avLst>
            </a:prstGeom>
            <a:solidFill>
              <a:schemeClr val="accent1"/>
            </a:solidFill>
            <a:ln w="19050">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anchor="ctr">
              <a:noAutofit/>
            </a:bodyPr>
            <a:lstStyle/>
            <a:p>
              <a:pPr algn="ctr"/>
              <a:r>
                <a:rPr lang="zh-CN" altLang="en-US" sz="1050" dirty="0">
                  <a:solidFill>
                    <a:srgbClr val="FFFFFF"/>
                  </a:solidFill>
                  <a:latin typeface="微软雅黑" panose="020B0503020204020204" pitchFamily="34" charset="-122"/>
                  <a:ea typeface="微软雅黑" panose="020B0503020204020204" pitchFamily="34" charset="-122"/>
                  <a:cs typeface="Arial" pitchFamily="34" charset="0"/>
                </a:rPr>
                <a:t>肝肿大</a:t>
              </a:r>
              <a:r>
                <a:rPr lang="en-GB" sz="1050" dirty="0">
                  <a:solidFill>
                    <a:srgbClr val="FFFFFF"/>
                  </a:solidFill>
                  <a:latin typeface="微软雅黑" panose="020B0503020204020204" pitchFamily="34" charset="-122"/>
                  <a:ea typeface="微软雅黑" panose="020B0503020204020204" pitchFamily="34" charset="-122"/>
                  <a:cs typeface="Arial" pitchFamily="34" charset="0"/>
                </a:rPr>
                <a:t>: 60–80%</a:t>
              </a:r>
              <a:endParaRPr lang="en-GB" sz="1050" baseline="30000" dirty="0">
                <a:solidFill>
                  <a:srgbClr val="FFFFFF"/>
                </a:solidFill>
                <a:latin typeface="微软雅黑" panose="020B0503020204020204" pitchFamily="34" charset="-122"/>
                <a:ea typeface="微软雅黑" panose="020B0503020204020204" pitchFamily="34" charset="-122"/>
                <a:cs typeface="Arial" pitchFamily="34" charset="0"/>
              </a:endParaRPr>
            </a:p>
          </p:txBody>
        </p:sp>
        <p:sp>
          <p:nvSpPr>
            <p:cNvPr id="51" name="Rounded Rectangle 14">
              <a:extLst>
                <a:ext uri="{FF2B5EF4-FFF2-40B4-BE49-F238E27FC236}">
                  <a16:creationId xmlns:a16="http://schemas.microsoft.com/office/drawing/2014/main" id="{8B30961A-F219-4F02-9EAE-5D985EEB38B2}"/>
                </a:ext>
              </a:extLst>
            </p:cNvPr>
            <p:cNvSpPr>
              <a:spLocks noChangeArrowheads="1"/>
            </p:cNvSpPr>
            <p:nvPr/>
          </p:nvSpPr>
          <p:spPr bwMode="auto">
            <a:xfrm>
              <a:off x="537795" y="3088405"/>
              <a:ext cx="2338663" cy="713937"/>
            </a:xfrm>
            <a:prstGeom prst="roundRect">
              <a:avLst>
                <a:gd name="adj" fmla="val 21039"/>
              </a:avLst>
            </a:prstGeom>
            <a:solidFill>
              <a:schemeClr val="accent1"/>
            </a:solidFill>
            <a:ln w="19050">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anchor="ctr">
              <a:noAutofit/>
            </a:bodyPr>
            <a:lstStyle/>
            <a:p>
              <a:pPr algn="ctr"/>
              <a:r>
                <a:rPr lang="zh-CN" altLang="en-US" sz="1050" dirty="0">
                  <a:solidFill>
                    <a:srgbClr val="FFFFFF"/>
                  </a:solidFill>
                  <a:latin typeface="微软雅黑" panose="020B0503020204020204" pitchFamily="34" charset="-122"/>
                  <a:ea typeface="微软雅黑" panose="020B0503020204020204" pitchFamily="34" charset="-122"/>
                  <a:cs typeface="Arial" pitchFamily="34" charset="0"/>
                </a:rPr>
                <a:t>脾肿大</a:t>
              </a:r>
              <a:r>
                <a:rPr lang="en-GB" sz="1050" dirty="0">
                  <a:solidFill>
                    <a:srgbClr val="FFFFFF"/>
                  </a:solidFill>
                  <a:latin typeface="微软雅黑" panose="020B0503020204020204" pitchFamily="34" charset="-122"/>
                  <a:ea typeface="微软雅黑" panose="020B0503020204020204" pitchFamily="34" charset="-122"/>
                  <a:cs typeface="Arial" pitchFamily="34" charset="0"/>
                </a:rPr>
                <a:t>: &gt;90%</a:t>
              </a:r>
              <a:endParaRPr lang="en-GB" sz="1050" baseline="30000" dirty="0">
                <a:solidFill>
                  <a:srgbClr val="FFFFFF"/>
                </a:solidFill>
                <a:latin typeface="微软雅黑" panose="020B0503020204020204" pitchFamily="34" charset="-122"/>
                <a:ea typeface="微软雅黑" panose="020B0503020204020204" pitchFamily="34" charset="-122"/>
                <a:cs typeface="Arial" pitchFamily="34" charset="0"/>
              </a:endParaRPr>
            </a:p>
            <a:p>
              <a:pPr algn="ctr"/>
              <a:r>
                <a:rPr lang="zh-CN" altLang="en-US" sz="1050" dirty="0">
                  <a:solidFill>
                    <a:srgbClr val="FFFFFF"/>
                  </a:solidFill>
                  <a:latin typeface="微软雅黑" panose="020B0503020204020204" pitchFamily="34" charset="-122"/>
                  <a:ea typeface="微软雅黑" panose="020B0503020204020204" pitchFamily="34" charset="-122"/>
                  <a:cs typeface="Arial" pitchFamily="34" charset="0"/>
                </a:rPr>
                <a:t>重度脾肿大</a:t>
              </a:r>
              <a:r>
                <a:rPr lang="en-GB" sz="1050" dirty="0">
                  <a:solidFill>
                    <a:srgbClr val="FFFFFF"/>
                  </a:solidFill>
                  <a:latin typeface="微软雅黑" panose="020B0503020204020204" pitchFamily="34" charset="-122"/>
                  <a:ea typeface="微软雅黑" panose="020B0503020204020204" pitchFamily="34" charset="-122"/>
                  <a:cs typeface="Arial" pitchFamily="34" charset="0"/>
                </a:rPr>
                <a:t>: 38%</a:t>
              </a:r>
              <a:endParaRPr lang="en-GB" sz="1050" baseline="30000" dirty="0">
                <a:solidFill>
                  <a:srgbClr val="FFFFFF"/>
                </a:solidFill>
                <a:latin typeface="微软雅黑" panose="020B0503020204020204" pitchFamily="34" charset="-122"/>
                <a:ea typeface="微软雅黑" panose="020B0503020204020204" pitchFamily="34" charset="-122"/>
                <a:cs typeface="Arial" pitchFamily="34" charset="0"/>
              </a:endParaRPr>
            </a:p>
          </p:txBody>
        </p:sp>
        <p:sp>
          <p:nvSpPr>
            <p:cNvPr id="52" name="Rounded Rectangle 15">
              <a:extLst>
                <a:ext uri="{FF2B5EF4-FFF2-40B4-BE49-F238E27FC236}">
                  <a16:creationId xmlns:a16="http://schemas.microsoft.com/office/drawing/2014/main" id="{60D1236C-F3A5-48D0-85FA-97CEB3CDA975}"/>
                </a:ext>
              </a:extLst>
            </p:cNvPr>
            <p:cNvSpPr>
              <a:spLocks noChangeArrowheads="1"/>
            </p:cNvSpPr>
            <p:nvPr/>
          </p:nvSpPr>
          <p:spPr bwMode="auto">
            <a:xfrm>
              <a:off x="6280577" y="2924718"/>
              <a:ext cx="2415947" cy="864000"/>
            </a:xfrm>
            <a:prstGeom prst="roundRect">
              <a:avLst/>
            </a:prstGeom>
            <a:solidFill>
              <a:schemeClr val="accent3"/>
            </a:solidFill>
            <a:ln w="19050">
              <a:solidFill>
                <a:schemeClr val="accent3"/>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anchor="ctr">
              <a:noAutofit/>
            </a:bodyPr>
            <a:lstStyle/>
            <a:p>
              <a:pPr algn="ctr"/>
              <a:r>
                <a:rPr lang="zh-CN" altLang="en-US" sz="1050" dirty="0">
                  <a:solidFill>
                    <a:srgbClr val="FFFFFF"/>
                  </a:solidFill>
                  <a:latin typeface="微软雅黑" panose="020B0503020204020204" pitchFamily="34" charset="-122"/>
                  <a:ea typeface="微软雅黑" panose="020B0503020204020204" pitchFamily="34" charset="-122"/>
                  <a:cs typeface="Arial" pitchFamily="34" charset="0"/>
                </a:rPr>
                <a:t>骨痛</a:t>
              </a:r>
              <a:r>
                <a:rPr lang="en-GB" sz="1050" dirty="0">
                  <a:solidFill>
                    <a:srgbClr val="FFFFFF"/>
                  </a:solidFill>
                  <a:latin typeface="微软雅黑" panose="020B0503020204020204" pitchFamily="34" charset="-122"/>
                  <a:ea typeface="微软雅黑" panose="020B0503020204020204" pitchFamily="34" charset="-122"/>
                  <a:cs typeface="Arial" pitchFamily="34" charset="0"/>
                </a:rPr>
                <a:t>: 34%</a:t>
              </a:r>
              <a:endParaRPr lang="en-GB" sz="1050" baseline="30000" dirty="0">
                <a:solidFill>
                  <a:srgbClr val="FFFFFF"/>
                </a:solidFill>
                <a:latin typeface="微软雅黑" panose="020B0503020204020204" pitchFamily="34" charset="-122"/>
                <a:ea typeface="微软雅黑" panose="020B0503020204020204" pitchFamily="34" charset="-122"/>
                <a:cs typeface="Arial" pitchFamily="34" charset="0"/>
              </a:endParaRPr>
            </a:p>
            <a:p>
              <a:pPr algn="ctr"/>
              <a:r>
                <a:rPr lang="zh-CN" altLang="en-US" sz="1050" dirty="0">
                  <a:solidFill>
                    <a:srgbClr val="FFFFFF"/>
                  </a:solidFill>
                  <a:latin typeface="微软雅黑" panose="020B0503020204020204" pitchFamily="34" charset="-122"/>
                  <a:ea typeface="微软雅黑" panose="020B0503020204020204" pitchFamily="34" charset="-122"/>
                  <a:cs typeface="Arial" pitchFamily="34" charset="0"/>
                </a:rPr>
                <a:t>骨危象</a:t>
              </a:r>
              <a:r>
                <a:rPr lang="en-GB" sz="1050" dirty="0">
                  <a:solidFill>
                    <a:srgbClr val="FFFFFF"/>
                  </a:solidFill>
                  <a:latin typeface="微软雅黑" panose="020B0503020204020204" pitchFamily="34" charset="-122"/>
                  <a:ea typeface="微软雅黑" panose="020B0503020204020204" pitchFamily="34" charset="-122"/>
                  <a:cs typeface="Arial" pitchFamily="34" charset="0"/>
                </a:rPr>
                <a:t>: 7%</a:t>
              </a:r>
              <a:endParaRPr lang="en-GB" sz="1050" baseline="30000" dirty="0">
                <a:solidFill>
                  <a:srgbClr val="FFFFFF"/>
                </a:solidFill>
                <a:latin typeface="微软雅黑" panose="020B0503020204020204" pitchFamily="34" charset="-122"/>
                <a:ea typeface="微软雅黑" panose="020B0503020204020204" pitchFamily="34" charset="-122"/>
                <a:cs typeface="Arial" pitchFamily="34" charset="0"/>
              </a:endParaRPr>
            </a:p>
            <a:p>
              <a:pPr algn="ctr"/>
              <a:r>
                <a:rPr lang="zh-CN" altLang="en-US" sz="1050" dirty="0">
                  <a:solidFill>
                    <a:srgbClr val="FFFFFF"/>
                  </a:solidFill>
                  <a:latin typeface="微软雅黑" panose="020B0503020204020204" pitchFamily="34" charset="-122"/>
                  <a:ea typeface="微软雅黑" panose="020B0503020204020204" pitchFamily="34" charset="-122"/>
                  <a:cs typeface="Arial" pitchFamily="34" charset="0"/>
                </a:rPr>
                <a:t>骨骼疾病的放射学证据</a:t>
              </a:r>
              <a:r>
                <a:rPr lang="en-GB" sz="1050" dirty="0">
                  <a:solidFill>
                    <a:srgbClr val="FFFFFF"/>
                  </a:solidFill>
                  <a:latin typeface="微软雅黑" panose="020B0503020204020204" pitchFamily="34" charset="-122"/>
                  <a:ea typeface="微软雅黑" panose="020B0503020204020204" pitchFamily="34" charset="-122"/>
                  <a:cs typeface="Arial" pitchFamily="34" charset="0"/>
                </a:rPr>
                <a:t>: 83%</a:t>
              </a:r>
              <a:endParaRPr lang="en-GB" sz="1050" baseline="30000" dirty="0">
                <a:solidFill>
                  <a:srgbClr val="FFFFFF"/>
                </a:solidFill>
                <a:latin typeface="微软雅黑" panose="020B0503020204020204" pitchFamily="34" charset="-122"/>
                <a:ea typeface="微软雅黑" panose="020B0503020204020204" pitchFamily="34" charset="-122"/>
                <a:cs typeface="Arial" pitchFamily="34" charset="0"/>
              </a:endParaRPr>
            </a:p>
          </p:txBody>
        </p:sp>
        <p:grpSp>
          <p:nvGrpSpPr>
            <p:cNvPr id="53" name="Group 1">
              <a:extLst>
                <a:ext uri="{FF2B5EF4-FFF2-40B4-BE49-F238E27FC236}">
                  <a16:creationId xmlns:a16="http://schemas.microsoft.com/office/drawing/2014/main" id="{900DA6D0-3CCA-430F-8587-6B5A4551F297}"/>
                </a:ext>
              </a:extLst>
            </p:cNvPr>
            <p:cNvGrpSpPr/>
            <p:nvPr/>
          </p:nvGrpSpPr>
          <p:grpSpPr>
            <a:xfrm>
              <a:off x="3439435" y="931594"/>
              <a:ext cx="2589564" cy="3445669"/>
              <a:chOff x="4585916" y="1242126"/>
              <a:chExt cx="3452753" cy="4594225"/>
            </a:xfrm>
          </p:grpSpPr>
          <p:pic>
            <p:nvPicPr>
              <p:cNvPr id="58" name="Picture 31" descr="SH6707_MaleAnterior_A">
                <a:extLst>
                  <a:ext uri="{FF2B5EF4-FFF2-40B4-BE49-F238E27FC236}">
                    <a16:creationId xmlns:a16="http://schemas.microsoft.com/office/drawing/2014/main" id="{113B534A-26D3-429D-A73A-02F0D1444E06}"/>
                  </a:ext>
                </a:extLst>
              </p:cNvPr>
              <p:cNvPicPr>
                <a:picLocks noChangeAspect="1" noChangeArrowheads="1"/>
              </p:cNvPicPr>
              <p:nvPr/>
            </p:nvPicPr>
            <p:blipFill>
              <a:blip r:embed="rId7" cstate="print"/>
              <a:srcRect/>
              <a:stretch>
                <a:fillRect/>
              </a:stretch>
            </p:blipFill>
            <p:spPr bwMode="auto">
              <a:xfrm>
                <a:off x="4585916" y="1242126"/>
                <a:ext cx="3452753" cy="4594225"/>
              </a:xfrm>
              <a:prstGeom prst="rect">
                <a:avLst/>
              </a:prstGeom>
              <a:noFill/>
              <a:ln w="9525">
                <a:noFill/>
                <a:miter lim="800000"/>
                <a:headEnd/>
                <a:tailEnd/>
              </a:ln>
            </p:spPr>
          </p:pic>
          <p:sp>
            <p:nvSpPr>
              <p:cNvPr id="59" name="Freeform 7">
                <a:extLst>
                  <a:ext uri="{FF2B5EF4-FFF2-40B4-BE49-F238E27FC236}">
                    <a16:creationId xmlns:a16="http://schemas.microsoft.com/office/drawing/2014/main" id="{A786922A-9434-4F7B-9B7B-A508340E0C27}"/>
                  </a:ext>
                </a:extLst>
              </p:cNvPr>
              <p:cNvSpPr/>
              <p:nvPr/>
            </p:nvSpPr>
            <p:spPr>
              <a:xfrm>
                <a:off x="5693076" y="2307452"/>
                <a:ext cx="467577" cy="829139"/>
              </a:xfrm>
              <a:custGeom>
                <a:avLst/>
                <a:gdLst>
                  <a:gd name="connsiteX0" fmla="*/ 314325 w 381000"/>
                  <a:gd name="connsiteY0" fmla="*/ 0 h 831056"/>
                  <a:gd name="connsiteX1" fmla="*/ 80962 w 381000"/>
                  <a:gd name="connsiteY1" fmla="*/ 207168 h 831056"/>
                  <a:gd name="connsiteX2" fmla="*/ 0 w 381000"/>
                  <a:gd name="connsiteY2" fmla="*/ 592931 h 831056"/>
                  <a:gd name="connsiteX3" fmla="*/ 35718 w 381000"/>
                  <a:gd name="connsiteY3" fmla="*/ 831056 h 831056"/>
                  <a:gd name="connsiteX4" fmla="*/ 185737 w 381000"/>
                  <a:gd name="connsiteY4" fmla="*/ 678656 h 831056"/>
                  <a:gd name="connsiteX5" fmla="*/ 342900 w 381000"/>
                  <a:gd name="connsiteY5" fmla="*/ 583406 h 831056"/>
                  <a:gd name="connsiteX6" fmla="*/ 381000 w 381000"/>
                  <a:gd name="connsiteY6" fmla="*/ 214312 h 831056"/>
                  <a:gd name="connsiteX7" fmla="*/ 316706 w 381000"/>
                  <a:gd name="connsiteY7" fmla="*/ 126206 h 831056"/>
                  <a:gd name="connsiteX8" fmla="*/ 347662 w 381000"/>
                  <a:gd name="connsiteY8" fmla="*/ 38100 h 831056"/>
                  <a:gd name="connsiteX9" fmla="*/ 314325 w 381000"/>
                  <a:gd name="connsiteY9" fmla="*/ 0 h 831056"/>
                  <a:gd name="connsiteX0" fmla="*/ 314325 w 381000"/>
                  <a:gd name="connsiteY0" fmla="*/ 0 h 831056"/>
                  <a:gd name="connsiteX1" fmla="*/ 80962 w 381000"/>
                  <a:gd name="connsiteY1" fmla="*/ 207168 h 831056"/>
                  <a:gd name="connsiteX2" fmla="*/ 0 w 381000"/>
                  <a:gd name="connsiteY2" fmla="*/ 592931 h 831056"/>
                  <a:gd name="connsiteX3" fmla="*/ 35718 w 381000"/>
                  <a:gd name="connsiteY3" fmla="*/ 831056 h 831056"/>
                  <a:gd name="connsiteX4" fmla="*/ 185737 w 381000"/>
                  <a:gd name="connsiteY4" fmla="*/ 678656 h 831056"/>
                  <a:gd name="connsiteX5" fmla="*/ 342900 w 381000"/>
                  <a:gd name="connsiteY5" fmla="*/ 583406 h 831056"/>
                  <a:gd name="connsiteX6" fmla="*/ 381000 w 381000"/>
                  <a:gd name="connsiteY6" fmla="*/ 214312 h 831056"/>
                  <a:gd name="connsiteX7" fmla="*/ 316706 w 381000"/>
                  <a:gd name="connsiteY7" fmla="*/ 126206 h 831056"/>
                  <a:gd name="connsiteX8" fmla="*/ 347662 w 381000"/>
                  <a:gd name="connsiteY8" fmla="*/ 38100 h 831056"/>
                  <a:gd name="connsiteX9" fmla="*/ 314325 w 381000"/>
                  <a:gd name="connsiteY9" fmla="*/ 0 h 831056"/>
                  <a:gd name="connsiteX0" fmla="*/ 314325 w 381000"/>
                  <a:gd name="connsiteY0" fmla="*/ 0 h 831056"/>
                  <a:gd name="connsiteX1" fmla="*/ 80962 w 381000"/>
                  <a:gd name="connsiteY1" fmla="*/ 207168 h 831056"/>
                  <a:gd name="connsiteX2" fmla="*/ 0 w 381000"/>
                  <a:gd name="connsiteY2" fmla="*/ 592931 h 831056"/>
                  <a:gd name="connsiteX3" fmla="*/ 35718 w 381000"/>
                  <a:gd name="connsiteY3" fmla="*/ 831056 h 831056"/>
                  <a:gd name="connsiteX4" fmla="*/ 185737 w 381000"/>
                  <a:gd name="connsiteY4" fmla="*/ 678656 h 831056"/>
                  <a:gd name="connsiteX5" fmla="*/ 342900 w 381000"/>
                  <a:gd name="connsiteY5" fmla="*/ 583406 h 831056"/>
                  <a:gd name="connsiteX6" fmla="*/ 381000 w 381000"/>
                  <a:gd name="connsiteY6" fmla="*/ 214312 h 831056"/>
                  <a:gd name="connsiteX7" fmla="*/ 316706 w 381000"/>
                  <a:gd name="connsiteY7" fmla="*/ 126206 h 831056"/>
                  <a:gd name="connsiteX8" fmla="*/ 347662 w 381000"/>
                  <a:gd name="connsiteY8" fmla="*/ 38100 h 831056"/>
                  <a:gd name="connsiteX9" fmla="*/ 314325 w 381000"/>
                  <a:gd name="connsiteY9" fmla="*/ 0 h 831056"/>
                  <a:gd name="connsiteX0" fmla="*/ 314325 w 381000"/>
                  <a:gd name="connsiteY0" fmla="*/ 365 h 831421"/>
                  <a:gd name="connsiteX1" fmla="*/ 80962 w 381000"/>
                  <a:gd name="connsiteY1" fmla="*/ 207533 h 831421"/>
                  <a:gd name="connsiteX2" fmla="*/ 0 w 381000"/>
                  <a:gd name="connsiteY2" fmla="*/ 593296 h 831421"/>
                  <a:gd name="connsiteX3" fmla="*/ 35718 w 381000"/>
                  <a:gd name="connsiteY3" fmla="*/ 831421 h 831421"/>
                  <a:gd name="connsiteX4" fmla="*/ 185737 w 381000"/>
                  <a:gd name="connsiteY4" fmla="*/ 679021 h 831421"/>
                  <a:gd name="connsiteX5" fmla="*/ 342900 w 381000"/>
                  <a:gd name="connsiteY5" fmla="*/ 583771 h 831421"/>
                  <a:gd name="connsiteX6" fmla="*/ 381000 w 381000"/>
                  <a:gd name="connsiteY6" fmla="*/ 214677 h 831421"/>
                  <a:gd name="connsiteX7" fmla="*/ 316706 w 381000"/>
                  <a:gd name="connsiteY7" fmla="*/ 126571 h 831421"/>
                  <a:gd name="connsiteX8" fmla="*/ 347662 w 381000"/>
                  <a:gd name="connsiteY8" fmla="*/ 38465 h 831421"/>
                  <a:gd name="connsiteX9" fmla="*/ 314325 w 381000"/>
                  <a:gd name="connsiteY9" fmla="*/ 365 h 831421"/>
                  <a:gd name="connsiteX0" fmla="*/ 314325 w 381000"/>
                  <a:gd name="connsiteY0" fmla="*/ 464 h 831520"/>
                  <a:gd name="connsiteX1" fmla="*/ 80962 w 381000"/>
                  <a:gd name="connsiteY1" fmla="*/ 207632 h 831520"/>
                  <a:gd name="connsiteX2" fmla="*/ 0 w 381000"/>
                  <a:gd name="connsiteY2" fmla="*/ 593395 h 831520"/>
                  <a:gd name="connsiteX3" fmla="*/ 35718 w 381000"/>
                  <a:gd name="connsiteY3" fmla="*/ 831520 h 831520"/>
                  <a:gd name="connsiteX4" fmla="*/ 185737 w 381000"/>
                  <a:gd name="connsiteY4" fmla="*/ 679120 h 831520"/>
                  <a:gd name="connsiteX5" fmla="*/ 342900 w 381000"/>
                  <a:gd name="connsiteY5" fmla="*/ 583870 h 831520"/>
                  <a:gd name="connsiteX6" fmla="*/ 381000 w 381000"/>
                  <a:gd name="connsiteY6" fmla="*/ 214776 h 831520"/>
                  <a:gd name="connsiteX7" fmla="*/ 316706 w 381000"/>
                  <a:gd name="connsiteY7" fmla="*/ 126670 h 831520"/>
                  <a:gd name="connsiteX8" fmla="*/ 347662 w 381000"/>
                  <a:gd name="connsiteY8" fmla="*/ 38564 h 831520"/>
                  <a:gd name="connsiteX9" fmla="*/ 314325 w 381000"/>
                  <a:gd name="connsiteY9" fmla="*/ 464 h 831520"/>
                  <a:gd name="connsiteX0" fmla="*/ 314325 w 381000"/>
                  <a:gd name="connsiteY0" fmla="*/ 464 h 831520"/>
                  <a:gd name="connsiteX1" fmla="*/ 80962 w 381000"/>
                  <a:gd name="connsiteY1" fmla="*/ 207632 h 831520"/>
                  <a:gd name="connsiteX2" fmla="*/ 0 w 381000"/>
                  <a:gd name="connsiteY2" fmla="*/ 593395 h 831520"/>
                  <a:gd name="connsiteX3" fmla="*/ 35718 w 381000"/>
                  <a:gd name="connsiteY3" fmla="*/ 831520 h 831520"/>
                  <a:gd name="connsiteX4" fmla="*/ 185737 w 381000"/>
                  <a:gd name="connsiteY4" fmla="*/ 679120 h 831520"/>
                  <a:gd name="connsiteX5" fmla="*/ 342900 w 381000"/>
                  <a:gd name="connsiteY5" fmla="*/ 583870 h 831520"/>
                  <a:gd name="connsiteX6" fmla="*/ 381000 w 381000"/>
                  <a:gd name="connsiteY6" fmla="*/ 214776 h 831520"/>
                  <a:gd name="connsiteX7" fmla="*/ 316706 w 381000"/>
                  <a:gd name="connsiteY7" fmla="*/ 126670 h 831520"/>
                  <a:gd name="connsiteX8" fmla="*/ 347662 w 381000"/>
                  <a:gd name="connsiteY8" fmla="*/ 38564 h 831520"/>
                  <a:gd name="connsiteX9" fmla="*/ 314325 w 381000"/>
                  <a:gd name="connsiteY9" fmla="*/ 464 h 831520"/>
                  <a:gd name="connsiteX0" fmla="*/ 314325 w 381000"/>
                  <a:gd name="connsiteY0" fmla="*/ 464 h 831520"/>
                  <a:gd name="connsiteX1" fmla="*/ 80962 w 381000"/>
                  <a:gd name="connsiteY1" fmla="*/ 207632 h 831520"/>
                  <a:gd name="connsiteX2" fmla="*/ 0 w 381000"/>
                  <a:gd name="connsiteY2" fmla="*/ 593395 h 831520"/>
                  <a:gd name="connsiteX3" fmla="*/ 35718 w 381000"/>
                  <a:gd name="connsiteY3" fmla="*/ 831520 h 831520"/>
                  <a:gd name="connsiteX4" fmla="*/ 185737 w 381000"/>
                  <a:gd name="connsiteY4" fmla="*/ 679120 h 831520"/>
                  <a:gd name="connsiteX5" fmla="*/ 342900 w 381000"/>
                  <a:gd name="connsiteY5" fmla="*/ 583870 h 831520"/>
                  <a:gd name="connsiteX6" fmla="*/ 381000 w 381000"/>
                  <a:gd name="connsiteY6" fmla="*/ 214776 h 831520"/>
                  <a:gd name="connsiteX7" fmla="*/ 316706 w 381000"/>
                  <a:gd name="connsiteY7" fmla="*/ 126670 h 831520"/>
                  <a:gd name="connsiteX8" fmla="*/ 347662 w 381000"/>
                  <a:gd name="connsiteY8" fmla="*/ 38564 h 831520"/>
                  <a:gd name="connsiteX9" fmla="*/ 314325 w 381000"/>
                  <a:gd name="connsiteY9" fmla="*/ 464 h 831520"/>
                  <a:gd name="connsiteX0" fmla="*/ 314325 w 381384"/>
                  <a:gd name="connsiteY0" fmla="*/ 464 h 831520"/>
                  <a:gd name="connsiteX1" fmla="*/ 80962 w 381384"/>
                  <a:gd name="connsiteY1" fmla="*/ 207632 h 831520"/>
                  <a:gd name="connsiteX2" fmla="*/ 0 w 381384"/>
                  <a:gd name="connsiteY2" fmla="*/ 593395 h 831520"/>
                  <a:gd name="connsiteX3" fmla="*/ 35718 w 381384"/>
                  <a:gd name="connsiteY3" fmla="*/ 831520 h 831520"/>
                  <a:gd name="connsiteX4" fmla="*/ 185737 w 381384"/>
                  <a:gd name="connsiteY4" fmla="*/ 679120 h 831520"/>
                  <a:gd name="connsiteX5" fmla="*/ 342900 w 381384"/>
                  <a:gd name="connsiteY5" fmla="*/ 583870 h 831520"/>
                  <a:gd name="connsiteX6" fmla="*/ 381000 w 381384"/>
                  <a:gd name="connsiteY6" fmla="*/ 214776 h 831520"/>
                  <a:gd name="connsiteX7" fmla="*/ 316706 w 381384"/>
                  <a:gd name="connsiteY7" fmla="*/ 126670 h 831520"/>
                  <a:gd name="connsiteX8" fmla="*/ 347662 w 381384"/>
                  <a:gd name="connsiteY8" fmla="*/ 38564 h 831520"/>
                  <a:gd name="connsiteX9" fmla="*/ 314325 w 381384"/>
                  <a:gd name="connsiteY9" fmla="*/ 464 h 831520"/>
                  <a:gd name="connsiteX0" fmla="*/ 314325 w 388925"/>
                  <a:gd name="connsiteY0" fmla="*/ 464 h 831520"/>
                  <a:gd name="connsiteX1" fmla="*/ 80962 w 388925"/>
                  <a:gd name="connsiteY1" fmla="*/ 207632 h 831520"/>
                  <a:gd name="connsiteX2" fmla="*/ 0 w 388925"/>
                  <a:gd name="connsiteY2" fmla="*/ 593395 h 831520"/>
                  <a:gd name="connsiteX3" fmla="*/ 35718 w 388925"/>
                  <a:gd name="connsiteY3" fmla="*/ 831520 h 831520"/>
                  <a:gd name="connsiteX4" fmla="*/ 185737 w 388925"/>
                  <a:gd name="connsiteY4" fmla="*/ 679120 h 831520"/>
                  <a:gd name="connsiteX5" fmla="*/ 342900 w 388925"/>
                  <a:gd name="connsiteY5" fmla="*/ 583870 h 831520"/>
                  <a:gd name="connsiteX6" fmla="*/ 381000 w 388925"/>
                  <a:gd name="connsiteY6" fmla="*/ 214776 h 831520"/>
                  <a:gd name="connsiteX7" fmla="*/ 316706 w 388925"/>
                  <a:gd name="connsiteY7" fmla="*/ 126670 h 831520"/>
                  <a:gd name="connsiteX8" fmla="*/ 347662 w 388925"/>
                  <a:gd name="connsiteY8" fmla="*/ 38564 h 831520"/>
                  <a:gd name="connsiteX9" fmla="*/ 314325 w 388925"/>
                  <a:gd name="connsiteY9" fmla="*/ 464 h 831520"/>
                  <a:gd name="connsiteX0" fmla="*/ 314325 w 407574"/>
                  <a:gd name="connsiteY0" fmla="*/ 464 h 831520"/>
                  <a:gd name="connsiteX1" fmla="*/ 80962 w 407574"/>
                  <a:gd name="connsiteY1" fmla="*/ 207632 h 831520"/>
                  <a:gd name="connsiteX2" fmla="*/ 0 w 407574"/>
                  <a:gd name="connsiteY2" fmla="*/ 593395 h 831520"/>
                  <a:gd name="connsiteX3" fmla="*/ 35718 w 407574"/>
                  <a:gd name="connsiteY3" fmla="*/ 831520 h 831520"/>
                  <a:gd name="connsiteX4" fmla="*/ 185737 w 407574"/>
                  <a:gd name="connsiteY4" fmla="*/ 679120 h 831520"/>
                  <a:gd name="connsiteX5" fmla="*/ 342900 w 407574"/>
                  <a:gd name="connsiteY5" fmla="*/ 583870 h 831520"/>
                  <a:gd name="connsiteX6" fmla="*/ 381000 w 407574"/>
                  <a:gd name="connsiteY6" fmla="*/ 214776 h 831520"/>
                  <a:gd name="connsiteX7" fmla="*/ 316706 w 407574"/>
                  <a:gd name="connsiteY7" fmla="*/ 126670 h 831520"/>
                  <a:gd name="connsiteX8" fmla="*/ 347662 w 407574"/>
                  <a:gd name="connsiteY8" fmla="*/ 38564 h 831520"/>
                  <a:gd name="connsiteX9" fmla="*/ 314325 w 407574"/>
                  <a:gd name="connsiteY9" fmla="*/ 464 h 831520"/>
                  <a:gd name="connsiteX0" fmla="*/ 314325 w 407574"/>
                  <a:gd name="connsiteY0" fmla="*/ 464 h 831520"/>
                  <a:gd name="connsiteX1" fmla="*/ 80962 w 407574"/>
                  <a:gd name="connsiteY1" fmla="*/ 207632 h 831520"/>
                  <a:gd name="connsiteX2" fmla="*/ 0 w 407574"/>
                  <a:gd name="connsiteY2" fmla="*/ 593395 h 831520"/>
                  <a:gd name="connsiteX3" fmla="*/ 35718 w 407574"/>
                  <a:gd name="connsiteY3" fmla="*/ 831520 h 831520"/>
                  <a:gd name="connsiteX4" fmla="*/ 185737 w 407574"/>
                  <a:gd name="connsiteY4" fmla="*/ 679120 h 831520"/>
                  <a:gd name="connsiteX5" fmla="*/ 342900 w 407574"/>
                  <a:gd name="connsiteY5" fmla="*/ 583870 h 831520"/>
                  <a:gd name="connsiteX6" fmla="*/ 381000 w 407574"/>
                  <a:gd name="connsiteY6" fmla="*/ 214776 h 831520"/>
                  <a:gd name="connsiteX7" fmla="*/ 316706 w 407574"/>
                  <a:gd name="connsiteY7" fmla="*/ 126670 h 831520"/>
                  <a:gd name="connsiteX8" fmla="*/ 347662 w 407574"/>
                  <a:gd name="connsiteY8" fmla="*/ 38564 h 831520"/>
                  <a:gd name="connsiteX9" fmla="*/ 314325 w 407574"/>
                  <a:gd name="connsiteY9" fmla="*/ 464 h 831520"/>
                  <a:gd name="connsiteX0" fmla="*/ 314325 w 412311"/>
                  <a:gd name="connsiteY0" fmla="*/ 464 h 831520"/>
                  <a:gd name="connsiteX1" fmla="*/ 80962 w 412311"/>
                  <a:gd name="connsiteY1" fmla="*/ 207632 h 831520"/>
                  <a:gd name="connsiteX2" fmla="*/ 0 w 412311"/>
                  <a:gd name="connsiteY2" fmla="*/ 593395 h 831520"/>
                  <a:gd name="connsiteX3" fmla="*/ 35718 w 412311"/>
                  <a:gd name="connsiteY3" fmla="*/ 831520 h 831520"/>
                  <a:gd name="connsiteX4" fmla="*/ 185737 w 412311"/>
                  <a:gd name="connsiteY4" fmla="*/ 679120 h 831520"/>
                  <a:gd name="connsiteX5" fmla="*/ 352425 w 412311"/>
                  <a:gd name="connsiteY5" fmla="*/ 586251 h 831520"/>
                  <a:gd name="connsiteX6" fmla="*/ 381000 w 412311"/>
                  <a:gd name="connsiteY6" fmla="*/ 214776 h 831520"/>
                  <a:gd name="connsiteX7" fmla="*/ 316706 w 412311"/>
                  <a:gd name="connsiteY7" fmla="*/ 126670 h 831520"/>
                  <a:gd name="connsiteX8" fmla="*/ 347662 w 412311"/>
                  <a:gd name="connsiteY8" fmla="*/ 38564 h 831520"/>
                  <a:gd name="connsiteX9" fmla="*/ 314325 w 412311"/>
                  <a:gd name="connsiteY9" fmla="*/ 464 h 831520"/>
                  <a:gd name="connsiteX0" fmla="*/ 314325 w 412311"/>
                  <a:gd name="connsiteY0" fmla="*/ 464 h 831520"/>
                  <a:gd name="connsiteX1" fmla="*/ 80962 w 412311"/>
                  <a:gd name="connsiteY1" fmla="*/ 207632 h 831520"/>
                  <a:gd name="connsiteX2" fmla="*/ 0 w 412311"/>
                  <a:gd name="connsiteY2" fmla="*/ 593395 h 831520"/>
                  <a:gd name="connsiteX3" fmla="*/ 35718 w 412311"/>
                  <a:gd name="connsiteY3" fmla="*/ 831520 h 831520"/>
                  <a:gd name="connsiteX4" fmla="*/ 185737 w 412311"/>
                  <a:gd name="connsiteY4" fmla="*/ 679120 h 831520"/>
                  <a:gd name="connsiteX5" fmla="*/ 352425 w 412311"/>
                  <a:gd name="connsiteY5" fmla="*/ 586251 h 831520"/>
                  <a:gd name="connsiteX6" fmla="*/ 381000 w 412311"/>
                  <a:gd name="connsiteY6" fmla="*/ 214776 h 831520"/>
                  <a:gd name="connsiteX7" fmla="*/ 316706 w 412311"/>
                  <a:gd name="connsiteY7" fmla="*/ 126670 h 831520"/>
                  <a:gd name="connsiteX8" fmla="*/ 347662 w 412311"/>
                  <a:gd name="connsiteY8" fmla="*/ 38564 h 831520"/>
                  <a:gd name="connsiteX9" fmla="*/ 314325 w 412311"/>
                  <a:gd name="connsiteY9" fmla="*/ 464 h 831520"/>
                  <a:gd name="connsiteX0" fmla="*/ 314325 w 412311"/>
                  <a:gd name="connsiteY0" fmla="*/ 464 h 831520"/>
                  <a:gd name="connsiteX1" fmla="*/ 80962 w 412311"/>
                  <a:gd name="connsiteY1" fmla="*/ 207632 h 831520"/>
                  <a:gd name="connsiteX2" fmla="*/ 0 w 412311"/>
                  <a:gd name="connsiteY2" fmla="*/ 593395 h 831520"/>
                  <a:gd name="connsiteX3" fmla="*/ 35718 w 412311"/>
                  <a:gd name="connsiteY3" fmla="*/ 831520 h 831520"/>
                  <a:gd name="connsiteX4" fmla="*/ 185737 w 412311"/>
                  <a:gd name="connsiteY4" fmla="*/ 679120 h 831520"/>
                  <a:gd name="connsiteX5" fmla="*/ 352425 w 412311"/>
                  <a:gd name="connsiteY5" fmla="*/ 586251 h 831520"/>
                  <a:gd name="connsiteX6" fmla="*/ 381000 w 412311"/>
                  <a:gd name="connsiteY6" fmla="*/ 214776 h 831520"/>
                  <a:gd name="connsiteX7" fmla="*/ 316706 w 412311"/>
                  <a:gd name="connsiteY7" fmla="*/ 126670 h 831520"/>
                  <a:gd name="connsiteX8" fmla="*/ 347662 w 412311"/>
                  <a:gd name="connsiteY8" fmla="*/ 38564 h 831520"/>
                  <a:gd name="connsiteX9" fmla="*/ 314325 w 412311"/>
                  <a:gd name="connsiteY9" fmla="*/ 464 h 831520"/>
                  <a:gd name="connsiteX0" fmla="*/ 314325 w 412311"/>
                  <a:gd name="connsiteY0" fmla="*/ 464 h 831520"/>
                  <a:gd name="connsiteX1" fmla="*/ 80962 w 412311"/>
                  <a:gd name="connsiteY1" fmla="*/ 207632 h 831520"/>
                  <a:gd name="connsiteX2" fmla="*/ 0 w 412311"/>
                  <a:gd name="connsiteY2" fmla="*/ 593395 h 831520"/>
                  <a:gd name="connsiteX3" fmla="*/ 35718 w 412311"/>
                  <a:gd name="connsiteY3" fmla="*/ 831520 h 831520"/>
                  <a:gd name="connsiteX4" fmla="*/ 185737 w 412311"/>
                  <a:gd name="connsiteY4" fmla="*/ 679120 h 831520"/>
                  <a:gd name="connsiteX5" fmla="*/ 352425 w 412311"/>
                  <a:gd name="connsiteY5" fmla="*/ 586251 h 831520"/>
                  <a:gd name="connsiteX6" fmla="*/ 381000 w 412311"/>
                  <a:gd name="connsiteY6" fmla="*/ 214776 h 831520"/>
                  <a:gd name="connsiteX7" fmla="*/ 316706 w 412311"/>
                  <a:gd name="connsiteY7" fmla="*/ 126670 h 831520"/>
                  <a:gd name="connsiteX8" fmla="*/ 347662 w 412311"/>
                  <a:gd name="connsiteY8" fmla="*/ 38564 h 831520"/>
                  <a:gd name="connsiteX9" fmla="*/ 314325 w 412311"/>
                  <a:gd name="connsiteY9" fmla="*/ 464 h 831520"/>
                  <a:gd name="connsiteX0" fmla="*/ 314325 w 412311"/>
                  <a:gd name="connsiteY0" fmla="*/ 464 h 831520"/>
                  <a:gd name="connsiteX1" fmla="*/ 80962 w 412311"/>
                  <a:gd name="connsiteY1" fmla="*/ 207632 h 831520"/>
                  <a:gd name="connsiteX2" fmla="*/ 0 w 412311"/>
                  <a:gd name="connsiteY2" fmla="*/ 593395 h 831520"/>
                  <a:gd name="connsiteX3" fmla="*/ 35718 w 412311"/>
                  <a:gd name="connsiteY3" fmla="*/ 831520 h 831520"/>
                  <a:gd name="connsiteX4" fmla="*/ 185737 w 412311"/>
                  <a:gd name="connsiteY4" fmla="*/ 679120 h 831520"/>
                  <a:gd name="connsiteX5" fmla="*/ 352425 w 412311"/>
                  <a:gd name="connsiteY5" fmla="*/ 586251 h 831520"/>
                  <a:gd name="connsiteX6" fmla="*/ 381000 w 412311"/>
                  <a:gd name="connsiteY6" fmla="*/ 214776 h 831520"/>
                  <a:gd name="connsiteX7" fmla="*/ 316706 w 412311"/>
                  <a:gd name="connsiteY7" fmla="*/ 126670 h 831520"/>
                  <a:gd name="connsiteX8" fmla="*/ 347662 w 412311"/>
                  <a:gd name="connsiteY8" fmla="*/ 38564 h 831520"/>
                  <a:gd name="connsiteX9" fmla="*/ 314325 w 412311"/>
                  <a:gd name="connsiteY9" fmla="*/ 464 h 831520"/>
                  <a:gd name="connsiteX0" fmla="*/ 318995 w 416981"/>
                  <a:gd name="connsiteY0" fmla="*/ 464 h 831520"/>
                  <a:gd name="connsiteX1" fmla="*/ 85632 w 416981"/>
                  <a:gd name="connsiteY1" fmla="*/ 207632 h 831520"/>
                  <a:gd name="connsiteX2" fmla="*/ 4670 w 416981"/>
                  <a:gd name="connsiteY2" fmla="*/ 593395 h 831520"/>
                  <a:gd name="connsiteX3" fmla="*/ 40388 w 416981"/>
                  <a:gd name="connsiteY3" fmla="*/ 831520 h 831520"/>
                  <a:gd name="connsiteX4" fmla="*/ 190407 w 416981"/>
                  <a:gd name="connsiteY4" fmla="*/ 679120 h 831520"/>
                  <a:gd name="connsiteX5" fmla="*/ 357095 w 416981"/>
                  <a:gd name="connsiteY5" fmla="*/ 586251 h 831520"/>
                  <a:gd name="connsiteX6" fmla="*/ 385670 w 416981"/>
                  <a:gd name="connsiteY6" fmla="*/ 214776 h 831520"/>
                  <a:gd name="connsiteX7" fmla="*/ 321376 w 416981"/>
                  <a:gd name="connsiteY7" fmla="*/ 126670 h 831520"/>
                  <a:gd name="connsiteX8" fmla="*/ 352332 w 416981"/>
                  <a:gd name="connsiteY8" fmla="*/ 38564 h 831520"/>
                  <a:gd name="connsiteX9" fmla="*/ 318995 w 416981"/>
                  <a:gd name="connsiteY9" fmla="*/ 464 h 831520"/>
                  <a:gd name="connsiteX0" fmla="*/ 328844 w 426830"/>
                  <a:gd name="connsiteY0" fmla="*/ 464 h 831520"/>
                  <a:gd name="connsiteX1" fmla="*/ 95481 w 426830"/>
                  <a:gd name="connsiteY1" fmla="*/ 207632 h 831520"/>
                  <a:gd name="connsiteX2" fmla="*/ 14519 w 426830"/>
                  <a:gd name="connsiteY2" fmla="*/ 593395 h 831520"/>
                  <a:gd name="connsiteX3" fmla="*/ 50237 w 426830"/>
                  <a:gd name="connsiteY3" fmla="*/ 831520 h 831520"/>
                  <a:gd name="connsiteX4" fmla="*/ 200256 w 426830"/>
                  <a:gd name="connsiteY4" fmla="*/ 679120 h 831520"/>
                  <a:gd name="connsiteX5" fmla="*/ 366944 w 426830"/>
                  <a:gd name="connsiteY5" fmla="*/ 586251 h 831520"/>
                  <a:gd name="connsiteX6" fmla="*/ 395519 w 426830"/>
                  <a:gd name="connsiteY6" fmla="*/ 214776 h 831520"/>
                  <a:gd name="connsiteX7" fmla="*/ 331225 w 426830"/>
                  <a:gd name="connsiteY7" fmla="*/ 126670 h 831520"/>
                  <a:gd name="connsiteX8" fmla="*/ 362181 w 426830"/>
                  <a:gd name="connsiteY8" fmla="*/ 38564 h 831520"/>
                  <a:gd name="connsiteX9" fmla="*/ 328844 w 426830"/>
                  <a:gd name="connsiteY9" fmla="*/ 464 h 831520"/>
                  <a:gd name="connsiteX0" fmla="*/ 328844 w 426830"/>
                  <a:gd name="connsiteY0" fmla="*/ 464 h 831520"/>
                  <a:gd name="connsiteX1" fmla="*/ 95481 w 426830"/>
                  <a:gd name="connsiteY1" fmla="*/ 207632 h 831520"/>
                  <a:gd name="connsiteX2" fmla="*/ 14519 w 426830"/>
                  <a:gd name="connsiteY2" fmla="*/ 593395 h 831520"/>
                  <a:gd name="connsiteX3" fmla="*/ 50237 w 426830"/>
                  <a:gd name="connsiteY3" fmla="*/ 831520 h 831520"/>
                  <a:gd name="connsiteX4" fmla="*/ 200256 w 426830"/>
                  <a:gd name="connsiteY4" fmla="*/ 679120 h 831520"/>
                  <a:gd name="connsiteX5" fmla="*/ 366944 w 426830"/>
                  <a:gd name="connsiteY5" fmla="*/ 586251 h 831520"/>
                  <a:gd name="connsiteX6" fmla="*/ 395519 w 426830"/>
                  <a:gd name="connsiteY6" fmla="*/ 214776 h 831520"/>
                  <a:gd name="connsiteX7" fmla="*/ 331225 w 426830"/>
                  <a:gd name="connsiteY7" fmla="*/ 126670 h 831520"/>
                  <a:gd name="connsiteX8" fmla="*/ 362181 w 426830"/>
                  <a:gd name="connsiteY8" fmla="*/ 38564 h 831520"/>
                  <a:gd name="connsiteX9" fmla="*/ 328844 w 426830"/>
                  <a:gd name="connsiteY9" fmla="*/ 464 h 831520"/>
                  <a:gd name="connsiteX0" fmla="*/ 339644 w 437630"/>
                  <a:gd name="connsiteY0" fmla="*/ 464 h 831520"/>
                  <a:gd name="connsiteX1" fmla="*/ 106281 w 437630"/>
                  <a:gd name="connsiteY1" fmla="*/ 207632 h 831520"/>
                  <a:gd name="connsiteX2" fmla="*/ 8650 w 437630"/>
                  <a:gd name="connsiteY2" fmla="*/ 588632 h 831520"/>
                  <a:gd name="connsiteX3" fmla="*/ 61037 w 437630"/>
                  <a:gd name="connsiteY3" fmla="*/ 831520 h 831520"/>
                  <a:gd name="connsiteX4" fmla="*/ 211056 w 437630"/>
                  <a:gd name="connsiteY4" fmla="*/ 679120 h 831520"/>
                  <a:gd name="connsiteX5" fmla="*/ 377744 w 437630"/>
                  <a:gd name="connsiteY5" fmla="*/ 586251 h 831520"/>
                  <a:gd name="connsiteX6" fmla="*/ 406319 w 437630"/>
                  <a:gd name="connsiteY6" fmla="*/ 214776 h 831520"/>
                  <a:gd name="connsiteX7" fmla="*/ 342025 w 437630"/>
                  <a:gd name="connsiteY7" fmla="*/ 126670 h 831520"/>
                  <a:gd name="connsiteX8" fmla="*/ 372981 w 437630"/>
                  <a:gd name="connsiteY8" fmla="*/ 38564 h 831520"/>
                  <a:gd name="connsiteX9" fmla="*/ 339644 w 437630"/>
                  <a:gd name="connsiteY9" fmla="*/ 464 h 831520"/>
                  <a:gd name="connsiteX0" fmla="*/ 339644 w 437630"/>
                  <a:gd name="connsiteY0" fmla="*/ 464 h 831520"/>
                  <a:gd name="connsiteX1" fmla="*/ 106281 w 437630"/>
                  <a:gd name="connsiteY1" fmla="*/ 207632 h 831520"/>
                  <a:gd name="connsiteX2" fmla="*/ 8650 w 437630"/>
                  <a:gd name="connsiteY2" fmla="*/ 588632 h 831520"/>
                  <a:gd name="connsiteX3" fmla="*/ 61037 w 437630"/>
                  <a:gd name="connsiteY3" fmla="*/ 831520 h 831520"/>
                  <a:gd name="connsiteX4" fmla="*/ 211056 w 437630"/>
                  <a:gd name="connsiteY4" fmla="*/ 679120 h 831520"/>
                  <a:gd name="connsiteX5" fmla="*/ 377744 w 437630"/>
                  <a:gd name="connsiteY5" fmla="*/ 586251 h 831520"/>
                  <a:gd name="connsiteX6" fmla="*/ 406319 w 437630"/>
                  <a:gd name="connsiteY6" fmla="*/ 214776 h 831520"/>
                  <a:gd name="connsiteX7" fmla="*/ 342025 w 437630"/>
                  <a:gd name="connsiteY7" fmla="*/ 126670 h 831520"/>
                  <a:gd name="connsiteX8" fmla="*/ 372981 w 437630"/>
                  <a:gd name="connsiteY8" fmla="*/ 38564 h 831520"/>
                  <a:gd name="connsiteX9" fmla="*/ 339644 w 437630"/>
                  <a:gd name="connsiteY9" fmla="*/ 464 h 831520"/>
                  <a:gd name="connsiteX0" fmla="*/ 332243 w 430229"/>
                  <a:gd name="connsiteY0" fmla="*/ 464 h 831520"/>
                  <a:gd name="connsiteX1" fmla="*/ 98880 w 430229"/>
                  <a:gd name="connsiteY1" fmla="*/ 207632 h 831520"/>
                  <a:gd name="connsiteX2" fmla="*/ 1249 w 430229"/>
                  <a:gd name="connsiteY2" fmla="*/ 588632 h 831520"/>
                  <a:gd name="connsiteX3" fmla="*/ 53636 w 430229"/>
                  <a:gd name="connsiteY3" fmla="*/ 831520 h 831520"/>
                  <a:gd name="connsiteX4" fmla="*/ 203655 w 430229"/>
                  <a:gd name="connsiteY4" fmla="*/ 679120 h 831520"/>
                  <a:gd name="connsiteX5" fmla="*/ 370343 w 430229"/>
                  <a:gd name="connsiteY5" fmla="*/ 586251 h 831520"/>
                  <a:gd name="connsiteX6" fmla="*/ 398918 w 430229"/>
                  <a:gd name="connsiteY6" fmla="*/ 214776 h 831520"/>
                  <a:gd name="connsiteX7" fmla="*/ 334624 w 430229"/>
                  <a:gd name="connsiteY7" fmla="*/ 126670 h 831520"/>
                  <a:gd name="connsiteX8" fmla="*/ 365580 w 430229"/>
                  <a:gd name="connsiteY8" fmla="*/ 38564 h 831520"/>
                  <a:gd name="connsiteX9" fmla="*/ 332243 w 430229"/>
                  <a:gd name="connsiteY9" fmla="*/ 464 h 831520"/>
                  <a:gd name="connsiteX0" fmla="*/ 330994 w 428980"/>
                  <a:gd name="connsiteY0" fmla="*/ 464 h 829139"/>
                  <a:gd name="connsiteX1" fmla="*/ 97631 w 428980"/>
                  <a:gd name="connsiteY1" fmla="*/ 207632 h 829139"/>
                  <a:gd name="connsiteX2" fmla="*/ 0 w 428980"/>
                  <a:gd name="connsiteY2" fmla="*/ 588632 h 829139"/>
                  <a:gd name="connsiteX3" fmla="*/ 69055 w 428980"/>
                  <a:gd name="connsiteY3" fmla="*/ 829139 h 829139"/>
                  <a:gd name="connsiteX4" fmla="*/ 202406 w 428980"/>
                  <a:gd name="connsiteY4" fmla="*/ 679120 h 829139"/>
                  <a:gd name="connsiteX5" fmla="*/ 369094 w 428980"/>
                  <a:gd name="connsiteY5" fmla="*/ 586251 h 829139"/>
                  <a:gd name="connsiteX6" fmla="*/ 397669 w 428980"/>
                  <a:gd name="connsiteY6" fmla="*/ 214776 h 829139"/>
                  <a:gd name="connsiteX7" fmla="*/ 333375 w 428980"/>
                  <a:gd name="connsiteY7" fmla="*/ 126670 h 829139"/>
                  <a:gd name="connsiteX8" fmla="*/ 364331 w 428980"/>
                  <a:gd name="connsiteY8" fmla="*/ 38564 h 829139"/>
                  <a:gd name="connsiteX9" fmla="*/ 330994 w 428980"/>
                  <a:gd name="connsiteY9" fmla="*/ 464 h 829139"/>
                  <a:gd name="connsiteX0" fmla="*/ 330994 w 428980"/>
                  <a:gd name="connsiteY0" fmla="*/ 464 h 829139"/>
                  <a:gd name="connsiteX1" fmla="*/ 97631 w 428980"/>
                  <a:gd name="connsiteY1" fmla="*/ 207632 h 829139"/>
                  <a:gd name="connsiteX2" fmla="*/ 0 w 428980"/>
                  <a:gd name="connsiteY2" fmla="*/ 588632 h 829139"/>
                  <a:gd name="connsiteX3" fmla="*/ 69055 w 428980"/>
                  <a:gd name="connsiteY3" fmla="*/ 829139 h 829139"/>
                  <a:gd name="connsiteX4" fmla="*/ 202406 w 428980"/>
                  <a:gd name="connsiteY4" fmla="*/ 679120 h 829139"/>
                  <a:gd name="connsiteX5" fmla="*/ 369094 w 428980"/>
                  <a:gd name="connsiteY5" fmla="*/ 586251 h 829139"/>
                  <a:gd name="connsiteX6" fmla="*/ 397669 w 428980"/>
                  <a:gd name="connsiteY6" fmla="*/ 214776 h 829139"/>
                  <a:gd name="connsiteX7" fmla="*/ 333375 w 428980"/>
                  <a:gd name="connsiteY7" fmla="*/ 126670 h 829139"/>
                  <a:gd name="connsiteX8" fmla="*/ 364331 w 428980"/>
                  <a:gd name="connsiteY8" fmla="*/ 38564 h 829139"/>
                  <a:gd name="connsiteX9" fmla="*/ 330994 w 428980"/>
                  <a:gd name="connsiteY9" fmla="*/ 464 h 829139"/>
                  <a:gd name="connsiteX0" fmla="*/ 330994 w 428980"/>
                  <a:gd name="connsiteY0" fmla="*/ 464 h 829139"/>
                  <a:gd name="connsiteX1" fmla="*/ 97631 w 428980"/>
                  <a:gd name="connsiteY1" fmla="*/ 207632 h 829139"/>
                  <a:gd name="connsiteX2" fmla="*/ 0 w 428980"/>
                  <a:gd name="connsiteY2" fmla="*/ 588632 h 829139"/>
                  <a:gd name="connsiteX3" fmla="*/ 69055 w 428980"/>
                  <a:gd name="connsiteY3" fmla="*/ 829139 h 829139"/>
                  <a:gd name="connsiteX4" fmla="*/ 238125 w 428980"/>
                  <a:gd name="connsiteY4" fmla="*/ 698170 h 829139"/>
                  <a:gd name="connsiteX5" fmla="*/ 369094 w 428980"/>
                  <a:gd name="connsiteY5" fmla="*/ 586251 h 829139"/>
                  <a:gd name="connsiteX6" fmla="*/ 397669 w 428980"/>
                  <a:gd name="connsiteY6" fmla="*/ 214776 h 829139"/>
                  <a:gd name="connsiteX7" fmla="*/ 333375 w 428980"/>
                  <a:gd name="connsiteY7" fmla="*/ 126670 h 829139"/>
                  <a:gd name="connsiteX8" fmla="*/ 364331 w 428980"/>
                  <a:gd name="connsiteY8" fmla="*/ 38564 h 829139"/>
                  <a:gd name="connsiteX9" fmla="*/ 330994 w 428980"/>
                  <a:gd name="connsiteY9" fmla="*/ 464 h 829139"/>
                  <a:gd name="connsiteX0" fmla="*/ 330994 w 428980"/>
                  <a:gd name="connsiteY0" fmla="*/ 464 h 829139"/>
                  <a:gd name="connsiteX1" fmla="*/ 97631 w 428980"/>
                  <a:gd name="connsiteY1" fmla="*/ 207632 h 829139"/>
                  <a:gd name="connsiteX2" fmla="*/ 0 w 428980"/>
                  <a:gd name="connsiteY2" fmla="*/ 588632 h 829139"/>
                  <a:gd name="connsiteX3" fmla="*/ 69055 w 428980"/>
                  <a:gd name="connsiteY3" fmla="*/ 829139 h 829139"/>
                  <a:gd name="connsiteX4" fmla="*/ 245269 w 428980"/>
                  <a:gd name="connsiteY4" fmla="*/ 698170 h 829139"/>
                  <a:gd name="connsiteX5" fmla="*/ 369094 w 428980"/>
                  <a:gd name="connsiteY5" fmla="*/ 586251 h 829139"/>
                  <a:gd name="connsiteX6" fmla="*/ 397669 w 428980"/>
                  <a:gd name="connsiteY6" fmla="*/ 214776 h 829139"/>
                  <a:gd name="connsiteX7" fmla="*/ 333375 w 428980"/>
                  <a:gd name="connsiteY7" fmla="*/ 126670 h 829139"/>
                  <a:gd name="connsiteX8" fmla="*/ 364331 w 428980"/>
                  <a:gd name="connsiteY8" fmla="*/ 38564 h 829139"/>
                  <a:gd name="connsiteX9" fmla="*/ 330994 w 428980"/>
                  <a:gd name="connsiteY9" fmla="*/ 464 h 829139"/>
                  <a:gd name="connsiteX0" fmla="*/ 330994 w 428980"/>
                  <a:gd name="connsiteY0" fmla="*/ 464 h 829139"/>
                  <a:gd name="connsiteX1" fmla="*/ 97631 w 428980"/>
                  <a:gd name="connsiteY1" fmla="*/ 207632 h 829139"/>
                  <a:gd name="connsiteX2" fmla="*/ 0 w 428980"/>
                  <a:gd name="connsiteY2" fmla="*/ 588632 h 829139"/>
                  <a:gd name="connsiteX3" fmla="*/ 69055 w 428980"/>
                  <a:gd name="connsiteY3" fmla="*/ 829139 h 829139"/>
                  <a:gd name="connsiteX4" fmla="*/ 245269 w 428980"/>
                  <a:gd name="connsiteY4" fmla="*/ 698170 h 829139"/>
                  <a:gd name="connsiteX5" fmla="*/ 369094 w 428980"/>
                  <a:gd name="connsiteY5" fmla="*/ 586251 h 829139"/>
                  <a:gd name="connsiteX6" fmla="*/ 397669 w 428980"/>
                  <a:gd name="connsiteY6" fmla="*/ 214776 h 829139"/>
                  <a:gd name="connsiteX7" fmla="*/ 333375 w 428980"/>
                  <a:gd name="connsiteY7" fmla="*/ 126670 h 829139"/>
                  <a:gd name="connsiteX8" fmla="*/ 364331 w 428980"/>
                  <a:gd name="connsiteY8" fmla="*/ 38564 h 829139"/>
                  <a:gd name="connsiteX9" fmla="*/ 330994 w 428980"/>
                  <a:gd name="connsiteY9" fmla="*/ 464 h 829139"/>
                  <a:gd name="connsiteX0" fmla="*/ 330994 w 428980"/>
                  <a:gd name="connsiteY0" fmla="*/ 464 h 829139"/>
                  <a:gd name="connsiteX1" fmla="*/ 97631 w 428980"/>
                  <a:gd name="connsiteY1" fmla="*/ 207632 h 829139"/>
                  <a:gd name="connsiteX2" fmla="*/ 0 w 428980"/>
                  <a:gd name="connsiteY2" fmla="*/ 588632 h 829139"/>
                  <a:gd name="connsiteX3" fmla="*/ 69055 w 428980"/>
                  <a:gd name="connsiteY3" fmla="*/ 829139 h 829139"/>
                  <a:gd name="connsiteX4" fmla="*/ 245269 w 428980"/>
                  <a:gd name="connsiteY4" fmla="*/ 698170 h 829139"/>
                  <a:gd name="connsiteX5" fmla="*/ 369094 w 428980"/>
                  <a:gd name="connsiteY5" fmla="*/ 586251 h 829139"/>
                  <a:gd name="connsiteX6" fmla="*/ 397669 w 428980"/>
                  <a:gd name="connsiteY6" fmla="*/ 214776 h 829139"/>
                  <a:gd name="connsiteX7" fmla="*/ 333375 w 428980"/>
                  <a:gd name="connsiteY7" fmla="*/ 126670 h 829139"/>
                  <a:gd name="connsiteX8" fmla="*/ 364331 w 428980"/>
                  <a:gd name="connsiteY8" fmla="*/ 38564 h 829139"/>
                  <a:gd name="connsiteX9" fmla="*/ 330994 w 428980"/>
                  <a:gd name="connsiteY9" fmla="*/ 464 h 829139"/>
                  <a:gd name="connsiteX0" fmla="*/ 330994 w 428980"/>
                  <a:gd name="connsiteY0" fmla="*/ 464 h 829139"/>
                  <a:gd name="connsiteX1" fmla="*/ 97631 w 428980"/>
                  <a:gd name="connsiteY1" fmla="*/ 207632 h 829139"/>
                  <a:gd name="connsiteX2" fmla="*/ 0 w 428980"/>
                  <a:gd name="connsiteY2" fmla="*/ 588632 h 829139"/>
                  <a:gd name="connsiteX3" fmla="*/ 69055 w 428980"/>
                  <a:gd name="connsiteY3" fmla="*/ 829139 h 829139"/>
                  <a:gd name="connsiteX4" fmla="*/ 245269 w 428980"/>
                  <a:gd name="connsiteY4" fmla="*/ 698170 h 829139"/>
                  <a:gd name="connsiteX5" fmla="*/ 369094 w 428980"/>
                  <a:gd name="connsiteY5" fmla="*/ 586251 h 829139"/>
                  <a:gd name="connsiteX6" fmla="*/ 397669 w 428980"/>
                  <a:gd name="connsiteY6" fmla="*/ 214776 h 829139"/>
                  <a:gd name="connsiteX7" fmla="*/ 333375 w 428980"/>
                  <a:gd name="connsiteY7" fmla="*/ 126670 h 829139"/>
                  <a:gd name="connsiteX8" fmla="*/ 364331 w 428980"/>
                  <a:gd name="connsiteY8" fmla="*/ 38564 h 829139"/>
                  <a:gd name="connsiteX9" fmla="*/ 330994 w 428980"/>
                  <a:gd name="connsiteY9" fmla="*/ 464 h 8291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28980" h="829139">
                    <a:moveTo>
                      <a:pt x="330994" y="464"/>
                    </a:moveTo>
                    <a:cubicBezTo>
                      <a:pt x="257969" y="21895"/>
                      <a:pt x="180182" y="55232"/>
                      <a:pt x="97631" y="207632"/>
                    </a:cubicBezTo>
                    <a:cubicBezTo>
                      <a:pt x="44451" y="329077"/>
                      <a:pt x="12699" y="450519"/>
                      <a:pt x="0" y="588632"/>
                    </a:cubicBezTo>
                    <a:cubicBezTo>
                      <a:pt x="2381" y="672770"/>
                      <a:pt x="-2383" y="761670"/>
                      <a:pt x="69055" y="829139"/>
                    </a:cubicBezTo>
                    <a:cubicBezTo>
                      <a:pt x="197642" y="792627"/>
                      <a:pt x="200026" y="710870"/>
                      <a:pt x="245269" y="698170"/>
                    </a:cubicBezTo>
                    <a:cubicBezTo>
                      <a:pt x="271463" y="694995"/>
                      <a:pt x="323849" y="627526"/>
                      <a:pt x="369094" y="586251"/>
                    </a:cubicBezTo>
                    <a:cubicBezTo>
                      <a:pt x="462756" y="532276"/>
                      <a:pt x="425450" y="361619"/>
                      <a:pt x="397669" y="214776"/>
                    </a:cubicBezTo>
                    <a:cubicBezTo>
                      <a:pt x="402432" y="173501"/>
                      <a:pt x="361950" y="146514"/>
                      <a:pt x="333375" y="126670"/>
                    </a:cubicBezTo>
                    <a:cubicBezTo>
                      <a:pt x="322262" y="90157"/>
                      <a:pt x="354012" y="67933"/>
                      <a:pt x="364331" y="38564"/>
                    </a:cubicBezTo>
                    <a:cubicBezTo>
                      <a:pt x="365125" y="18720"/>
                      <a:pt x="356393" y="-3505"/>
                      <a:pt x="330994" y="464"/>
                    </a:cubicBezTo>
                    <a:close/>
                  </a:path>
                </a:pathLst>
              </a:custGeom>
              <a:solidFill>
                <a:schemeClr val="accent1">
                  <a:lumMod val="20000"/>
                  <a:lumOff val="80000"/>
                  <a:alpha val="60000"/>
                </a:schemeClr>
              </a:solidFill>
              <a:ln w="12700">
                <a:solidFill>
                  <a:schemeClr val="accent1"/>
                </a:solidFill>
              </a:ln>
              <a:effectLst>
                <a:glow rad="50800">
                  <a:srgbClr val="0081C6">
                    <a:alpha val="10000"/>
                  </a:srgbClr>
                </a:glow>
                <a:outerShdw blurRad="76200" dist="50800" dir="2700000" algn="tl" rotWithShape="0">
                  <a:schemeClr val="bg1">
                    <a:alpha val="7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50"/>
              </a:p>
            </p:txBody>
          </p:sp>
          <p:sp>
            <p:nvSpPr>
              <p:cNvPr id="60" name="Freeform 8">
                <a:extLst>
                  <a:ext uri="{FF2B5EF4-FFF2-40B4-BE49-F238E27FC236}">
                    <a16:creationId xmlns:a16="http://schemas.microsoft.com/office/drawing/2014/main" id="{B084B2A1-32DA-41C6-8562-935B6CD384AB}"/>
                  </a:ext>
                </a:extLst>
              </p:cNvPr>
              <p:cNvSpPr/>
              <p:nvPr/>
            </p:nvSpPr>
            <p:spPr>
              <a:xfrm>
                <a:off x="5747975" y="2954153"/>
                <a:ext cx="653375" cy="374333"/>
              </a:xfrm>
              <a:custGeom>
                <a:avLst/>
                <a:gdLst>
                  <a:gd name="connsiteX0" fmla="*/ 9525 w 592931"/>
                  <a:gd name="connsiteY0" fmla="*/ 371475 h 371475"/>
                  <a:gd name="connsiteX1" fmla="*/ 183356 w 592931"/>
                  <a:gd name="connsiteY1" fmla="*/ 271462 h 371475"/>
                  <a:gd name="connsiteX2" fmla="*/ 357187 w 592931"/>
                  <a:gd name="connsiteY2" fmla="*/ 211931 h 371475"/>
                  <a:gd name="connsiteX3" fmla="*/ 528637 w 592931"/>
                  <a:gd name="connsiteY3" fmla="*/ 152400 h 371475"/>
                  <a:gd name="connsiteX4" fmla="*/ 592931 w 592931"/>
                  <a:gd name="connsiteY4" fmla="*/ 57150 h 371475"/>
                  <a:gd name="connsiteX5" fmla="*/ 473869 w 592931"/>
                  <a:gd name="connsiteY5" fmla="*/ 9525 h 371475"/>
                  <a:gd name="connsiteX6" fmla="*/ 352425 w 592931"/>
                  <a:gd name="connsiteY6" fmla="*/ 30956 h 371475"/>
                  <a:gd name="connsiteX7" fmla="*/ 226219 w 592931"/>
                  <a:gd name="connsiteY7" fmla="*/ 0 h 371475"/>
                  <a:gd name="connsiteX8" fmla="*/ 83344 w 592931"/>
                  <a:gd name="connsiteY8" fmla="*/ 83343 h 371475"/>
                  <a:gd name="connsiteX9" fmla="*/ 0 w 592931"/>
                  <a:gd name="connsiteY9" fmla="*/ 183356 h 371475"/>
                  <a:gd name="connsiteX10" fmla="*/ 9525 w 592931"/>
                  <a:gd name="connsiteY10" fmla="*/ 371475 h 371475"/>
                  <a:gd name="connsiteX0" fmla="*/ 9525 w 592931"/>
                  <a:gd name="connsiteY0" fmla="*/ 371475 h 373148"/>
                  <a:gd name="connsiteX1" fmla="*/ 183356 w 592931"/>
                  <a:gd name="connsiteY1" fmla="*/ 271462 h 373148"/>
                  <a:gd name="connsiteX2" fmla="*/ 357187 w 592931"/>
                  <a:gd name="connsiteY2" fmla="*/ 211931 h 373148"/>
                  <a:gd name="connsiteX3" fmla="*/ 528637 w 592931"/>
                  <a:gd name="connsiteY3" fmla="*/ 152400 h 373148"/>
                  <a:gd name="connsiteX4" fmla="*/ 592931 w 592931"/>
                  <a:gd name="connsiteY4" fmla="*/ 57150 h 373148"/>
                  <a:gd name="connsiteX5" fmla="*/ 473869 w 592931"/>
                  <a:gd name="connsiteY5" fmla="*/ 9525 h 373148"/>
                  <a:gd name="connsiteX6" fmla="*/ 352425 w 592931"/>
                  <a:gd name="connsiteY6" fmla="*/ 30956 h 373148"/>
                  <a:gd name="connsiteX7" fmla="*/ 226219 w 592931"/>
                  <a:gd name="connsiteY7" fmla="*/ 0 h 373148"/>
                  <a:gd name="connsiteX8" fmla="*/ 83344 w 592931"/>
                  <a:gd name="connsiteY8" fmla="*/ 83343 h 373148"/>
                  <a:gd name="connsiteX9" fmla="*/ 0 w 592931"/>
                  <a:gd name="connsiteY9" fmla="*/ 183356 h 373148"/>
                  <a:gd name="connsiteX10" fmla="*/ 9525 w 592931"/>
                  <a:gd name="connsiteY10" fmla="*/ 371475 h 373148"/>
                  <a:gd name="connsiteX0" fmla="*/ 9525 w 592931"/>
                  <a:gd name="connsiteY0" fmla="*/ 371475 h 372867"/>
                  <a:gd name="connsiteX1" fmla="*/ 183356 w 592931"/>
                  <a:gd name="connsiteY1" fmla="*/ 271462 h 372867"/>
                  <a:gd name="connsiteX2" fmla="*/ 357187 w 592931"/>
                  <a:gd name="connsiteY2" fmla="*/ 211931 h 372867"/>
                  <a:gd name="connsiteX3" fmla="*/ 528637 w 592931"/>
                  <a:gd name="connsiteY3" fmla="*/ 152400 h 372867"/>
                  <a:gd name="connsiteX4" fmla="*/ 592931 w 592931"/>
                  <a:gd name="connsiteY4" fmla="*/ 57150 h 372867"/>
                  <a:gd name="connsiteX5" fmla="*/ 473869 w 592931"/>
                  <a:gd name="connsiteY5" fmla="*/ 9525 h 372867"/>
                  <a:gd name="connsiteX6" fmla="*/ 352425 w 592931"/>
                  <a:gd name="connsiteY6" fmla="*/ 30956 h 372867"/>
                  <a:gd name="connsiteX7" fmla="*/ 226219 w 592931"/>
                  <a:gd name="connsiteY7" fmla="*/ 0 h 372867"/>
                  <a:gd name="connsiteX8" fmla="*/ 83344 w 592931"/>
                  <a:gd name="connsiteY8" fmla="*/ 83343 h 372867"/>
                  <a:gd name="connsiteX9" fmla="*/ 0 w 592931"/>
                  <a:gd name="connsiteY9" fmla="*/ 183356 h 372867"/>
                  <a:gd name="connsiteX10" fmla="*/ 9525 w 592931"/>
                  <a:gd name="connsiteY10" fmla="*/ 371475 h 372867"/>
                  <a:gd name="connsiteX0" fmla="*/ 9525 w 592931"/>
                  <a:gd name="connsiteY0" fmla="*/ 371475 h 372867"/>
                  <a:gd name="connsiteX1" fmla="*/ 183356 w 592931"/>
                  <a:gd name="connsiteY1" fmla="*/ 271462 h 372867"/>
                  <a:gd name="connsiteX2" fmla="*/ 357187 w 592931"/>
                  <a:gd name="connsiteY2" fmla="*/ 211931 h 372867"/>
                  <a:gd name="connsiteX3" fmla="*/ 528637 w 592931"/>
                  <a:gd name="connsiteY3" fmla="*/ 152400 h 372867"/>
                  <a:gd name="connsiteX4" fmla="*/ 592931 w 592931"/>
                  <a:gd name="connsiteY4" fmla="*/ 57150 h 372867"/>
                  <a:gd name="connsiteX5" fmla="*/ 473869 w 592931"/>
                  <a:gd name="connsiteY5" fmla="*/ 9525 h 372867"/>
                  <a:gd name="connsiteX6" fmla="*/ 352425 w 592931"/>
                  <a:gd name="connsiteY6" fmla="*/ 30956 h 372867"/>
                  <a:gd name="connsiteX7" fmla="*/ 226219 w 592931"/>
                  <a:gd name="connsiteY7" fmla="*/ 0 h 372867"/>
                  <a:gd name="connsiteX8" fmla="*/ 83344 w 592931"/>
                  <a:gd name="connsiteY8" fmla="*/ 83343 h 372867"/>
                  <a:gd name="connsiteX9" fmla="*/ 0 w 592931"/>
                  <a:gd name="connsiteY9" fmla="*/ 183356 h 372867"/>
                  <a:gd name="connsiteX10" fmla="*/ 9525 w 592931"/>
                  <a:gd name="connsiteY10" fmla="*/ 371475 h 372867"/>
                  <a:gd name="connsiteX0" fmla="*/ 9525 w 592931"/>
                  <a:gd name="connsiteY0" fmla="*/ 371475 h 372867"/>
                  <a:gd name="connsiteX1" fmla="*/ 183356 w 592931"/>
                  <a:gd name="connsiteY1" fmla="*/ 271462 h 372867"/>
                  <a:gd name="connsiteX2" fmla="*/ 357187 w 592931"/>
                  <a:gd name="connsiteY2" fmla="*/ 211931 h 372867"/>
                  <a:gd name="connsiteX3" fmla="*/ 528637 w 592931"/>
                  <a:gd name="connsiteY3" fmla="*/ 152400 h 372867"/>
                  <a:gd name="connsiteX4" fmla="*/ 592931 w 592931"/>
                  <a:gd name="connsiteY4" fmla="*/ 57150 h 372867"/>
                  <a:gd name="connsiteX5" fmla="*/ 473869 w 592931"/>
                  <a:gd name="connsiteY5" fmla="*/ 9525 h 372867"/>
                  <a:gd name="connsiteX6" fmla="*/ 352425 w 592931"/>
                  <a:gd name="connsiteY6" fmla="*/ 30956 h 372867"/>
                  <a:gd name="connsiteX7" fmla="*/ 226219 w 592931"/>
                  <a:gd name="connsiteY7" fmla="*/ 0 h 372867"/>
                  <a:gd name="connsiteX8" fmla="*/ 83344 w 592931"/>
                  <a:gd name="connsiteY8" fmla="*/ 83343 h 372867"/>
                  <a:gd name="connsiteX9" fmla="*/ 0 w 592931"/>
                  <a:gd name="connsiteY9" fmla="*/ 183356 h 372867"/>
                  <a:gd name="connsiteX10" fmla="*/ 9525 w 592931"/>
                  <a:gd name="connsiteY10" fmla="*/ 371475 h 372867"/>
                  <a:gd name="connsiteX0" fmla="*/ 9525 w 592931"/>
                  <a:gd name="connsiteY0" fmla="*/ 371475 h 372867"/>
                  <a:gd name="connsiteX1" fmla="*/ 183356 w 592931"/>
                  <a:gd name="connsiteY1" fmla="*/ 271462 h 372867"/>
                  <a:gd name="connsiteX2" fmla="*/ 357187 w 592931"/>
                  <a:gd name="connsiteY2" fmla="*/ 211931 h 372867"/>
                  <a:gd name="connsiteX3" fmla="*/ 528637 w 592931"/>
                  <a:gd name="connsiteY3" fmla="*/ 152400 h 372867"/>
                  <a:gd name="connsiteX4" fmla="*/ 592931 w 592931"/>
                  <a:gd name="connsiteY4" fmla="*/ 57150 h 372867"/>
                  <a:gd name="connsiteX5" fmla="*/ 473869 w 592931"/>
                  <a:gd name="connsiteY5" fmla="*/ 9525 h 372867"/>
                  <a:gd name="connsiteX6" fmla="*/ 352425 w 592931"/>
                  <a:gd name="connsiteY6" fmla="*/ 30956 h 372867"/>
                  <a:gd name="connsiteX7" fmla="*/ 226219 w 592931"/>
                  <a:gd name="connsiteY7" fmla="*/ 0 h 372867"/>
                  <a:gd name="connsiteX8" fmla="*/ 83344 w 592931"/>
                  <a:gd name="connsiteY8" fmla="*/ 83343 h 372867"/>
                  <a:gd name="connsiteX9" fmla="*/ 0 w 592931"/>
                  <a:gd name="connsiteY9" fmla="*/ 183356 h 372867"/>
                  <a:gd name="connsiteX10" fmla="*/ 9525 w 592931"/>
                  <a:gd name="connsiteY10" fmla="*/ 371475 h 372867"/>
                  <a:gd name="connsiteX0" fmla="*/ 9525 w 592931"/>
                  <a:gd name="connsiteY0" fmla="*/ 371475 h 372867"/>
                  <a:gd name="connsiteX1" fmla="*/ 183356 w 592931"/>
                  <a:gd name="connsiteY1" fmla="*/ 271462 h 372867"/>
                  <a:gd name="connsiteX2" fmla="*/ 357187 w 592931"/>
                  <a:gd name="connsiteY2" fmla="*/ 211931 h 372867"/>
                  <a:gd name="connsiteX3" fmla="*/ 528637 w 592931"/>
                  <a:gd name="connsiteY3" fmla="*/ 152400 h 372867"/>
                  <a:gd name="connsiteX4" fmla="*/ 592931 w 592931"/>
                  <a:gd name="connsiteY4" fmla="*/ 57150 h 372867"/>
                  <a:gd name="connsiteX5" fmla="*/ 473869 w 592931"/>
                  <a:gd name="connsiteY5" fmla="*/ 9525 h 372867"/>
                  <a:gd name="connsiteX6" fmla="*/ 352425 w 592931"/>
                  <a:gd name="connsiteY6" fmla="*/ 30956 h 372867"/>
                  <a:gd name="connsiteX7" fmla="*/ 226219 w 592931"/>
                  <a:gd name="connsiteY7" fmla="*/ 0 h 372867"/>
                  <a:gd name="connsiteX8" fmla="*/ 83344 w 592931"/>
                  <a:gd name="connsiteY8" fmla="*/ 83343 h 372867"/>
                  <a:gd name="connsiteX9" fmla="*/ 0 w 592931"/>
                  <a:gd name="connsiteY9" fmla="*/ 183356 h 372867"/>
                  <a:gd name="connsiteX10" fmla="*/ 9525 w 592931"/>
                  <a:gd name="connsiteY10" fmla="*/ 371475 h 372867"/>
                  <a:gd name="connsiteX0" fmla="*/ 9525 w 598549"/>
                  <a:gd name="connsiteY0" fmla="*/ 371475 h 372867"/>
                  <a:gd name="connsiteX1" fmla="*/ 183356 w 598549"/>
                  <a:gd name="connsiteY1" fmla="*/ 271462 h 372867"/>
                  <a:gd name="connsiteX2" fmla="*/ 357187 w 598549"/>
                  <a:gd name="connsiteY2" fmla="*/ 211931 h 372867"/>
                  <a:gd name="connsiteX3" fmla="*/ 528637 w 598549"/>
                  <a:gd name="connsiteY3" fmla="*/ 152400 h 372867"/>
                  <a:gd name="connsiteX4" fmla="*/ 592931 w 598549"/>
                  <a:gd name="connsiteY4" fmla="*/ 57150 h 372867"/>
                  <a:gd name="connsiteX5" fmla="*/ 473869 w 598549"/>
                  <a:gd name="connsiteY5" fmla="*/ 9525 h 372867"/>
                  <a:gd name="connsiteX6" fmla="*/ 352425 w 598549"/>
                  <a:gd name="connsiteY6" fmla="*/ 30956 h 372867"/>
                  <a:gd name="connsiteX7" fmla="*/ 226219 w 598549"/>
                  <a:gd name="connsiteY7" fmla="*/ 0 h 372867"/>
                  <a:gd name="connsiteX8" fmla="*/ 83344 w 598549"/>
                  <a:gd name="connsiteY8" fmla="*/ 83343 h 372867"/>
                  <a:gd name="connsiteX9" fmla="*/ 0 w 598549"/>
                  <a:gd name="connsiteY9" fmla="*/ 183356 h 372867"/>
                  <a:gd name="connsiteX10" fmla="*/ 9525 w 598549"/>
                  <a:gd name="connsiteY10" fmla="*/ 371475 h 372867"/>
                  <a:gd name="connsiteX0" fmla="*/ 9525 w 598549"/>
                  <a:gd name="connsiteY0" fmla="*/ 371475 h 372867"/>
                  <a:gd name="connsiteX1" fmla="*/ 183356 w 598549"/>
                  <a:gd name="connsiteY1" fmla="*/ 271462 h 372867"/>
                  <a:gd name="connsiteX2" fmla="*/ 357187 w 598549"/>
                  <a:gd name="connsiteY2" fmla="*/ 211931 h 372867"/>
                  <a:gd name="connsiteX3" fmla="*/ 528637 w 598549"/>
                  <a:gd name="connsiteY3" fmla="*/ 152400 h 372867"/>
                  <a:gd name="connsiteX4" fmla="*/ 592931 w 598549"/>
                  <a:gd name="connsiteY4" fmla="*/ 57150 h 372867"/>
                  <a:gd name="connsiteX5" fmla="*/ 473869 w 598549"/>
                  <a:gd name="connsiteY5" fmla="*/ 9525 h 372867"/>
                  <a:gd name="connsiteX6" fmla="*/ 352425 w 598549"/>
                  <a:gd name="connsiteY6" fmla="*/ 30956 h 372867"/>
                  <a:gd name="connsiteX7" fmla="*/ 226219 w 598549"/>
                  <a:gd name="connsiteY7" fmla="*/ 0 h 372867"/>
                  <a:gd name="connsiteX8" fmla="*/ 83344 w 598549"/>
                  <a:gd name="connsiteY8" fmla="*/ 83343 h 372867"/>
                  <a:gd name="connsiteX9" fmla="*/ 0 w 598549"/>
                  <a:gd name="connsiteY9" fmla="*/ 183356 h 372867"/>
                  <a:gd name="connsiteX10" fmla="*/ 9525 w 598549"/>
                  <a:gd name="connsiteY10" fmla="*/ 371475 h 372867"/>
                  <a:gd name="connsiteX0" fmla="*/ 9525 w 598549"/>
                  <a:gd name="connsiteY0" fmla="*/ 371475 h 372867"/>
                  <a:gd name="connsiteX1" fmla="*/ 183356 w 598549"/>
                  <a:gd name="connsiteY1" fmla="*/ 271462 h 372867"/>
                  <a:gd name="connsiteX2" fmla="*/ 357187 w 598549"/>
                  <a:gd name="connsiteY2" fmla="*/ 211931 h 372867"/>
                  <a:gd name="connsiteX3" fmla="*/ 528637 w 598549"/>
                  <a:gd name="connsiteY3" fmla="*/ 152400 h 372867"/>
                  <a:gd name="connsiteX4" fmla="*/ 592931 w 598549"/>
                  <a:gd name="connsiteY4" fmla="*/ 57150 h 372867"/>
                  <a:gd name="connsiteX5" fmla="*/ 473869 w 598549"/>
                  <a:gd name="connsiteY5" fmla="*/ 9525 h 372867"/>
                  <a:gd name="connsiteX6" fmla="*/ 352425 w 598549"/>
                  <a:gd name="connsiteY6" fmla="*/ 30956 h 372867"/>
                  <a:gd name="connsiteX7" fmla="*/ 226219 w 598549"/>
                  <a:gd name="connsiteY7" fmla="*/ 0 h 372867"/>
                  <a:gd name="connsiteX8" fmla="*/ 83344 w 598549"/>
                  <a:gd name="connsiteY8" fmla="*/ 83343 h 372867"/>
                  <a:gd name="connsiteX9" fmla="*/ 0 w 598549"/>
                  <a:gd name="connsiteY9" fmla="*/ 183356 h 372867"/>
                  <a:gd name="connsiteX10" fmla="*/ 9525 w 598549"/>
                  <a:gd name="connsiteY10" fmla="*/ 371475 h 372867"/>
                  <a:gd name="connsiteX0" fmla="*/ 9525 w 598549"/>
                  <a:gd name="connsiteY0" fmla="*/ 371475 h 372867"/>
                  <a:gd name="connsiteX1" fmla="*/ 183356 w 598549"/>
                  <a:gd name="connsiteY1" fmla="*/ 271462 h 372867"/>
                  <a:gd name="connsiteX2" fmla="*/ 357187 w 598549"/>
                  <a:gd name="connsiteY2" fmla="*/ 211931 h 372867"/>
                  <a:gd name="connsiteX3" fmla="*/ 528637 w 598549"/>
                  <a:gd name="connsiteY3" fmla="*/ 152400 h 372867"/>
                  <a:gd name="connsiteX4" fmla="*/ 592931 w 598549"/>
                  <a:gd name="connsiteY4" fmla="*/ 57150 h 372867"/>
                  <a:gd name="connsiteX5" fmla="*/ 473869 w 598549"/>
                  <a:gd name="connsiteY5" fmla="*/ 9525 h 372867"/>
                  <a:gd name="connsiteX6" fmla="*/ 352425 w 598549"/>
                  <a:gd name="connsiteY6" fmla="*/ 30956 h 372867"/>
                  <a:gd name="connsiteX7" fmla="*/ 226219 w 598549"/>
                  <a:gd name="connsiteY7" fmla="*/ 0 h 372867"/>
                  <a:gd name="connsiteX8" fmla="*/ 83344 w 598549"/>
                  <a:gd name="connsiteY8" fmla="*/ 83343 h 372867"/>
                  <a:gd name="connsiteX9" fmla="*/ 0 w 598549"/>
                  <a:gd name="connsiteY9" fmla="*/ 183356 h 372867"/>
                  <a:gd name="connsiteX10" fmla="*/ 9525 w 598549"/>
                  <a:gd name="connsiteY10" fmla="*/ 371475 h 372867"/>
                  <a:gd name="connsiteX0" fmla="*/ 9525 w 598549"/>
                  <a:gd name="connsiteY0" fmla="*/ 371475 h 372867"/>
                  <a:gd name="connsiteX1" fmla="*/ 183356 w 598549"/>
                  <a:gd name="connsiteY1" fmla="*/ 271462 h 372867"/>
                  <a:gd name="connsiteX2" fmla="*/ 357187 w 598549"/>
                  <a:gd name="connsiteY2" fmla="*/ 211931 h 372867"/>
                  <a:gd name="connsiteX3" fmla="*/ 528637 w 598549"/>
                  <a:gd name="connsiteY3" fmla="*/ 152400 h 372867"/>
                  <a:gd name="connsiteX4" fmla="*/ 592931 w 598549"/>
                  <a:gd name="connsiteY4" fmla="*/ 57150 h 372867"/>
                  <a:gd name="connsiteX5" fmla="*/ 473869 w 598549"/>
                  <a:gd name="connsiteY5" fmla="*/ 9525 h 372867"/>
                  <a:gd name="connsiteX6" fmla="*/ 352425 w 598549"/>
                  <a:gd name="connsiteY6" fmla="*/ 30956 h 372867"/>
                  <a:gd name="connsiteX7" fmla="*/ 226219 w 598549"/>
                  <a:gd name="connsiteY7" fmla="*/ 0 h 372867"/>
                  <a:gd name="connsiteX8" fmla="*/ 83344 w 598549"/>
                  <a:gd name="connsiteY8" fmla="*/ 83343 h 372867"/>
                  <a:gd name="connsiteX9" fmla="*/ 0 w 598549"/>
                  <a:gd name="connsiteY9" fmla="*/ 183356 h 372867"/>
                  <a:gd name="connsiteX10" fmla="*/ 9525 w 598549"/>
                  <a:gd name="connsiteY10" fmla="*/ 371475 h 372867"/>
                  <a:gd name="connsiteX0" fmla="*/ 9525 w 598549"/>
                  <a:gd name="connsiteY0" fmla="*/ 379167 h 380559"/>
                  <a:gd name="connsiteX1" fmla="*/ 183356 w 598549"/>
                  <a:gd name="connsiteY1" fmla="*/ 279154 h 380559"/>
                  <a:gd name="connsiteX2" fmla="*/ 357187 w 598549"/>
                  <a:gd name="connsiteY2" fmla="*/ 219623 h 380559"/>
                  <a:gd name="connsiteX3" fmla="*/ 528637 w 598549"/>
                  <a:gd name="connsiteY3" fmla="*/ 160092 h 380559"/>
                  <a:gd name="connsiteX4" fmla="*/ 592931 w 598549"/>
                  <a:gd name="connsiteY4" fmla="*/ 64842 h 380559"/>
                  <a:gd name="connsiteX5" fmla="*/ 473869 w 598549"/>
                  <a:gd name="connsiteY5" fmla="*/ 17217 h 380559"/>
                  <a:gd name="connsiteX6" fmla="*/ 352425 w 598549"/>
                  <a:gd name="connsiteY6" fmla="*/ 38648 h 380559"/>
                  <a:gd name="connsiteX7" fmla="*/ 226219 w 598549"/>
                  <a:gd name="connsiteY7" fmla="*/ 7692 h 380559"/>
                  <a:gd name="connsiteX8" fmla="*/ 83344 w 598549"/>
                  <a:gd name="connsiteY8" fmla="*/ 91035 h 380559"/>
                  <a:gd name="connsiteX9" fmla="*/ 0 w 598549"/>
                  <a:gd name="connsiteY9" fmla="*/ 191048 h 380559"/>
                  <a:gd name="connsiteX10" fmla="*/ 9525 w 598549"/>
                  <a:gd name="connsiteY10" fmla="*/ 379167 h 380559"/>
                  <a:gd name="connsiteX0" fmla="*/ 9525 w 598549"/>
                  <a:gd name="connsiteY0" fmla="*/ 379167 h 380559"/>
                  <a:gd name="connsiteX1" fmla="*/ 183356 w 598549"/>
                  <a:gd name="connsiteY1" fmla="*/ 279154 h 380559"/>
                  <a:gd name="connsiteX2" fmla="*/ 357187 w 598549"/>
                  <a:gd name="connsiteY2" fmla="*/ 219623 h 380559"/>
                  <a:gd name="connsiteX3" fmla="*/ 528637 w 598549"/>
                  <a:gd name="connsiteY3" fmla="*/ 160092 h 380559"/>
                  <a:gd name="connsiteX4" fmla="*/ 592931 w 598549"/>
                  <a:gd name="connsiteY4" fmla="*/ 64842 h 380559"/>
                  <a:gd name="connsiteX5" fmla="*/ 473869 w 598549"/>
                  <a:gd name="connsiteY5" fmla="*/ 17217 h 380559"/>
                  <a:gd name="connsiteX6" fmla="*/ 352425 w 598549"/>
                  <a:gd name="connsiteY6" fmla="*/ 38648 h 380559"/>
                  <a:gd name="connsiteX7" fmla="*/ 226219 w 598549"/>
                  <a:gd name="connsiteY7" fmla="*/ 7692 h 380559"/>
                  <a:gd name="connsiteX8" fmla="*/ 83344 w 598549"/>
                  <a:gd name="connsiteY8" fmla="*/ 91035 h 380559"/>
                  <a:gd name="connsiteX9" fmla="*/ 0 w 598549"/>
                  <a:gd name="connsiteY9" fmla="*/ 191048 h 380559"/>
                  <a:gd name="connsiteX10" fmla="*/ 9525 w 598549"/>
                  <a:gd name="connsiteY10" fmla="*/ 379167 h 380559"/>
                  <a:gd name="connsiteX0" fmla="*/ 9525 w 598549"/>
                  <a:gd name="connsiteY0" fmla="*/ 379167 h 380559"/>
                  <a:gd name="connsiteX1" fmla="*/ 183356 w 598549"/>
                  <a:gd name="connsiteY1" fmla="*/ 279154 h 380559"/>
                  <a:gd name="connsiteX2" fmla="*/ 357187 w 598549"/>
                  <a:gd name="connsiteY2" fmla="*/ 219623 h 380559"/>
                  <a:gd name="connsiteX3" fmla="*/ 528637 w 598549"/>
                  <a:gd name="connsiteY3" fmla="*/ 160092 h 380559"/>
                  <a:gd name="connsiteX4" fmla="*/ 592931 w 598549"/>
                  <a:gd name="connsiteY4" fmla="*/ 64842 h 380559"/>
                  <a:gd name="connsiteX5" fmla="*/ 473869 w 598549"/>
                  <a:gd name="connsiteY5" fmla="*/ 17217 h 380559"/>
                  <a:gd name="connsiteX6" fmla="*/ 352425 w 598549"/>
                  <a:gd name="connsiteY6" fmla="*/ 38648 h 380559"/>
                  <a:gd name="connsiteX7" fmla="*/ 226219 w 598549"/>
                  <a:gd name="connsiteY7" fmla="*/ 7692 h 380559"/>
                  <a:gd name="connsiteX8" fmla="*/ 0 w 598549"/>
                  <a:gd name="connsiteY8" fmla="*/ 191048 h 380559"/>
                  <a:gd name="connsiteX9" fmla="*/ 9525 w 598549"/>
                  <a:gd name="connsiteY9" fmla="*/ 379167 h 380559"/>
                  <a:gd name="connsiteX0" fmla="*/ 18264 w 607288"/>
                  <a:gd name="connsiteY0" fmla="*/ 379167 h 380559"/>
                  <a:gd name="connsiteX1" fmla="*/ 192095 w 607288"/>
                  <a:gd name="connsiteY1" fmla="*/ 279154 h 380559"/>
                  <a:gd name="connsiteX2" fmla="*/ 365926 w 607288"/>
                  <a:gd name="connsiteY2" fmla="*/ 219623 h 380559"/>
                  <a:gd name="connsiteX3" fmla="*/ 537376 w 607288"/>
                  <a:gd name="connsiteY3" fmla="*/ 160092 h 380559"/>
                  <a:gd name="connsiteX4" fmla="*/ 601670 w 607288"/>
                  <a:gd name="connsiteY4" fmla="*/ 64842 h 380559"/>
                  <a:gd name="connsiteX5" fmla="*/ 482608 w 607288"/>
                  <a:gd name="connsiteY5" fmla="*/ 17217 h 380559"/>
                  <a:gd name="connsiteX6" fmla="*/ 361164 w 607288"/>
                  <a:gd name="connsiteY6" fmla="*/ 38648 h 380559"/>
                  <a:gd name="connsiteX7" fmla="*/ 234958 w 607288"/>
                  <a:gd name="connsiteY7" fmla="*/ 7692 h 380559"/>
                  <a:gd name="connsiteX8" fmla="*/ 8739 w 607288"/>
                  <a:gd name="connsiteY8" fmla="*/ 191048 h 380559"/>
                  <a:gd name="connsiteX9" fmla="*/ 18264 w 607288"/>
                  <a:gd name="connsiteY9" fmla="*/ 379167 h 380559"/>
                  <a:gd name="connsiteX0" fmla="*/ 25483 w 614507"/>
                  <a:gd name="connsiteY0" fmla="*/ 379167 h 380559"/>
                  <a:gd name="connsiteX1" fmla="*/ 199314 w 614507"/>
                  <a:gd name="connsiteY1" fmla="*/ 279154 h 380559"/>
                  <a:gd name="connsiteX2" fmla="*/ 373145 w 614507"/>
                  <a:gd name="connsiteY2" fmla="*/ 219623 h 380559"/>
                  <a:gd name="connsiteX3" fmla="*/ 544595 w 614507"/>
                  <a:gd name="connsiteY3" fmla="*/ 160092 h 380559"/>
                  <a:gd name="connsiteX4" fmla="*/ 608889 w 614507"/>
                  <a:gd name="connsiteY4" fmla="*/ 64842 h 380559"/>
                  <a:gd name="connsiteX5" fmla="*/ 489827 w 614507"/>
                  <a:gd name="connsiteY5" fmla="*/ 17217 h 380559"/>
                  <a:gd name="connsiteX6" fmla="*/ 368383 w 614507"/>
                  <a:gd name="connsiteY6" fmla="*/ 38648 h 380559"/>
                  <a:gd name="connsiteX7" fmla="*/ 242177 w 614507"/>
                  <a:gd name="connsiteY7" fmla="*/ 7692 h 380559"/>
                  <a:gd name="connsiteX8" fmla="*/ 15958 w 614507"/>
                  <a:gd name="connsiteY8" fmla="*/ 191048 h 380559"/>
                  <a:gd name="connsiteX9" fmla="*/ 25483 w 614507"/>
                  <a:gd name="connsiteY9" fmla="*/ 379167 h 380559"/>
                  <a:gd name="connsiteX0" fmla="*/ 25483 w 614507"/>
                  <a:gd name="connsiteY0" fmla="*/ 379167 h 380559"/>
                  <a:gd name="connsiteX1" fmla="*/ 199314 w 614507"/>
                  <a:gd name="connsiteY1" fmla="*/ 279154 h 380559"/>
                  <a:gd name="connsiteX2" fmla="*/ 373145 w 614507"/>
                  <a:gd name="connsiteY2" fmla="*/ 219623 h 380559"/>
                  <a:gd name="connsiteX3" fmla="*/ 544595 w 614507"/>
                  <a:gd name="connsiteY3" fmla="*/ 160092 h 380559"/>
                  <a:gd name="connsiteX4" fmla="*/ 608889 w 614507"/>
                  <a:gd name="connsiteY4" fmla="*/ 64842 h 380559"/>
                  <a:gd name="connsiteX5" fmla="*/ 489827 w 614507"/>
                  <a:gd name="connsiteY5" fmla="*/ 17217 h 380559"/>
                  <a:gd name="connsiteX6" fmla="*/ 368383 w 614507"/>
                  <a:gd name="connsiteY6" fmla="*/ 38648 h 380559"/>
                  <a:gd name="connsiteX7" fmla="*/ 242177 w 614507"/>
                  <a:gd name="connsiteY7" fmla="*/ 7692 h 380559"/>
                  <a:gd name="connsiteX8" fmla="*/ 15958 w 614507"/>
                  <a:gd name="connsiteY8" fmla="*/ 191048 h 380559"/>
                  <a:gd name="connsiteX9" fmla="*/ 25483 w 614507"/>
                  <a:gd name="connsiteY9" fmla="*/ 379167 h 380559"/>
                  <a:gd name="connsiteX0" fmla="*/ 25483 w 614507"/>
                  <a:gd name="connsiteY0" fmla="*/ 379167 h 380559"/>
                  <a:gd name="connsiteX1" fmla="*/ 199314 w 614507"/>
                  <a:gd name="connsiteY1" fmla="*/ 279154 h 380559"/>
                  <a:gd name="connsiteX2" fmla="*/ 373145 w 614507"/>
                  <a:gd name="connsiteY2" fmla="*/ 219623 h 380559"/>
                  <a:gd name="connsiteX3" fmla="*/ 544595 w 614507"/>
                  <a:gd name="connsiteY3" fmla="*/ 160092 h 380559"/>
                  <a:gd name="connsiteX4" fmla="*/ 608889 w 614507"/>
                  <a:gd name="connsiteY4" fmla="*/ 64842 h 380559"/>
                  <a:gd name="connsiteX5" fmla="*/ 489827 w 614507"/>
                  <a:gd name="connsiteY5" fmla="*/ 17217 h 380559"/>
                  <a:gd name="connsiteX6" fmla="*/ 368383 w 614507"/>
                  <a:gd name="connsiteY6" fmla="*/ 38648 h 380559"/>
                  <a:gd name="connsiteX7" fmla="*/ 242177 w 614507"/>
                  <a:gd name="connsiteY7" fmla="*/ 7692 h 380559"/>
                  <a:gd name="connsiteX8" fmla="*/ 15958 w 614507"/>
                  <a:gd name="connsiteY8" fmla="*/ 191048 h 380559"/>
                  <a:gd name="connsiteX9" fmla="*/ 25483 w 614507"/>
                  <a:gd name="connsiteY9" fmla="*/ 379167 h 380559"/>
                  <a:gd name="connsiteX0" fmla="*/ 25483 w 609437"/>
                  <a:gd name="connsiteY0" fmla="*/ 379167 h 380559"/>
                  <a:gd name="connsiteX1" fmla="*/ 199314 w 609437"/>
                  <a:gd name="connsiteY1" fmla="*/ 279154 h 380559"/>
                  <a:gd name="connsiteX2" fmla="*/ 373145 w 609437"/>
                  <a:gd name="connsiteY2" fmla="*/ 219623 h 380559"/>
                  <a:gd name="connsiteX3" fmla="*/ 544595 w 609437"/>
                  <a:gd name="connsiteY3" fmla="*/ 160092 h 380559"/>
                  <a:gd name="connsiteX4" fmla="*/ 608889 w 609437"/>
                  <a:gd name="connsiteY4" fmla="*/ 64842 h 380559"/>
                  <a:gd name="connsiteX5" fmla="*/ 489827 w 609437"/>
                  <a:gd name="connsiteY5" fmla="*/ 17217 h 380559"/>
                  <a:gd name="connsiteX6" fmla="*/ 368383 w 609437"/>
                  <a:gd name="connsiteY6" fmla="*/ 38648 h 380559"/>
                  <a:gd name="connsiteX7" fmla="*/ 242177 w 609437"/>
                  <a:gd name="connsiteY7" fmla="*/ 7692 h 380559"/>
                  <a:gd name="connsiteX8" fmla="*/ 15958 w 609437"/>
                  <a:gd name="connsiteY8" fmla="*/ 191048 h 380559"/>
                  <a:gd name="connsiteX9" fmla="*/ 25483 w 609437"/>
                  <a:gd name="connsiteY9" fmla="*/ 379167 h 380559"/>
                  <a:gd name="connsiteX0" fmla="*/ 25483 w 609437"/>
                  <a:gd name="connsiteY0" fmla="*/ 379167 h 380559"/>
                  <a:gd name="connsiteX1" fmla="*/ 199314 w 609437"/>
                  <a:gd name="connsiteY1" fmla="*/ 279154 h 380559"/>
                  <a:gd name="connsiteX2" fmla="*/ 373145 w 609437"/>
                  <a:gd name="connsiteY2" fmla="*/ 219623 h 380559"/>
                  <a:gd name="connsiteX3" fmla="*/ 544595 w 609437"/>
                  <a:gd name="connsiteY3" fmla="*/ 160092 h 380559"/>
                  <a:gd name="connsiteX4" fmla="*/ 608889 w 609437"/>
                  <a:gd name="connsiteY4" fmla="*/ 64842 h 380559"/>
                  <a:gd name="connsiteX5" fmla="*/ 489827 w 609437"/>
                  <a:gd name="connsiteY5" fmla="*/ 17217 h 380559"/>
                  <a:gd name="connsiteX6" fmla="*/ 368383 w 609437"/>
                  <a:gd name="connsiteY6" fmla="*/ 38648 h 380559"/>
                  <a:gd name="connsiteX7" fmla="*/ 242177 w 609437"/>
                  <a:gd name="connsiteY7" fmla="*/ 7692 h 380559"/>
                  <a:gd name="connsiteX8" fmla="*/ 15958 w 609437"/>
                  <a:gd name="connsiteY8" fmla="*/ 191048 h 380559"/>
                  <a:gd name="connsiteX9" fmla="*/ 25483 w 609437"/>
                  <a:gd name="connsiteY9" fmla="*/ 379167 h 380559"/>
                  <a:gd name="connsiteX0" fmla="*/ 25483 w 609437"/>
                  <a:gd name="connsiteY0" fmla="*/ 379167 h 380559"/>
                  <a:gd name="connsiteX1" fmla="*/ 199314 w 609437"/>
                  <a:gd name="connsiteY1" fmla="*/ 279154 h 380559"/>
                  <a:gd name="connsiteX2" fmla="*/ 373145 w 609437"/>
                  <a:gd name="connsiteY2" fmla="*/ 219623 h 380559"/>
                  <a:gd name="connsiteX3" fmla="*/ 544595 w 609437"/>
                  <a:gd name="connsiteY3" fmla="*/ 160092 h 380559"/>
                  <a:gd name="connsiteX4" fmla="*/ 608889 w 609437"/>
                  <a:gd name="connsiteY4" fmla="*/ 64842 h 380559"/>
                  <a:gd name="connsiteX5" fmla="*/ 489827 w 609437"/>
                  <a:gd name="connsiteY5" fmla="*/ 17217 h 380559"/>
                  <a:gd name="connsiteX6" fmla="*/ 368383 w 609437"/>
                  <a:gd name="connsiteY6" fmla="*/ 38648 h 380559"/>
                  <a:gd name="connsiteX7" fmla="*/ 242177 w 609437"/>
                  <a:gd name="connsiteY7" fmla="*/ 7692 h 380559"/>
                  <a:gd name="connsiteX8" fmla="*/ 15958 w 609437"/>
                  <a:gd name="connsiteY8" fmla="*/ 191048 h 380559"/>
                  <a:gd name="connsiteX9" fmla="*/ 25483 w 609437"/>
                  <a:gd name="connsiteY9" fmla="*/ 379167 h 380559"/>
                  <a:gd name="connsiteX0" fmla="*/ 25483 w 609437"/>
                  <a:gd name="connsiteY0" fmla="*/ 379167 h 380559"/>
                  <a:gd name="connsiteX1" fmla="*/ 199314 w 609437"/>
                  <a:gd name="connsiteY1" fmla="*/ 279154 h 380559"/>
                  <a:gd name="connsiteX2" fmla="*/ 380289 w 609437"/>
                  <a:gd name="connsiteY2" fmla="*/ 200573 h 380559"/>
                  <a:gd name="connsiteX3" fmla="*/ 544595 w 609437"/>
                  <a:gd name="connsiteY3" fmla="*/ 160092 h 380559"/>
                  <a:gd name="connsiteX4" fmla="*/ 608889 w 609437"/>
                  <a:gd name="connsiteY4" fmla="*/ 64842 h 380559"/>
                  <a:gd name="connsiteX5" fmla="*/ 489827 w 609437"/>
                  <a:gd name="connsiteY5" fmla="*/ 17217 h 380559"/>
                  <a:gd name="connsiteX6" fmla="*/ 368383 w 609437"/>
                  <a:gd name="connsiteY6" fmla="*/ 38648 h 380559"/>
                  <a:gd name="connsiteX7" fmla="*/ 242177 w 609437"/>
                  <a:gd name="connsiteY7" fmla="*/ 7692 h 380559"/>
                  <a:gd name="connsiteX8" fmla="*/ 15958 w 609437"/>
                  <a:gd name="connsiteY8" fmla="*/ 191048 h 380559"/>
                  <a:gd name="connsiteX9" fmla="*/ 25483 w 609437"/>
                  <a:gd name="connsiteY9" fmla="*/ 379167 h 380559"/>
                  <a:gd name="connsiteX0" fmla="*/ 25483 w 609437"/>
                  <a:gd name="connsiteY0" fmla="*/ 379167 h 380559"/>
                  <a:gd name="connsiteX1" fmla="*/ 199314 w 609437"/>
                  <a:gd name="connsiteY1" fmla="*/ 279154 h 380559"/>
                  <a:gd name="connsiteX2" fmla="*/ 380289 w 609437"/>
                  <a:gd name="connsiteY2" fmla="*/ 200573 h 380559"/>
                  <a:gd name="connsiteX3" fmla="*/ 544595 w 609437"/>
                  <a:gd name="connsiteY3" fmla="*/ 160092 h 380559"/>
                  <a:gd name="connsiteX4" fmla="*/ 608889 w 609437"/>
                  <a:gd name="connsiteY4" fmla="*/ 64842 h 380559"/>
                  <a:gd name="connsiteX5" fmla="*/ 489827 w 609437"/>
                  <a:gd name="connsiteY5" fmla="*/ 17217 h 380559"/>
                  <a:gd name="connsiteX6" fmla="*/ 368383 w 609437"/>
                  <a:gd name="connsiteY6" fmla="*/ 38648 h 380559"/>
                  <a:gd name="connsiteX7" fmla="*/ 242177 w 609437"/>
                  <a:gd name="connsiteY7" fmla="*/ 7692 h 380559"/>
                  <a:gd name="connsiteX8" fmla="*/ 15958 w 609437"/>
                  <a:gd name="connsiteY8" fmla="*/ 191048 h 380559"/>
                  <a:gd name="connsiteX9" fmla="*/ 25483 w 609437"/>
                  <a:gd name="connsiteY9" fmla="*/ 379167 h 380559"/>
                  <a:gd name="connsiteX0" fmla="*/ 25483 w 609437"/>
                  <a:gd name="connsiteY0" fmla="*/ 379167 h 380559"/>
                  <a:gd name="connsiteX1" fmla="*/ 199314 w 609437"/>
                  <a:gd name="connsiteY1" fmla="*/ 279154 h 380559"/>
                  <a:gd name="connsiteX2" fmla="*/ 380289 w 609437"/>
                  <a:gd name="connsiteY2" fmla="*/ 200573 h 380559"/>
                  <a:gd name="connsiteX3" fmla="*/ 544595 w 609437"/>
                  <a:gd name="connsiteY3" fmla="*/ 160092 h 380559"/>
                  <a:gd name="connsiteX4" fmla="*/ 608889 w 609437"/>
                  <a:gd name="connsiteY4" fmla="*/ 64842 h 380559"/>
                  <a:gd name="connsiteX5" fmla="*/ 489827 w 609437"/>
                  <a:gd name="connsiteY5" fmla="*/ 17217 h 380559"/>
                  <a:gd name="connsiteX6" fmla="*/ 368383 w 609437"/>
                  <a:gd name="connsiteY6" fmla="*/ 38648 h 380559"/>
                  <a:gd name="connsiteX7" fmla="*/ 242177 w 609437"/>
                  <a:gd name="connsiteY7" fmla="*/ 7692 h 380559"/>
                  <a:gd name="connsiteX8" fmla="*/ 15958 w 609437"/>
                  <a:gd name="connsiteY8" fmla="*/ 191048 h 380559"/>
                  <a:gd name="connsiteX9" fmla="*/ 25483 w 609437"/>
                  <a:gd name="connsiteY9" fmla="*/ 379167 h 380559"/>
                  <a:gd name="connsiteX0" fmla="*/ 25483 w 609437"/>
                  <a:gd name="connsiteY0" fmla="*/ 379167 h 380559"/>
                  <a:gd name="connsiteX1" fmla="*/ 199314 w 609437"/>
                  <a:gd name="connsiteY1" fmla="*/ 279154 h 380559"/>
                  <a:gd name="connsiteX2" fmla="*/ 380289 w 609437"/>
                  <a:gd name="connsiteY2" fmla="*/ 200573 h 380559"/>
                  <a:gd name="connsiteX3" fmla="*/ 544595 w 609437"/>
                  <a:gd name="connsiteY3" fmla="*/ 160092 h 380559"/>
                  <a:gd name="connsiteX4" fmla="*/ 608889 w 609437"/>
                  <a:gd name="connsiteY4" fmla="*/ 64842 h 380559"/>
                  <a:gd name="connsiteX5" fmla="*/ 489827 w 609437"/>
                  <a:gd name="connsiteY5" fmla="*/ 17217 h 380559"/>
                  <a:gd name="connsiteX6" fmla="*/ 368383 w 609437"/>
                  <a:gd name="connsiteY6" fmla="*/ 38648 h 380559"/>
                  <a:gd name="connsiteX7" fmla="*/ 242177 w 609437"/>
                  <a:gd name="connsiteY7" fmla="*/ 7692 h 380559"/>
                  <a:gd name="connsiteX8" fmla="*/ 15958 w 609437"/>
                  <a:gd name="connsiteY8" fmla="*/ 191048 h 380559"/>
                  <a:gd name="connsiteX9" fmla="*/ 25483 w 609437"/>
                  <a:gd name="connsiteY9" fmla="*/ 379167 h 380559"/>
                  <a:gd name="connsiteX0" fmla="*/ 25483 w 609437"/>
                  <a:gd name="connsiteY0" fmla="*/ 379167 h 380559"/>
                  <a:gd name="connsiteX1" fmla="*/ 199314 w 609437"/>
                  <a:gd name="connsiteY1" fmla="*/ 279154 h 380559"/>
                  <a:gd name="connsiteX2" fmla="*/ 380289 w 609437"/>
                  <a:gd name="connsiteY2" fmla="*/ 200573 h 380559"/>
                  <a:gd name="connsiteX3" fmla="*/ 544595 w 609437"/>
                  <a:gd name="connsiteY3" fmla="*/ 160092 h 380559"/>
                  <a:gd name="connsiteX4" fmla="*/ 608889 w 609437"/>
                  <a:gd name="connsiteY4" fmla="*/ 64842 h 380559"/>
                  <a:gd name="connsiteX5" fmla="*/ 489827 w 609437"/>
                  <a:gd name="connsiteY5" fmla="*/ 17217 h 380559"/>
                  <a:gd name="connsiteX6" fmla="*/ 368383 w 609437"/>
                  <a:gd name="connsiteY6" fmla="*/ 38648 h 380559"/>
                  <a:gd name="connsiteX7" fmla="*/ 242177 w 609437"/>
                  <a:gd name="connsiteY7" fmla="*/ 7692 h 380559"/>
                  <a:gd name="connsiteX8" fmla="*/ 15958 w 609437"/>
                  <a:gd name="connsiteY8" fmla="*/ 191048 h 380559"/>
                  <a:gd name="connsiteX9" fmla="*/ 25483 w 609437"/>
                  <a:gd name="connsiteY9" fmla="*/ 379167 h 380559"/>
                  <a:gd name="connsiteX0" fmla="*/ 25483 w 609437"/>
                  <a:gd name="connsiteY0" fmla="*/ 379167 h 380559"/>
                  <a:gd name="connsiteX1" fmla="*/ 199314 w 609437"/>
                  <a:gd name="connsiteY1" fmla="*/ 279154 h 380559"/>
                  <a:gd name="connsiteX2" fmla="*/ 380289 w 609437"/>
                  <a:gd name="connsiteY2" fmla="*/ 200573 h 380559"/>
                  <a:gd name="connsiteX3" fmla="*/ 544595 w 609437"/>
                  <a:gd name="connsiteY3" fmla="*/ 160092 h 380559"/>
                  <a:gd name="connsiteX4" fmla="*/ 608889 w 609437"/>
                  <a:gd name="connsiteY4" fmla="*/ 64842 h 380559"/>
                  <a:gd name="connsiteX5" fmla="*/ 489827 w 609437"/>
                  <a:gd name="connsiteY5" fmla="*/ 17217 h 380559"/>
                  <a:gd name="connsiteX6" fmla="*/ 368383 w 609437"/>
                  <a:gd name="connsiteY6" fmla="*/ 38648 h 380559"/>
                  <a:gd name="connsiteX7" fmla="*/ 242177 w 609437"/>
                  <a:gd name="connsiteY7" fmla="*/ 7692 h 380559"/>
                  <a:gd name="connsiteX8" fmla="*/ 15958 w 609437"/>
                  <a:gd name="connsiteY8" fmla="*/ 191048 h 380559"/>
                  <a:gd name="connsiteX9" fmla="*/ 25483 w 609437"/>
                  <a:gd name="connsiteY9" fmla="*/ 379167 h 380559"/>
                  <a:gd name="connsiteX0" fmla="*/ 18345 w 602299"/>
                  <a:gd name="connsiteY0" fmla="*/ 379167 h 380559"/>
                  <a:gd name="connsiteX1" fmla="*/ 192176 w 602299"/>
                  <a:gd name="connsiteY1" fmla="*/ 279154 h 380559"/>
                  <a:gd name="connsiteX2" fmla="*/ 373151 w 602299"/>
                  <a:gd name="connsiteY2" fmla="*/ 200573 h 380559"/>
                  <a:gd name="connsiteX3" fmla="*/ 537457 w 602299"/>
                  <a:gd name="connsiteY3" fmla="*/ 160092 h 380559"/>
                  <a:gd name="connsiteX4" fmla="*/ 601751 w 602299"/>
                  <a:gd name="connsiteY4" fmla="*/ 64842 h 380559"/>
                  <a:gd name="connsiteX5" fmla="*/ 482689 w 602299"/>
                  <a:gd name="connsiteY5" fmla="*/ 17217 h 380559"/>
                  <a:gd name="connsiteX6" fmla="*/ 361245 w 602299"/>
                  <a:gd name="connsiteY6" fmla="*/ 38648 h 380559"/>
                  <a:gd name="connsiteX7" fmla="*/ 235039 w 602299"/>
                  <a:gd name="connsiteY7" fmla="*/ 7692 h 380559"/>
                  <a:gd name="connsiteX8" fmla="*/ 8820 w 602299"/>
                  <a:gd name="connsiteY8" fmla="*/ 191048 h 380559"/>
                  <a:gd name="connsiteX9" fmla="*/ 18345 w 602299"/>
                  <a:gd name="connsiteY9" fmla="*/ 379167 h 380559"/>
                  <a:gd name="connsiteX0" fmla="*/ 15487 w 599441"/>
                  <a:gd name="connsiteY0" fmla="*/ 379167 h 380559"/>
                  <a:gd name="connsiteX1" fmla="*/ 189318 w 599441"/>
                  <a:gd name="connsiteY1" fmla="*/ 279154 h 380559"/>
                  <a:gd name="connsiteX2" fmla="*/ 370293 w 599441"/>
                  <a:gd name="connsiteY2" fmla="*/ 200573 h 380559"/>
                  <a:gd name="connsiteX3" fmla="*/ 534599 w 599441"/>
                  <a:gd name="connsiteY3" fmla="*/ 160092 h 380559"/>
                  <a:gd name="connsiteX4" fmla="*/ 598893 w 599441"/>
                  <a:gd name="connsiteY4" fmla="*/ 64842 h 380559"/>
                  <a:gd name="connsiteX5" fmla="*/ 479831 w 599441"/>
                  <a:gd name="connsiteY5" fmla="*/ 17217 h 380559"/>
                  <a:gd name="connsiteX6" fmla="*/ 358387 w 599441"/>
                  <a:gd name="connsiteY6" fmla="*/ 38648 h 380559"/>
                  <a:gd name="connsiteX7" fmla="*/ 232181 w 599441"/>
                  <a:gd name="connsiteY7" fmla="*/ 7692 h 380559"/>
                  <a:gd name="connsiteX8" fmla="*/ 5962 w 599441"/>
                  <a:gd name="connsiteY8" fmla="*/ 191048 h 380559"/>
                  <a:gd name="connsiteX9" fmla="*/ 15487 w 599441"/>
                  <a:gd name="connsiteY9" fmla="*/ 379167 h 380559"/>
                  <a:gd name="connsiteX0" fmla="*/ 15487 w 599441"/>
                  <a:gd name="connsiteY0" fmla="*/ 379167 h 380559"/>
                  <a:gd name="connsiteX1" fmla="*/ 189318 w 599441"/>
                  <a:gd name="connsiteY1" fmla="*/ 279154 h 380559"/>
                  <a:gd name="connsiteX2" fmla="*/ 370293 w 599441"/>
                  <a:gd name="connsiteY2" fmla="*/ 200573 h 380559"/>
                  <a:gd name="connsiteX3" fmla="*/ 534599 w 599441"/>
                  <a:gd name="connsiteY3" fmla="*/ 160092 h 380559"/>
                  <a:gd name="connsiteX4" fmla="*/ 598893 w 599441"/>
                  <a:gd name="connsiteY4" fmla="*/ 64842 h 380559"/>
                  <a:gd name="connsiteX5" fmla="*/ 479831 w 599441"/>
                  <a:gd name="connsiteY5" fmla="*/ 17217 h 380559"/>
                  <a:gd name="connsiteX6" fmla="*/ 358387 w 599441"/>
                  <a:gd name="connsiteY6" fmla="*/ 38648 h 380559"/>
                  <a:gd name="connsiteX7" fmla="*/ 232181 w 599441"/>
                  <a:gd name="connsiteY7" fmla="*/ 7692 h 380559"/>
                  <a:gd name="connsiteX8" fmla="*/ 5962 w 599441"/>
                  <a:gd name="connsiteY8" fmla="*/ 191048 h 380559"/>
                  <a:gd name="connsiteX9" fmla="*/ 15487 w 599441"/>
                  <a:gd name="connsiteY9" fmla="*/ 379167 h 380559"/>
                  <a:gd name="connsiteX0" fmla="*/ 15487 w 599441"/>
                  <a:gd name="connsiteY0" fmla="*/ 379167 h 380559"/>
                  <a:gd name="connsiteX1" fmla="*/ 189318 w 599441"/>
                  <a:gd name="connsiteY1" fmla="*/ 279154 h 380559"/>
                  <a:gd name="connsiteX2" fmla="*/ 370293 w 599441"/>
                  <a:gd name="connsiteY2" fmla="*/ 200573 h 380559"/>
                  <a:gd name="connsiteX3" fmla="*/ 534599 w 599441"/>
                  <a:gd name="connsiteY3" fmla="*/ 160092 h 380559"/>
                  <a:gd name="connsiteX4" fmla="*/ 598893 w 599441"/>
                  <a:gd name="connsiteY4" fmla="*/ 64842 h 380559"/>
                  <a:gd name="connsiteX5" fmla="*/ 479831 w 599441"/>
                  <a:gd name="connsiteY5" fmla="*/ 17217 h 380559"/>
                  <a:gd name="connsiteX6" fmla="*/ 358387 w 599441"/>
                  <a:gd name="connsiteY6" fmla="*/ 38648 h 380559"/>
                  <a:gd name="connsiteX7" fmla="*/ 232181 w 599441"/>
                  <a:gd name="connsiteY7" fmla="*/ 7692 h 380559"/>
                  <a:gd name="connsiteX8" fmla="*/ 5962 w 599441"/>
                  <a:gd name="connsiteY8" fmla="*/ 191048 h 380559"/>
                  <a:gd name="connsiteX9" fmla="*/ 15487 w 599441"/>
                  <a:gd name="connsiteY9" fmla="*/ 379167 h 380559"/>
                  <a:gd name="connsiteX0" fmla="*/ 15487 w 599441"/>
                  <a:gd name="connsiteY0" fmla="*/ 372940 h 374332"/>
                  <a:gd name="connsiteX1" fmla="*/ 189318 w 599441"/>
                  <a:gd name="connsiteY1" fmla="*/ 272927 h 374332"/>
                  <a:gd name="connsiteX2" fmla="*/ 370293 w 599441"/>
                  <a:gd name="connsiteY2" fmla="*/ 194346 h 374332"/>
                  <a:gd name="connsiteX3" fmla="*/ 534599 w 599441"/>
                  <a:gd name="connsiteY3" fmla="*/ 153865 h 374332"/>
                  <a:gd name="connsiteX4" fmla="*/ 598893 w 599441"/>
                  <a:gd name="connsiteY4" fmla="*/ 58615 h 374332"/>
                  <a:gd name="connsiteX5" fmla="*/ 479831 w 599441"/>
                  <a:gd name="connsiteY5" fmla="*/ 10990 h 374332"/>
                  <a:gd name="connsiteX6" fmla="*/ 358387 w 599441"/>
                  <a:gd name="connsiteY6" fmla="*/ 32421 h 374332"/>
                  <a:gd name="connsiteX7" fmla="*/ 232181 w 599441"/>
                  <a:gd name="connsiteY7" fmla="*/ 10990 h 374332"/>
                  <a:gd name="connsiteX8" fmla="*/ 5962 w 599441"/>
                  <a:gd name="connsiteY8" fmla="*/ 184821 h 374332"/>
                  <a:gd name="connsiteX9" fmla="*/ 15487 w 599441"/>
                  <a:gd name="connsiteY9" fmla="*/ 372940 h 3743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99441" h="374332">
                    <a:moveTo>
                      <a:pt x="15487" y="372940"/>
                    </a:moveTo>
                    <a:cubicBezTo>
                      <a:pt x="56762" y="387227"/>
                      <a:pt x="131374" y="287215"/>
                      <a:pt x="189318" y="272927"/>
                    </a:cubicBezTo>
                    <a:cubicBezTo>
                      <a:pt x="313937" y="284039"/>
                      <a:pt x="343084" y="201765"/>
                      <a:pt x="370293" y="194346"/>
                    </a:cubicBezTo>
                    <a:cubicBezTo>
                      <a:pt x="423689" y="219618"/>
                      <a:pt x="534599" y="161803"/>
                      <a:pt x="534599" y="153865"/>
                    </a:cubicBezTo>
                    <a:cubicBezTo>
                      <a:pt x="563173" y="126877"/>
                      <a:pt x="598893" y="85603"/>
                      <a:pt x="598893" y="58615"/>
                    </a:cubicBezTo>
                    <a:cubicBezTo>
                      <a:pt x="606831" y="26071"/>
                      <a:pt x="526662" y="14959"/>
                      <a:pt x="479831" y="10990"/>
                    </a:cubicBezTo>
                    <a:cubicBezTo>
                      <a:pt x="446494" y="6228"/>
                      <a:pt x="410775" y="18133"/>
                      <a:pt x="358387" y="32421"/>
                    </a:cubicBezTo>
                    <a:cubicBezTo>
                      <a:pt x="342511" y="-11235"/>
                      <a:pt x="279012" y="-2504"/>
                      <a:pt x="232181" y="10990"/>
                    </a:cubicBezTo>
                    <a:cubicBezTo>
                      <a:pt x="173444" y="53059"/>
                      <a:pt x="18266" y="146721"/>
                      <a:pt x="5962" y="184821"/>
                    </a:cubicBezTo>
                    <a:cubicBezTo>
                      <a:pt x="1993" y="252289"/>
                      <a:pt x="-9119" y="357859"/>
                      <a:pt x="15487" y="372940"/>
                    </a:cubicBezTo>
                    <a:close/>
                  </a:path>
                </a:pathLst>
              </a:custGeom>
              <a:solidFill>
                <a:schemeClr val="accent1">
                  <a:lumMod val="20000"/>
                  <a:lumOff val="80000"/>
                  <a:alpha val="60000"/>
                </a:schemeClr>
              </a:solidFill>
              <a:ln w="12700">
                <a:solidFill>
                  <a:schemeClr val="accent1"/>
                </a:solidFill>
              </a:ln>
              <a:effectLst>
                <a:glow rad="50800">
                  <a:srgbClr val="0081C6">
                    <a:alpha val="10000"/>
                  </a:srgbClr>
                </a:glow>
                <a:outerShdw blurRad="76200" dist="50800" dir="2700000" algn="tl" rotWithShape="0">
                  <a:schemeClr val="bg1">
                    <a:alpha val="7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50"/>
              </a:p>
            </p:txBody>
          </p:sp>
          <p:sp>
            <p:nvSpPr>
              <p:cNvPr id="61" name="Freeform 9">
                <a:extLst>
                  <a:ext uri="{FF2B5EF4-FFF2-40B4-BE49-F238E27FC236}">
                    <a16:creationId xmlns:a16="http://schemas.microsoft.com/office/drawing/2014/main" id="{2ED65799-7E54-40BB-9C8B-CE1DB64BECF3}"/>
                  </a:ext>
                </a:extLst>
              </p:cNvPr>
              <p:cNvSpPr/>
              <p:nvPr/>
            </p:nvSpPr>
            <p:spPr>
              <a:xfrm>
                <a:off x="6494837" y="3021598"/>
                <a:ext cx="252184" cy="230731"/>
              </a:xfrm>
              <a:custGeom>
                <a:avLst/>
                <a:gdLst>
                  <a:gd name="connsiteX0" fmla="*/ 85725 w 164306"/>
                  <a:gd name="connsiteY0" fmla="*/ 197644 h 197644"/>
                  <a:gd name="connsiteX1" fmla="*/ 164306 w 164306"/>
                  <a:gd name="connsiteY1" fmla="*/ 145256 h 197644"/>
                  <a:gd name="connsiteX2" fmla="*/ 64294 w 164306"/>
                  <a:gd name="connsiteY2" fmla="*/ 0 h 197644"/>
                  <a:gd name="connsiteX3" fmla="*/ 0 w 164306"/>
                  <a:gd name="connsiteY3" fmla="*/ 35719 h 197644"/>
                  <a:gd name="connsiteX4" fmla="*/ 85725 w 164306"/>
                  <a:gd name="connsiteY4" fmla="*/ 197644 h 197644"/>
                  <a:gd name="connsiteX0" fmla="*/ 85725 w 164306"/>
                  <a:gd name="connsiteY0" fmla="*/ 197644 h 202972"/>
                  <a:gd name="connsiteX1" fmla="*/ 164306 w 164306"/>
                  <a:gd name="connsiteY1" fmla="*/ 145256 h 202972"/>
                  <a:gd name="connsiteX2" fmla="*/ 64294 w 164306"/>
                  <a:gd name="connsiteY2" fmla="*/ 0 h 202972"/>
                  <a:gd name="connsiteX3" fmla="*/ 0 w 164306"/>
                  <a:gd name="connsiteY3" fmla="*/ 35719 h 202972"/>
                  <a:gd name="connsiteX4" fmla="*/ 85725 w 164306"/>
                  <a:gd name="connsiteY4" fmla="*/ 197644 h 202972"/>
                  <a:gd name="connsiteX0" fmla="*/ 85725 w 154781"/>
                  <a:gd name="connsiteY0" fmla="*/ 197644 h 202972"/>
                  <a:gd name="connsiteX1" fmla="*/ 154781 w 154781"/>
                  <a:gd name="connsiteY1" fmla="*/ 145256 h 202972"/>
                  <a:gd name="connsiteX2" fmla="*/ 64294 w 154781"/>
                  <a:gd name="connsiteY2" fmla="*/ 0 h 202972"/>
                  <a:gd name="connsiteX3" fmla="*/ 0 w 154781"/>
                  <a:gd name="connsiteY3" fmla="*/ 35719 h 202972"/>
                  <a:gd name="connsiteX4" fmla="*/ 85725 w 154781"/>
                  <a:gd name="connsiteY4" fmla="*/ 197644 h 202972"/>
                  <a:gd name="connsiteX0" fmla="*/ 85725 w 154781"/>
                  <a:gd name="connsiteY0" fmla="*/ 197644 h 204086"/>
                  <a:gd name="connsiteX1" fmla="*/ 154781 w 154781"/>
                  <a:gd name="connsiteY1" fmla="*/ 145256 h 204086"/>
                  <a:gd name="connsiteX2" fmla="*/ 64294 w 154781"/>
                  <a:gd name="connsiteY2" fmla="*/ 0 h 204086"/>
                  <a:gd name="connsiteX3" fmla="*/ 0 w 154781"/>
                  <a:gd name="connsiteY3" fmla="*/ 35719 h 204086"/>
                  <a:gd name="connsiteX4" fmla="*/ 85725 w 154781"/>
                  <a:gd name="connsiteY4" fmla="*/ 197644 h 204086"/>
                  <a:gd name="connsiteX0" fmla="*/ 85725 w 154781"/>
                  <a:gd name="connsiteY0" fmla="*/ 197644 h 204086"/>
                  <a:gd name="connsiteX1" fmla="*/ 154781 w 154781"/>
                  <a:gd name="connsiteY1" fmla="*/ 145256 h 204086"/>
                  <a:gd name="connsiteX2" fmla="*/ 64294 w 154781"/>
                  <a:gd name="connsiteY2" fmla="*/ 0 h 204086"/>
                  <a:gd name="connsiteX3" fmla="*/ 0 w 154781"/>
                  <a:gd name="connsiteY3" fmla="*/ 35719 h 204086"/>
                  <a:gd name="connsiteX4" fmla="*/ 85725 w 154781"/>
                  <a:gd name="connsiteY4" fmla="*/ 197644 h 204086"/>
                  <a:gd name="connsiteX0" fmla="*/ 85725 w 154781"/>
                  <a:gd name="connsiteY0" fmla="*/ 200040 h 206482"/>
                  <a:gd name="connsiteX1" fmla="*/ 154781 w 154781"/>
                  <a:gd name="connsiteY1" fmla="*/ 147652 h 206482"/>
                  <a:gd name="connsiteX2" fmla="*/ 64294 w 154781"/>
                  <a:gd name="connsiteY2" fmla="*/ 2396 h 206482"/>
                  <a:gd name="connsiteX3" fmla="*/ 0 w 154781"/>
                  <a:gd name="connsiteY3" fmla="*/ 38115 h 206482"/>
                  <a:gd name="connsiteX4" fmla="*/ 85725 w 154781"/>
                  <a:gd name="connsiteY4" fmla="*/ 200040 h 206482"/>
                  <a:gd name="connsiteX0" fmla="*/ 85725 w 154781"/>
                  <a:gd name="connsiteY0" fmla="*/ 200040 h 206482"/>
                  <a:gd name="connsiteX1" fmla="*/ 154781 w 154781"/>
                  <a:gd name="connsiteY1" fmla="*/ 147652 h 206482"/>
                  <a:gd name="connsiteX2" fmla="*/ 64294 w 154781"/>
                  <a:gd name="connsiteY2" fmla="*/ 2396 h 206482"/>
                  <a:gd name="connsiteX3" fmla="*/ 0 w 154781"/>
                  <a:gd name="connsiteY3" fmla="*/ 38115 h 206482"/>
                  <a:gd name="connsiteX4" fmla="*/ 85725 w 154781"/>
                  <a:gd name="connsiteY4" fmla="*/ 200040 h 206482"/>
                  <a:gd name="connsiteX0" fmla="*/ 85725 w 154781"/>
                  <a:gd name="connsiteY0" fmla="*/ 200040 h 206482"/>
                  <a:gd name="connsiteX1" fmla="*/ 154781 w 154781"/>
                  <a:gd name="connsiteY1" fmla="*/ 147652 h 206482"/>
                  <a:gd name="connsiteX2" fmla="*/ 64294 w 154781"/>
                  <a:gd name="connsiteY2" fmla="*/ 2396 h 206482"/>
                  <a:gd name="connsiteX3" fmla="*/ 0 w 154781"/>
                  <a:gd name="connsiteY3" fmla="*/ 38115 h 206482"/>
                  <a:gd name="connsiteX4" fmla="*/ 85725 w 154781"/>
                  <a:gd name="connsiteY4" fmla="*/ 200040 h 206482"/>
                  <a:gd name="connsiteX0" fmla="*/ 85725 w 154781"/>
                  <a:gd name="connsiteY0" fmla="*/ 200040 h 206482"/>
                  <a:gd name="connsiteX1" fmla="*/ 154781 w 154781"/>
                  <a:gd name="connsiteY1" fmla="*/ 147652 h 206482"/>
                  <a:gd name="connsiteX2" fmla="*/ 64294 w 154781"/>
                  <a:gd name="connsiteY2" fmla="*/ 2396 h 206482"/>
                  <a:gd name="connsiteX3" fmla="*/ 0 w 154781"/>
                  <a:gd name="connsiteY3" fmla="*/ 38115 h 206482"/>
                  <a:gd name="connsiteX4" fmla="*/ 85725 w 154781"/>
                  <a:gd name="connsiteY4" fmla="*/ 200040 h 206482"/>
                  <a:gd name="connsiteX0" fmla="*/ 96572 w 165628"/>
                  <a:gd name="connsiteY0" fmla="*/ 202461 h 208903"/>
                  <a:gd name="connsiteX1" fmla="*/ 165628 w 165628"/>
                  <a:gd name="connsiteY1" fmla="*/ 150073 h 208903"/>
                  <a:gd name="connsiteX2" fmla="*/ 75141 w 165628"/>
                  <a:gd name="connsiteY2" fmla="*/ 4817 h 208903"/>
                  <a:gd name="connsiteX3" fmla="*/ 10847 w 165628"/>
                  <a:gd name="connsiteY3" fmla="*/ 40536 h 208903"/>
                  <a:gd name="connsiteX4" fmla="*/ 96572 w 165628"/>
                  <a:gd name="connsiteY4" fmla="*/ 202461 h 208903"/>
                  <a:gd name="connsiteX0" fmla="*/ 96056 w 165112"/>
                  <a:gd name="connsiteY0" fmla="*/ 206600 h 213042"/>
                  <a:gd name="connsiteX1" fmla="*/ 165112 w 165112"/>
                  <a:gd name="connsiteY1" fmla="*/ 154212 h 213042"/>
                  <a:gd name="connsiteX2" fmla="*/ 74625 w 165112"/>
                  <a:gd name="connsiteY2" fmla="*/ 8956 h 213042"/>
                  <a:gd name="connsiteX3" fmla="*/ 10331 w 165112"/>
                  <a:gd name="connsiteY3" fmla="*/ 44675 h 213042"/>
                  <a:gd name="connsiteX4" fmla="*/ 96056 w 165112"/>
                  <a:gd name="connsiteY4" fmla="*/ 206600 h 2130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5112" h="213042">
                    <a:moveTo>
                      <a:pt x="96056" y="206600"/>
                    </a:moveTo>
                    <a:cubicBezTo>
                      <a:pt x="129394" y="229618"/>
                      <a:pt x="155586" y="185963"/>
                      <a:pt x="165112" y="154212"/>
                    </a:cubicBezTo>
                    <a:cubicBezTo>
                      <a:pt x="161144" y="67693"/>
                      <a:pt x="116694" y="50231"/>
                      <a:pt x="74625" y="8956"/>
                    </a:cubicBezTo>
                    <a:cubicBezTo>
                      <a:pt x="-8719" y="-12476"/>
                      <a:pt x="-8719" y="6575"/>
                      <a:pt x="10331" y="44675"/>
                    </a:cubicBezTo>
                    <a:cubicBezTo>
                      <a:pt x="100819" y="67694"/>
                      <a:pt x="50813" y="183581"/>
                      <a:pt x="96056" y="206600"/>
                    </a:cubicBezTo>
                    <a:close/>
                  </a:path>
                </a:pathLst>
              </a:custGeom>
              <a:solidFill>
                <a:schemeClr val="accent1">
                  <a:lumMod val="20000"/>
                  <a:lumOff val="80000"/>
                  <a:alpha val="60000"/>
                </a:schemeClr>
              </a:solidFill>
              <a:ln w="12700">
                <a:solidFill>
                  <a:schemeClr val="accent1"/>
                </a:solidFill>
              </a:ln>
              <a:effectLst>
                <a:glow rad="50800">
                  <a:srgbClr val="0081C6">
                    <a:alpha val="10000"/>
                  </a:srgbClr>
                </a:glow>
                <a:outerShdw blurRad="76200" dist="50800" dir="2700000" algn="tl" rotWithShape="0">
                  <a:schemeClr val="bg1">
                    <a:alpha val="7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50"/>
              </a:p>
            </p:txBody>
          </p:sp>
          <p:sp>
            <p:nvSpPr>
              <p:cNvPr id="62" name="Freeform 10">
                <a:extLst>
                  <a:ext uri="{FF2B5EF4-FFF2-40B4-BE49-F238E27FC236}">
                    <a16:creationId xmlns:a16="http://schemas.microsoft.com/office/drawing/2014/main" id="{AD817F14-C1CD-4CAB-9C0C-3C031B5D90B8}"/>
                  </a:ext>
                </a:extLst>
              </p:cNvPr>
              <p:cNvSpPr/>
              <p:nvPr/>
            </p:nvSpPr>
            <p:spPr>
              <a:xfrm>
                <a:off x="7121149" y="3460411"/>
                <a:ext cx="313808" cy="975591"/>
              </a:xfrm>
              <a:custGeom>
                <a:avLst/>
                <a:gdLst>
                  <a:gd name="connsiteX0" fmla="*/ 0 w 271463"/>
                  <a:gd name="connsiteY0" fmla="*/ 47625 h 919162"/>
                  <a:gd name="connsiteX1" fmla="*/ 33338 w 271463"/>
                  <a:gd name="connsiteY1" fmla="*/ 0 h 919162"/>
                  <a:gd name="connsiteX2" fmla="*/ 78581 w 271463"/>
                  <a:gd name="connsiteY2" fmla="*/ 40481 h 919162"/>
                  <a:gd name="connsiteX3" fmla="*/ 100013 w 271463"/>
                  <a:gd name="connsiteY3" fmla="*/ 135731 h 919162"/>
                  <a:gd name="connsiteX4" fmla="*/ 271463 w 271463"/>
                  <a:gd name="connsiteY4" fmla="*/ 845344 h 919162"/>
                  <a:gd name="connsiteX5" fmla="*/ 238125 w 271463"/>
                  <a:gd name="connsiteY5" fmla="*/ 919162 h 919162"/>
                  <a:gd name="connsiteX6" fmla="*/ 216694 w 271463"/>
                  <a:gd name="connsiteY6" fmla="*/ 907256 h 919162"/>
                  <a:gd name="connsiteX7" fmla="*/ 207169 w 271463"/>
                  <a:gd name="connsiteY7" fmla="*/ 876300 h 919162"/>
                  <a:gd name="connsiteX8" fmla="*/ 219075 w 271463"/>
                  <a:gd name="connsiteY8" fmla="*/ 835819 h 919162"/>
                  <a:gd name="connsiteX9" fmla="*/ 97631 w 271463"/>
                  <a:gd name="connsiteY9" fmla="*/ 276225 h 919162"/>
                  <a:gd name="connsiteX10" fmla="*/ 0 w 271463"/>
                  <a:gd name="connsiteY10" fmla="*/ 47625 h 919162"/>
                  <a:gd name="connsiteX0" fmla="*/ 0 w 271463"/>
                  <a:gd name="connsiteY0" fmla="*/ 100012 h 971549"/>
                  <a:gd name="connsiteX1" fmla="*/ 38100 w 271463"/>
                  <a:gd name="connsiteY1" fmla="*/ 0 h 971549"/>
                  <a:gd name="connsiteX2" fmla="*/ 78581 w 271463"/>
                  <a:gd name="connsiteY2" fmla="*/ 92868 h 971549"/>
                  <a:gd name="connsiteX3" fmla="*/ 100013 w 271463"/>
                  <a:gd name="connsiteY3" fmla="*/ 188118 h 971549"/>
                  <a:gd name="connsiteX4" fmla="*/ 271463 w 271463"/>
                  <a:gd name="connsiteY4" fmla="*/ 897731 h 971549"/>
                  <a:gd name="connsiteX5" fmla="*/ 238125 w 271463"/>
                  <a:gd name="connsiteY5" fmla="*/ 971549 h 971549"/>
                  <a:gd name="connsiteX6" fmla="*/ 216694 w 271463"/>
                  <a:gd name="connsiteY6" fmla="*/ 959643 h 971549"/>
                  <a:gd name="connsiteX7" fmla="*/ 207169 w 271463"/>
                  <a:gd name="connsiteY7" fmla="*/ 928687 h 971549"/>
                  <a:gd name="connsiteX8" fmla="*/ 219075 w 271463"/>
                  <a:gd name="connsiteY8" fmla="*/ 888206 h 971549"/>
                  <a:gd name="connsiteX9" fmla="*/ 97631 w 271463"/>
                  <a:gd name="connsiteY9" fmla="*/ 328612 h 971549"/>
                  <a:gd name="connsiteX10" fmla="*/ 0 w 271463"/>
                  <a:gd name="connsiteY10" fmla="*/ 100012 h 971549"/>
                  <a:gd name="connsiteX0" fmla="*/ 6273 w 277736"/>
                  <a:gd name="connsiteY0" fmla="*/ 100012 h 971549"/>
                  <a:gd name="connsiteX1" fmla="*/ 44373 w 277736"/>
                  <a:gd name="connsiteY1" fmla="*/ 0 h 971549"/>
                  <a:gd name="connsiteX2" fmla="*/ 84854 w 277736"/>
                  <a:gd name="connsiteY2" fmla="*/ 92868 h 971549"/>
                  <a:gd name="connsiteX3" fmla="*/ 106286 w 277736"/>
                  <a:gd name="connsiteY3" fmla="*/ 188118 h 971549"/>
                  <a:gd name="connsiteX4" fmla="*/ 277736 w 277736"/>
                  <a:gd name="connsiteY4" fmla="*/ 897731 h 971549"/>
                  <a:gd name="connsiteX5" fmla="*/ 244398 w 277736"/>
                  <a:gd name="connsiteY5" fmla="*/ 971549 h 971549"/>
                  <a:gd name="connsiteX6" fmla="*/ 222967 w 277736"/>
                  <a:gd name="connsiteY6" fmla="*/ 959643 h 971549"/>
                  <a:gd name="connsiteX7" fmla="*/ 213442 w 277736"/>
                  <a:gd name="connsiteY7" fmla="*/ 928687 h 971549"/>
                  <a:gd name="connsiteX8" fmla="*/ 225348 w 277736"/>
                  <a:gd name="connsiteY8" fmla="*/ 888206 h 971549"/>
                  <a:gd name="connsiteX9" fmla="*/ 103904 w 277736"/>
                  <a:gd name="connsiteY9" fmla="*/ 328612 h 971549"/>
                  <a:gd name="connsiteX10" fmla="*/ 6273 w 277736"/>
                  <a:gd name="connsiteY10" fmla="*/ 100012 h 971549"/>
                  <a:gd name="connsiteX0" fmla="*/ 14949 w 286412"/>
                  <a:gd name="connsiteY0" fmla="*/ 100012 h 971549"/>
                  <a:gd name="connsiteX1" fmla="*/ 53049 w 286412"/>
                  <a:gd name="connsiteY1" fmla="*/ 0 h 971549"/>
                  <a:gd name="connsiteX2" fmla="*/ 93530 w 286412"/>
                  <a:gd name="connsiteY2" fmla="*/ 92868 h 971549"/>
                  <a:gd name="connsiteX3" fmla="*/ 114962 w 286412"/>
                  <a:gd name="connsiteY3" fmla="*/ 188118 h 971549"/>
                  <a:gd name="connsiteX4" fmla="*/ 286412 w 286412"/>
                  <a:gd name="connsiteY4" fmla="*/ 897731 h 971549"/>
                  <a:gd name="connsiteX5" fmla="*/ 253074 w 286412"/>
                  <a:gd name="connsiteY5" fmla="*/ 971549 h 971549"/>
                  <a:gd name="connsiteX6" fmla="*/ 231643 w 286412"/>
                  <a:gd name="connsiteY6" fmla="*/ 959643 h 971549"/>
                  <a:gd name="connsiteX7" fmla="*/ 222118 w 286412"/>
                  <a:gd name="connsiteY7" fmla="*/ 928687 h 971549"/>
                  <a:gd name="connsiteX8" fmla="*/ 234024 w 286412"/>
                  <a:gd name="connsiteY8" fmla="*/ 888206 h 971549"/>
                  <a:gd name="connsiteX9" fmla="*/ 112580 w 286412"/>
                  <a:gd name="connsiteY9" fmla="*/ 328612 h 971549"/>
                  <a:gd name="connsiteX10" fmla="*/ 14949 w 286412"/>
                  <a:gd name="connsiteY10" fmla="*/ 100012 h 971549"/>
                  <a:gd name="connsiteX0" fmla="*/ 14949 w 286412"/>
                  <a:gd name="connsiteY0" fmla="*/ 102879 h 974416"/>
                  <a:gd name="connsiteX1" fmla="*/ 53049 w 286412"/>
                  <a:gd name="connsiteY1" fmla="*/ 2867 h 974416"/>
                  <a:gd name="connsiteX2" fmla="*/ 93530 w 286412"/>
                  <a:gd name="connsiteY2" fmla="*/ 95735 h 974416"/>
                  <a:gd name="connsiteX3" fmla="*/ 114962 w 286412"/>
                  <a:gd name="connsiteY3" fmla="*/ 190985 h 974416"/>
                  <a:gd name="connsiteX4" fmla="*/ 286412 w 286412"/>
                  <a:gd name="connsiteY4" fmla="*/ 900598 h 974416"/>
                  <a:gd name="connsiteX5" fmla="*/ 253074 w 286412"/>
                  <a:gd name="connsiteY5" fmla="*/ 974416 h 974416"/>
                  <a:gd name="connsiteX6" fmla="*/ 231643 w 286412"/>
                  <a:gd name="connsiteY6" fmla="*/ 962510 h 974416"/>
                  <a:gd name="connsiteX7" fmla="*/ 222118 w 286412"/>
                  <a:gd name="connsiteY7" fmla="*/ 931554 h 974416"/>
                  <a:gd name="connsiteX8" fmla="*/ 234024 w 286412"/>
                  <a:gd name="connsiteY8" fmla="*/ 891073 h 974416"/>
                  <a:gd name="connsiteX9" fmla="*/ 112580 w 286412"/>
                  <a:gd name="connsiteY9" fmla="*/ 331479 h 974416"/>
                  <a:gd name="connsiteX10" fmla="*/ 14949 w 286412"/>
                  <a:gd name="connsiteY10" fmla="*/ 102879 h 974416"/>
                  <a:gd name="connsiteX0" fmla="*/ 14949 w 286412"/>
                  <a:gd name="connsiteY0" fmla="*/ 103695 h 975232"/>
                  <a:gd name="connsiteX1" fmla="*/ 53049 w 286412"/>
                  <a:gd name="connsiteY1" fmla="*/ 3683 h 975232"/>
                  <a:gd name="connsiteX2" fmla="*/ 98293 w 286412"/>
                  <a:gd name="connsiteY2" fmla="*/ 75119 h 975232"/>
                  <a:gd name="connsiteX3" fmla="*/ 114962 w 286412"/>
                  <a:gd name="connsiteY3" fmla="*/ 191801 h 975232"/>
                  <a:gd name="connsiteX4" fmla="*/ 286412 w 286412"/>
                  <a:gd name="connsiteY4" fmla="*/ 901414 h 975232"/>
                  <a:gd name="connsiteX5" fmla="*/ 253074 w 286412"/>
                  <a:gd name="connsiteY5" fmla="*/ 975232 h 975232"/>
                  <a:gd name="connsiteX6" fmla="*/ 231643 w 286412"/>
                  <a:gd name="connsiteY6" fmla="*/ 963326 h 975232"/>
                  <a:gd name="connsiteX7" fmla="*/ 222118 w 286412"/>
                  <a:gd name="connsiteY7" fmla="*/ 932370 h 975232"/>
                  <a:gd name="connsiteX8" fmla="*/ 234024 w 286412"/>
                  <a:gd name="connsiteY8" fmla="*/ 891889 h 975232"/>
                  <a:gd name="connsiteX9" fmla="*/ 112580 w 286412"/>
                  <a:gd name="connsiteY9" fmla="*/ 332295 h 975232"/>
                  <a:gd name="connsiteX10" fmla="*/ 14949 w 286412"/>
                  <a:gd name="connsiteY10" fmla="*/ 103695 h 975232"/>
                  <a:gd name="connsiteX0" fmla="*/ 14949 w 286412"/>
                  <a:gd name="connsiteY0" fmla="*/ 104054 h 975591"/>
                  <a:gd name="connsiteX1" fmla="*/ 53049 w 286412"/>
                  <a:gd name="connsiteY1" fmla="*/ 4042 h 975591"/>
                  <a:gd name="connsiteX2" fmla="*/ 98293 w 286412"/>
                  <a:gd name="connsiteY2" fmla="*/ 75478 h 975591"/>
                  <a:gd name="connsiteX3" fmla="*/ 114962 w 286412"/>
                  <a:gd name="connsiteY3" fmla="*/ 192160 h 975591"/>
                  <a:gd name="connsiteX4" fmla="*/ 286412 w 286412"/>
                  <a:gd name="connsiteY4" fmla="*/ 901773 h 975591"/>
                  <a:gd name="connsiteX5" fmla="*/ 253074 w 286412"/>
                  <a:gd name="connsiteY5" fmla="*/ 975591 h 975591"/>
                  <a:gd name="connsiteX6" fmla="*/ 231643 w 286412"/>
                  <a:gd name="connsiteY6" fmla="*/ 963685 h 975591"/>
                  <a:gd name="connsiteX7" fmla="*/ 222118 w 286412"/>
                  <a:gd name="connsiteY7" fmla="*/ 932729 h 975591"/>
                  <a:gd name="connsiteX8" fmla="*/ 234024 w 286412"/>
                  <a:gd name="connsiteY8" fmla="*/ 892248 h 975591"/>
                  <a:gd name="connsiteX9" fmla="*/ 112580 w 286412"/>
                  <a:gd name="connsiteY9" fmla="*/ 332654 h 975591"/>
                  <a:gd name="connsiteX10" fmla="*/ 14949 w 286412"/>
                  <a:gd name="connsiteY10" fmla="*/ 104054 h 975591"/>
                  <a:gd name="connsiteX0" fmla="*/ 14949 w 286412"/>
                  <a:gd name="connsiteY0" fmla="*/ 104054 h 975591"/>
                  <a:gd name="connsiteX1" fmla="*/ 53049 w 286412"/>
                  <a:gd name="connsiteY1" fmla="*/ 4042 h 975591"/>
                  <a:gd name="connsiteX2" fmla="*/ 98293 w 286412"/>
                  <a:gd name="connsiteY2" fmla="*/ 75478 h 975591"/>
                  <a:gd name="connsiteX3" fmla="*/ 114962 w 286412"/>
                  <a:gd name="connsiteY3" fmla="*/ 192160 h 975591"/>
                  <a:gd name="connsiteX4" fmla="*/ 286412 w 286412"/>
                  <a:gd name="connsiteY4" fmla="*/ 901773 h 975591"/>
                  <a:gd name="connsiteX5" fmla="*/ 253074 w 286412"/>
                  <a:gd name="connsiteY5" fmla="*/ 975591 h 975591"/>
                  <a:gd name="connsiteX6" fmla="*/ 231643 w 286412"/>
                  <a:gd name="connsiteY6" fmla="*/ 963685 h 975591"/>
                  <a:gd name="connsiteX7" fmla="*/ 222118 w 286412"/>
                  <a:gd name="connsiteY7" fmla="*/ 932729 h 975591"/>
                  <a:gd name="connsiteX8" fmla="*/ 234024 w 286412"/>
                  <a:gd name="connsiteY8" fmla="*/ 892248 h 975591"/>
                  <a:gd name="connsiteX9" fmla="*/ 112580 w 286412"/>
                  <a:gd name="connsiteY9" fmla="*/ 332654 h 975591"/>
                  <a:gd name="connsiteX10" fmla="*/ 14949 w 286412"/>
                  <a:gd name="connsiteY10" fmla="*/ 104054 h 975591"/>
                  <a:gd name="connsiteX0" fmla="*/ 14949 w 286412"/>
                  <a:gd name="connsiteY0" fmla="*/ 104054 h 975591"/>
                  <a:gd name="connsiteX1" fmla="*/ 53049 w 286412"/>
                  <a:gd name="connsiteY1" fmla="*/ 4042 h 975591"/>
                  <a:gd name="connsiteX2" fmla="*/ 98293 w 286412"/>
                  <a:gd name="connsiteY2" fmla="*/ 75478 h 975591"/>
                  <a:gd name="connsiteX3" fmla="*/ 114962 w 286412"/>
                  <a:gd name="connsiteY3" fmla="*/ 192160 h 975591"/>
                  <a:gd name="connsiteX4" fmla="*/ 286412 w 286412"/>
                  <a:gd name="connsiteY4" fmla="*/ 901773 h 975591"/>
                  <a:gd name="connsiteX5" fmla="*/ 253074 w 286412"/>
                  <a:gd name="connsiteY5" fmla="*/ 975591 h 975591"/>
                  <a:gd name="connsiteX6" fmla="*/ 231643 w 286412"/>
                  <a:gd name="connsiteY6" fmla="*/ 963685 h 975591"/>
                  <a:gd name="connsiteX7" fmla="*/ 222118 w 286412"/>
                  <a:gd name="connsiteY7" fmla="*/ 932729 h 975591"/>
                  <a:gd name="connsiteX8" fmla="*/ 234024 w 286412"/>
                  <a:gd name="connsiteY8" fmla="*/ 892248 h 975591"/>
                  <a:gd name="connsiteX9" fmla="*/ 112580 w 286412"/>
                  <a:gd name="connsiteY9" fmla="*/ 332654 h 975591"/>
                  <a:gd name="connsiteX10" fmla="*/ 14949 w 286412"/>
                  <a:gd name="connsiteY10" fmla="*/ 104054 h 975591"/>
                  <a:gd name="connsiteX0" fmla="*/ 14949 w 286412"/>
                  <a:gd name="connsiteY0" fmla="*/ 104054 h 975591"/>
                  <a:gd name="connsiteX1" fmla="*/ 53049 w 286412"/>
                  <a:gd name="connsiteY1" fmla="*/ 4042 h 975591"/>
                  <a:gd name="connsiteX2" fmla="*/ 98293 w 286412"/>
                  <a:gd name="connsiteY2" fmla="*/ 75478 h 975591"/>
                  <a:gd name="connsiteX3" fmla="*/ 114962 w 286412"/>
                  <a:gd name="connsiteY3" fmla="*/ 192160 h 975591"/>
                  <a:gd name="connsiteX4" fmla="*/ 286412 w 286412"/>
                  <a:gd name="connsiteY4" fmla="*/ 901773 h 975591"/>
                  <a:gd name="connsiteX5" fmla="*/ 253074 w 286412"/>
                  <a:gd name="connsiteY5" fmla="*/ 975591 h 975591"/>
                  <a:gd name="connsiteX6" fmla="*/ 231643 w 286412"/>
                  <a:gd name="connsiteY6" fmla="*/ 963685 h 975591"/>
                  <a:gd name="connsiteX7" fmla="*/ 222118 w 286412"/>
                  <a:gd name="connsiteY7" fmla="*/ 932729 h 975591"/>
                  <a:gd name="connsiteX8" fmla="*/ 234024 w 286412"/>
                  <a:gd name="connsiteY8" fmla="*/ 892248 h 975591"/>
                  <a:gd name="connsiteX9" fmla="*/ 112580 w 286412"/>
                  <a:gd name="connsiteY9" fmla="*/ 332654 h 975591"/>
                  <a:gd name="connsiteX10" fmla="*/ 14949 w 286412"/>
                  <a:gd name="connsiteY10" fmla="*/ 104054 h 975591"/>
                  <a:gd name="connsiteX0" fmla="*/ 14949 w 274506"/>
                  <a:gd name="connsiteY0" fmla="*/ 104054 h 975591"/>
                  <a:gd name="connsiteX1" fmla="*/ 53049 w 274506"/>
                  <a:gd name="connsiteY1" fmla="*/ 4042 h 975591"/>
                  <a:gd name="connsiteX2" fmla="*/ 98293 w 274506"/>
                  <a:gd name="connsiteY2" fmla="*/ 75478 h 975591"/>
                  <a:gd name="connsiteX3" fmla="*/ 114962 w 274506"/>
                  <a:gd name="connsiteY3" fmla="*/ 192160 h 975591"/>
                  <a:gd name="connsiteX4" fmla="*/ 274506 w 274506"/>
                  <a:gd name="connsiteY4" fmla="*/ 904155 h 975591"/>
                  <a:gd name="connsiteX5" fmla="*/ 253074 w 274506"/>
                  <a:gd name="connsiteY5" fmla="*/ 975591 h 975591"/>
                  <a:gd name="connsiteX6" fmla="*/ 231643 w 274506"/>
                  <a:gd name="connsiteY6" fmla="*/ 963685 h 975591"/>
                  <a:gd name="connsiteX7" fmla="*/ 222118 w 274506"/>
                  <a:gd name="connsiteY7" fmla="*/ 932729 h 975591"/>
                  <a:gd name="connsiteX8" fmla="*/ 234024 w 274506"/>
                  <a:gd name="connsiteY8" fmla="*/ 892248 h 975591"/>
                  <a:gd name="connsiteX9" fmla="*/ 112580 w 274506"/>
                  <a:gd name="connsiteY9" fmla="*/ 332654 h 975591"/>
                  <a:gd name="connsiteX10" fmla="*/ 14949 w 274506"/>
                  <a:gd name="connsiteY10" fmla="*/ 104054 h 975591"/>
                  <a:gd name="connsiteX0" fmla="*/ 14949 w 274506"/>
                  <a:gd name="connsiteY0" fmla="*/ 104054 h 975591"/>
                  <a:gd name="connsiteX1" fmla="*/ 53049 w 274506"/>
                  <a:gd name="connsiteY1" fmla="*/ 4042 h 975591"/>
                  <a:gd name="connsiteX2" fmla="*/ 98293 w 274506"/>
                  <a:gd name="connsiteY2" fmla="*/ 75478 h 975591"/>
                  <a:gd name="connsiteX3" fmla="*/ 114962 w 274506"/>
                  <a:gd name="connsiteY3" fmla="*/ 192160 h 975591"/>
                  <a:gd name="connsiteX4" fmla="*/ 210212 w 274506"/>
                  <a:gd name="connsiteY4" fmla="*/ 575543 h 975591"/>
                  <a:gd name="connsiteX5" fmla="*/ 274506 w 274506"/>
                  <a:gd name="connsiteY5" fmla="*/ 904155 h 975591"/>
                  <a:gd name="connsiteX6" fmla="*/ 253074 w 274506"/>
                  <a:gd name="connsiteY6" fmla="*/ 975591 h 975591"/>
                  <a:gd name="connsiteX7" fmla="*/ 231643 w 274506"/>
                  <a:gd name="connsiteY7" fmla="*/ 963685 h 975591"/>
                  <a:gd name="connsiteX8" fmla="*/ 222118 w 274506"/>
                  <a:gd name="connsiteY8" fmla="*/ 932729 h 975591"/>
                  <a:gd name="connsiteX9" fmla="*/ 234024 w 274506"/>
                  <a:gd name="connsiteY9" fmla="*/ 892248 h 975591"/>
                  <a:gd name="connsiteX10" fmla="*/ 112580 w 274506"/>
                  <a:gd name="connsiteY10" fmla="*/ 332654 h 975591"/>
                  <a:gd name="connsiteX11" fmla="*/ 14949 w 274506"/>
                  <a:gd name="connsiteY11" fmla="*/ 104054 h 975591"/>
                  <a:gd name="connsiteX0" fmla="*/ 14949 w 274506"/>
                  <a:gd name="connsiteY0" fmla="*/ 104054 h 975591"/>
                  <a:gd name="connsiteX1" fmla="*/ 53049 w 274506"/>
                  <a:gd name="connsiteY1" fmla="*/ 4042 h 975591"/>
                  <a:gd name="connsiteX2" fmla="*/ 98293 w 274506"/>
                  <a:gd name="connsiteY2" fmla="*/ 75478 h 975591"/>
                  <a:gd name="connsiteX3" fmla="*/ 114962 w 274506"/>
                  <a:gd name="connsiteY3" fmla="*/ 192160 h 975591"/>
                  <a:gd name="connsiteX4" fmla="*/ 210212 w 274506"/>
                  <a:gd name="connsiteY4" fmla="*/ 575543 h 975591"/>
                  <a:gd name="connsiteX5" fmla="*/ 274506 w 274506"/>
                  <a:gd name="connsiteY5" fmla="*/ 904155 h 975591"/>
                  <a:gd name="connsiteX6" fmla="*/ 253074 w 274506"/>
                  <a:gd name="connsiteY6" fmla="*/ 975591 h 975591"/>
                  <a:gd name="connsiteX7" fmla="*/ 231643 w 274506"/>
                  <a:gd name="connsiteY7" fmla="*/ 963685 h 975591"/>
                  <a:gd name="connsiteX8" fmla="*/ 222118 w 274506"/>
                  <a:gd name="connsiteY8" fmla="*/ 932729 h 975591"/>
                  <a:gd name="connsiteX9" fmla="*/ 234024 w 274506"/>
                  <a:gd name="connsiteY9" fmla="*/ 892248 h 975591"/>
                  <a:gd name="connsiteX10" fmla="*/ 112580 w 274506"/>
                  <a:gd name="connsiteY10" fmla="*/ 332654 h 975591"/>
                  <a:gd name="connsiteX11" fmla="*/ 14949 w 274506"/>
                  <a:gd name="connsiteY11" fmla="*/ 104054 h 975591"/>
                  <a:gd name="connsiteX0" fmla="*/ 14949 w 274506"/>
                  <a:gd name="connsiteY0" fmla="*/ 104054 h 975591"/>
                  <a:gd name="connsiteX1" fmla="*/ 53049 w 274506"/>
                  <a:gd name="connsiteY1" fmla="*/ 4042 h 975591"/>
                  <a:gd name="connsiteX2" fmla="*/ 98293 w 274506"/>
                  <a:gd name="connsiteY2" fmla="*/ 75478 h 975591"/>
                  <a:gd name="connsiteX3" fmla="*/ 114962 w 274506"/>
                  <a:gd name="connsiteY3" fmla="*/ 192160 h 975591"/>
                  <a:gd name="connsiteX4" fmla="*/ 210212 w 274506"/>
                  <a:gd name="connsiteY4" fmla="*/ 575543 h 975591"/>
                  <a:gd name="connsiteX5" fmla="*/ 274506 w 274506"/>
                  <a:gd name="connsiteY5" fmla="*/ 904155 h 975591"/>
                  <a:gd name="connsiteX6" fmla="*/ 253074 w 274506"/>
                  <a:gd name="connsiteY6" fmla="*/ 975591 h 975591"/>
                  <a:gd name="connsiteX7" fmla="*/ 231643 w 274506"/>
                  <a:gd name="connsiteY7" fmla="*/ 963685 h 975591"/>
                  <a:gd name="connsiteX8" fmla="*/ 222118 w 274506"/>
                  <a:gd name="connsiteY8" fmla="*/ 932729 h 975591"/>
                  <a:gd name="connsiteX9" fmla="*/ 234024 w 274506"/>
                  <a:gd name="connsiteY9" fmla="*/ 892248 h 975591"/>
                  <a:gd name="connsiteX10" fmla="*/ 112580 w 274506"/>
                  <a:gd name="connsiteY10" fmla="*/ 332654 h 975591"/>
                  <a:gd name="connsiteX11" fmla="*/ 14949 w 274506"/>
                  <a:gd name="connsiteY11" fmla="*/ 104054 h 975591"/>
                  <a:gd name="connsiteX0" fmla="*/ 14949 w 288259"/>
                  <a:gd name="connsiteY0" fmla="*/ 104054 h 975591"/>
                  <a:gd name="connsiteX1" fmla="*/ 53049 w 288259"/>
                  <a:gd name="connsiteY1" fmla="*/ 4042 h 975591"/>
                  <a:gd name="connsiteX2" fmla="*/ 98293 w 288259"/>
                  <a:gd name="connsiteY2" fmla="*/ 75478 h 975591"/>
                  <a:gd name="connsiteX3" fmla="*/ 114962 w 288259"/>
                  <a:gd name="connsiteY3" fmla="*/ 192160 h 975591"/>
                  <a:gd name="connsiteX4" fmla="*/ 210212 w 288259"/>
                  <a:gd name="connsiteY4" fmla="*/ 575543 h 975591"/>
                  <a:gd name="connsiteX5" fmla="*/ 274506 w 288259"/>
                  <a:gd name="connsiteY5" fmla="*/ 904155 h 975591"/>
                  <a:gd name="connsiteX6" fmla="*/ 253074 w 288259"/>
                  <a:gd name="connsiteY6" fmla="*/ 975591 h 975591"/>
                  <a:gd name="connsiteX7" fmla="*/ 231643 w 288259"/>
                  <a:gd name="connsiteY7" fmla="*/ 963685 h 975591"/>
                  <a:gd name="connsiteX8" fmla="*/ 222118 w 288259"/>
                  <a:gd name="connsiteY8" fmla="*/ 932729 h 975591"/>
                  <a:gd name="connsiteX9" fmla="*/ 234024 w 288259"/>
                  <a:gd name="connsiteY9" fmla="*/ 892248 h 975591"/>
                  <a:gd name="connsiteX10" fmla="*/ 112580 w 288259"/>
                  <a:gd name="connsiteY10" fmla="*/ 332654 h 975591"/>
                  <a:gd name="connsiteX11" fmla="*/ 14949 w 288259"/>
                  <a:gd name="connsiteY11" fmla="*/ 104054 h 975591"/>
                  <a:gd name="connsiteX0" fmla="*/ 14949 w 289839"/>
                  <a:gd name="connsiteY0" fmla="*/ 104054 h 975591"/>
                  <a:gd name="connsiteX1" fmla="*/ 53049 w 289839"/>
                  <a:gd name="connsiteY1" fmla="*/ 4042 h 975591"/>
                  <a:gd name="connsiteX2" fmla="*/ 98293 w 289839"/>
                  <a:gd name="connsiteY2" fmla="*/ 75478 h 975591"/>
                  <a:gd name="connsiteX3" fmla="*/ 114962 w 289839"/>
                  <a:gd name="connsiteY3" fmla="*/ 192160 h 975591"/>
                  <a:gd name="connsiteX4" fmla="*/ 210212 w 289839"/>
                  <a:gd name="connsiteY4" fmla="*/ 575543 h 975591"/>
                  <a:gd name="connsiteX5" fmla="*/ 274506 w 289839"/>
                  <a:gd name="connsiteY5" fmla="*/ 904155 h 975591"/>
                  <a:gd name="connsiteX6" fmla="*/ 253074 w 289839"/>
                  <a:gd name="connsiteY6" fmla="*/ 975591 h 975591"/>
                  <a:gd name="connsiteX7" fmla="*/ 231643 w 289839"/>
                  <a:gd name="connsiteY7" fmla="*/ 963685 h 975591"/>
                  <a:gd name="connsiteX8" fmla="*/ 222118 w 289839"/>
                  <a:gd name="connsiteY8" fmla="*/ 932729 h 975591"/>
                  <a:gd name="connsiteX9" fmla="*/ 234024 w 289839"/>
                  <a:gd name="connsiteY9" fmla="*/ 892248 h 975591"/>
                  <a:gd name="connsiteX10" fmla="*/ 112580 w 289839"/>
                  <a:gd name="connsiteY10" fmla="*/ 332654 h 975591"/>
                  <a:gd name="connsiteX11" fmla="*/ 14949 w 289839"/>
                  <a:gd name="connsiteY11" fmla="*/ 104054 h 975591"/>
                  <a:gd name="connsiteX0" fmla="*/ 14949 w 289839"/>
                  <a:gd name="connsiteY0" fmla="*/ 104054 h 975591"/>
                  <a:gd name="connsiteX1" fmla="*/ 53049 w 289839"/>
                  <a:gd name="connsiteY1" fmla="*/ 4042 h 975591"/>
                  <a:gd name="connsiteX2" fmla="*/ 98293 w 289839"/>
                  <a:gd name="connsiteY2" fmla="*/ 75478 h 975591"/>
                  <a:gd name="connsiteX3" fmla="*/ 114962 w 289839"/>
                  <a:gd name="connsiteY3" fmla="*/ 192160 h 975591"/>
                  <a:gd name="connsiteX4" fmla="*/ 210212 w 289839"/>
                  <a:gd name="connsiteY4" fmla="*/ 575543 h 975591"/>
                  <a:gd name="connsiteX5" fmla="*/ 274506 w 289839"/>
                  <a:gd name="connsiteY5" fmla="*/ 904155 h 975591"/>
                  <a:gd name="connsiteX6" fmla="*/ 253074 w 289839"/>
                  <a:gd name="connsiteY6" fmla="*/ 975591 h 975591"/>
                  <a:gd name="connsiteX7" fmla="*/ 231643 w 289839"/>
                  <a:gd name="connsiteY7" fmla="*/ 963685 h 975591"/>
                  <a:gd name="connsiteX8" fmla="*/ 222118 w 289839"/>
                  <a:gd name="connsiteY8" fmla="*/ 932729 h 975591"/>
                  <a:gd name="connsiteX9" fmla="*/ 234024 w 289839"/>
                  <a:gd name="connsiteY9" fmla="*/ 892248 h 975591"/>
                  <a:gd name="connsiteX10" fmla="*/ 112580 w 289839"/>
                  <a:gd name="connsiteY10" fmla="*/ 332654 h 975591"/>
                  <a:gd name="connsiteX11" fmla="*/ 14949 w 289839"/>
                  <a:gd name="connsiteY11" fmla="*/ 104054 h 975591"/>
                  <a:gd name="connsiteX0" fmla="*/ 14949 w 289839"/>
                  <a:gd name="connsiteY0" fmla="*/ 104054 h 975591"/>
                  <a:gd name="connsiteX1" fmla="*/ 53049 w 289839"/>
                  <a:gd name="connsiteY1" fmla="*/ 4042 h 975591"/>
                  <a:gd name="connsiteX2" fmla="*/ 98293 w 289839"/>
                  <a:gd name="connsiteY2" fmla="*/ 75478 h 975591"/>
                  <a:gd name="connsiteX3" fmla="*/ 114962 w 289839"/>
                  <a:gd name="connsiteY3" fmla="*/ 192160 h 975591"/>
                  <a:gd name="connsiteX4" fmla="*/ 210212 w 289839"/>
                  <a:gd name="connsiteY4" fmla="*/ 575543 h 975591"/>
                  <a:gd name="connsiteX5" fmla="*/ 274506 w 289839"/>
                  <a:gd name="connsiteY5" fmla="*/ 904155 h 975591"/>
                  <a:gd name="connsiteX6" fmla="*/ 253074 w 289839"/>
                  <a:gd name="connsiteY6" fmla="*/ 975591 h 975591"/>
                  <a:gd name="connsiteX7" fmla="*/ 231643 w 289839"/>
                  <a:gd name="connsiteY7" fmla="*/ 963685 h 975591"/>
                  <a:gd name="connsiteX8" fmla="*/ 222118 w 289839"/>
                  <a:gd name="connsiteY8" fmla="*/ 932729 h 975591"/>
                  <a:gd name="connsiteX9" fmla="*/ 234024 w 289839"/>
                  <a:gd name="connsiteY9" fmla="*/ 892248 h 975591"/>
                  <a:gd name="connsiteX10" fmla="*/ 112580 w 289839"/>
                  <a:gd name="connsiteY10" fmla="*/ 332654 h 975591"/>
                  <a:gd name="connsiteX11" fmla="*/ 14949 w 289839"/>
                  <a:gd name="connsiteY11" fmla="*/ 104054 h 975591"/>
                  <a:gd name="connsiteX0" fmla="*/ 14949 w 287905"/>
                  <a:gd name="connsiteY0" fmla="*/ 104054 h 975591"/>
                  <a:gd name="connsiteX1" fmla="*/ 53049 w 287905"/>
                  <a:gd name="connsiteY1" fmla="*/ 4042 h 975591"/>
                  <a:gd name="connsiteX2" fmla="*/ 98293 w 287905"/>
                  <a:gd name="connsiteY2" fmla="*/ 75478 h 975591"/>
                  <a:gd name="connsiteX3" fmla="*/ 114962 w 287905"/>
                  <a:gd name="connsiteY3" fmla="*/ 192160 h 975591"/>
                  <a:gd name="connsiteX4" fmla="*/ 210212 w 287905"/>
                  <a:gd name="connsiteY4" fmla="*/ 575543 h 975591"/>
                  <a:gd name="connsiteX5" fmla="*/ 274506 w 287905"/>
                  <a:gd name="connsiteY5" fmla="*/ 904155 h 975591"/>
                  <a:gd name="connsiteX6" fmla="*/ 253074 w 287905"/>
                  <a:gd name="connsiteY6" fmla="*/ 975591 h 975591"/>
                  <a:gd name="connsiteX7" fmla="*/ 231643 w 287905"/>
                  <a:gd name="connsiteY7" fmla="*/ 963685 h 975591"/>
                  <a:gd name="connsiteX8" fmla="*/ 222118 w 287905"/>
                  <a:gd name="connsiteY8" fmla="*/ 932729 h 975591"/>
                  <a:gd name="connsiteX9" fmla="*/ 234024 w 287905"/>
                  <a:gd name="connsiteY9" fmla="*/ 892248 h 975591"/>
                  <a:gd name="connsiteX10" fmla="*/ 112580 w 287905"/>
                  <a:gd name="connsiteY10" fmla="*/ 332654 h 975591"/>
                  <a:gd name="connsiteX11" fmla="*/ 14949 w 287905"/>
                  <a:gd name="connsiteY11" fmla="*/ 104054 h 9755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87905" h="975591">
                    <a:moveTo>
                      <a:pt x="14949" y="104054"/>
                    </a:moveTo>
                    <a:cubicBezTo>
                      <a:pt x="3836" y="70717"/>
                      <a:pt x="-26326" y="37379"/>
                      <a:pt x="53049" y="4042"/>
                    </a:cubicBezTo>
                    <a:cubicBezTo>
                      <a:pt x="126075" y="-15008"/>
                      <a:pt x="110993" y="37378"/>
                      <a:pt x="98293" y="75478"/>
                    </a:cubicBezTo>
                    <a:cubicBezTo>
                      <a:pt x="103849" y="114372"/>
                      <a:pt x="95118" y="136597"/>
                      <a:pt x="114962" y="192160"/>
                    </a:cubicBezTo>
                    <a:cubicBezTo>
                      <a:pt x="149888" y="242961"/>
                      <a:pt x="174096" y="285427"/>
                      <a:pt x="210212" y="575543"/>
                    </a:cubicBezTo>
                    <a:cubicBezTo>
                      <a:pt x="236803" y="694209"/>
                      <a:pt x="269347" y="835893"/>
                      <a:pt x="274506" y="904155"/>
                    </a:cubicBezTo>
                    <a:cubicBezTo>
                      <a:pt x="312606" y="937492"/>
                      <a:pt x="257837" y="930348"/>
                      <a:pt x="253074" y="975591"/>
                    </a:cubicBezTo>
                    <a:lnTo>
                      <a:pt x="231643" y="963685"/>
                    </a:lnTo>
                    <a:lnTo>
                      <a:pt x="222118" y="932729"/>
                    </a:lnTo>
                    <a:lnTo>
                      <a:pt x="234024" y="892248"/>
                    </a:lnTo>
                    <a:cubicBezTo>
                      <a:pt x="172112" y="712860"/>
                      <a:pt x="153061" y="519185"/>
                      <a:pt x="112580" y="332654"/>
                    </a:cubicBezTo>
                    <a:cubicBezTo>
                      <a:pt x="84798" y="215973"/>
                      <a:pt x="47493" y="180254"/>
                      <a:pt x="14949" y="104054"/>
                    </a:cubicBezTo>
                    <a:close/>
                  </a:path>
                </a:pathLst>
              </a:custGeom>
              <a:solidFill>
                <a:schemeClr val="accent1">
                  <a:lumMod val="20000"/>
                  <a:lumOff val="80000"/>
                  <a:alpha val="60000"/>
                </a:schemeClr>
              </a:solidFill>
              <a:ln w="12700">
                <a:solidFill>
                  <a:schemeClr val="accent1"/>
                </a:solidFill>
              </a:ln>
              <a:effectLst>
                <a:glow rad="50800">
                  <a:srgbClr val="0081C6">
                    <a:alpha val="10000"/>
                  </a:srgbClr>
                </a:glow>
                <a:outerShdw blurRad="76200" dist="50800" dir="2700000" algn="tl" rotWithShape="0">
                  <a:schemeClr val="bg1">
                    <a:alpha val="7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50"/>
              </a:p>
            </p:txBody>
          </p:sp>
          <p:sp>
            <p:nvSpPr>
              <p:cNvPr id="63" name="Freeform 22">
                <a:extLst>
                  <a:ext uri="{FF2B5EF4-FFF2-40B4-BE49-F238E27FC236}">
                    <a16:creationId xmlns:a16="http://schemas.microsoft.com/office/drawing/2014/main" id="{2CA0B4A0-9D1D-447E-81B8-CBF62B699EB9}"/>
                  </a:ext>
                </a:extLst>
              </p:cNvPr>
              <p:cNvSpPr/>
              <p:nvPr/>
            </p:nvSpPr>
            <p:spPr>
              <a:xfrm>
                <a:off x="6578976" y="4166393"/>
                <a:ext cx="360920" cy="1479893"/>
              </a:xfrm>
              <a:custGeom>
                <a:avLst/>
                <a:gdLst>
                  <a:gd name="connsiteX0" fmla="*/ 114300 w 297180"/>
                  <a:gd name="connsiteY0" fmla="*/ 350520 h 1310640"/>
                  <a:gd name="connsiteX1" fmla="*/ 60960 w 297180"/>
                  <a:gd name="connsiteY1" fmla="*/ 266700 h 1310640"/>
                  <a:gd name="connsiteX2" fmla="*/ 60960 w 297180"/>
                  <a:gd name="connsiteY2" fmla="*/ 266700 h 1310640"/>
                  <a:gd name="connsiteX3" fmla="*/ 53340 w 297180"/>
                  <a:gd name="connsiteY3" fmla="*/ 137160 h 1310640"/>
                  <a:gd name="connsiteX4" fmla="*/ 0 w 297180"/>
                  <a:gd name="connsiteY4" fmla="*/ 91440 h 1310640"/>
                  <a:gd name="connsiteX5" fmla="*/ 106680 w 297180"/>
                  <a:gd name="connsiteY5" fmla="*/ 0 h 1310640"/>
                  <a:gd name="connsiteX6" fmla="*/ 160020 w 297180"/>
                  <a:gd name="connsiteY6" fmla="*/ 99060 h 1310640"/>
                  <a:gd name="connsiteX7" fmla="*/ 243840 w 297180"/>
                  <a:gd name="connsiteY7" fmla="*/ 30480 h 1310640"/>
                  <a:gd name="connsiteX8" fmla="*/ 297180 w 297180"/>
                  <a:gd name="connsiteY8" fmla="*/ 190500 h 1310640"/>
                  <a:gd name="connsiteX9" fmla="*/ 236220 w 297180"/>
                  <a:gd name="connsiteY9" fmla="*/ 320040 h 1310640"/>
                  <a:gd name="connsiteX10" fmla="*/ 175260 w 297180"/>
                  <a:gd name="connsiteY10" fmla="*/ 1272540 h 1310640"/>
                  <a:gd name="connsiteX11" fmla="*/ 38100 w 297180"/>
                  <a:gd name="connsiteY11" fmla="*/ 1310640 h 1310640"/>
                  <a:gd name="connsiteX12" fmla="*/ 114300 w 297180"/>
                  <a:gd name="connsiteY12" fmla="*/ 350520 h 1310640"/>
                  <a:gd name="connsiteX0" fmla="*/ 114300 w 297180"/>
                  <a:gd name="connsiteY0" fmla="*/ 350520 h 1310640"/>
                  <a:gd name="connsiteX1" fmla="*/ 60960 w 297180"/>
                  <a:gd name="connsiteY1" fmla="*/ 266700 h 1310640"/>
                  <a:gd name="connsiteX2" fmla="*/ 60960 w 297180"/>
                  <a:gd name="connsiteY2" fmla="*/ 266700 h 1310640"/>
                  <a:gd name="connsiteX3" fmla="*/ 53340 w 297180"/>
                  <a:gd name="connsiteY3" fmla="*/ 137160 h 1310640"/>
                  <a:gd name="connsiteX4" fmla="*/ 0 w 297180"/>
                  <a:gd name="connsiteY4" fmla="*/ 91440 h 1310640"/>
                  <a:gd name="connsiteX5" fmla="*/ 106680 w 297180"/>
                  <a:gd name="connsiteY5" fmla="*/ 0 h 1310640"/>
                  <a:gd name="connsiteX6" fmla="*/ 160020 w 297180"/>
                  <a:gd name="connsiteY6" fmla="*/ 99060 h 1310640"/>
                  <a:gd name="connsiteX7" fmla="*/ 243840 w 297180"/>
                  <a:gd name="connsiteY7" fmla="*/ 30480 h 1310640"/>
                  <a:gd name="connsiteX8" fmla="*/ 297180 w 297180"/>
                  <a:gd name="connsiteY8" fmla="*/ 190500 h 1310640"/>
                  <a:gd name="connsiteX9" fmla="*/ 236220 w 297180"/>
                  <a:gd name="connsiteY9" fmla="*/ 320040 h 1310640"/>
                  <a:gd name="connsiteX10" fmla="*/ 175260 w 297180"/>
                  <a:gd name="connsiteY10" fmla="*/ 1272540 h 1310640"/>
                  <a:gd name="connsiteX11" fmla="*/ 38100 w 297180"/>
                  <a:gd name="connsiteY11" fmla="*/ 1310640 h 1310640"/>
                  <a:gd name="connsiteX12" fmla="*/ 114300 w 297180"/>
                  <a:gd name="connsiteY12" fmla="*/ 350520 h 1310640"/>
                  <a:gd name="connsiteX0" fmla="*/ 114300 w 297180"/>
                  <a:gd name="connsiteY0" fmla="*/ 377257 h 1337377"/>
                  <a:gd name="connsiteX1" fmla="*/ 60960 w 297180"/>
                  <a:gd name="connsiteY1" fmla="*/ 293437 h 1337377"/>
                  <a:gd name="connsiteX2" fmla="*/ 60960 w 297180"/>
                  <a:gd name="connsiteY2" fmla="*/ 293437 h 1337377"/>
                  <a:gd name="connsiteX3" fmla="*/ 53340 w 297180"/>
                  <a:gd name="connsiteY3" fmla="*/ 163897 h 1337377"/>
                  <a:gd name="connsiteX4" fmla="*/ 0 w 297180"/>
                  <a:gd name="connsiteY4" fmla="*/ 118177 h 1337377"/>
                  <a:gd name="connsiteX5" fmla="*/ 106680 w 297180"/>
                  <a:gd name="connsiteY5" fmla="*/ 26737 h 1337377"/>
                  <a:gd name="connsiteX6" fmla="*/ 160020 w 297180"/>
                  <a:gd name="connsiteY6" fmla="*/ 125797 h 1337377"/>
                  <a:gd name="connsiteX7" fmla="*/ 243840 w 297180"/>
                  <a:gd name="connsiteY7" fmla="*/ 57217 h 1337377"/>
                  <a:gd name="connsiteX8" fmla="*/ 297180 w 297180"/>
                  <a:gd name="connsiteY8" fmla="*/ 217237 h 1337377"/>
                  <a:gd name="connsiteX9" fmla="*/ 236220 w 297180"/>
                  <a:gd name="connsiteY9" fmla="*/ 346777 h 1337377"/>
                  <a:gd name="connsiteX10" fmla="*/ 175260 w 297180"/>
                  <a:gd name="connsiteY10" fmla="*/ 1299277 h 1337377"/>
                  <a:gd name="connsiteX11" fmla="*/ 38100 w 297180"/>
                  <a:gd name="connsiteY11" fmla="*/ 1337377 h 1337377"/>
                  <a:gd name="connsiteX12" fmla="*/ 114300 w 297180"/>
                  <a:gd name="connsiteY12" fmla="*/ 377257 h 1337377"/>
                  <a:gd name="connsiteX0" fmla="*/ 140257 w 323137"/>
                  <a:gd name="connsiteY0" fmla="*/ 383420 h 1343540"/>
                  <a:gd name="connsiteX1" fmla="*/ 86917 w 323137"/>
                  <a:gd name="connsiteY1" fmla="*/ 299600 h 1343540"/>
                  <a:gd name="connsiteX2" fmla="*/ 86917 w 323137"/>
                  <a:gd name="connsiteY2" fmla="*/ 299600 h 1343540"/>
                  <a:gd name="connsiteX3" fmla="*/ 79297 w 323137"/>
                  <a:gd name="connsiteY3" fmla="*/ 170060 h 1343540"/>
                  <a:gd name="connsiteX4" fmla="*/ 25957 w 323137"/>
                  <a:gd name="connsiteY4" fmla="*/ 124340 h 1343540"/>
                  <a:gd name="connsiteX5" fmla="*/ 132637 w 323137"/>
                  <a:gd name="connsiteY5" fmla="*/ 32900 h 1343540"/>
                  <a:gd name="connsiteX6" fmla="*/ 185977 w 323137"/>
                  <a:gd name="connsiteY6" fmla="*/ 131960 h 1343540"/>
                  <a:gd name="connsiteX7" fmla="*/ 269797 w 323137"/>
                  <a:gd name="connsiteY7" fmla="*/ 63380 h 1343540"/>
                  <a:gd name="connsiteX8" fmla="*/ 323137 w 323137"/>
                  <a:gd name="connsiteY8" fmla="*/ 223400 h 1343540"/>
                  <a:gd name="connsiteX9" fmla="*/ 262177 w 323137"/>
                  <a:gd name="connsiteY9" fmla="*/ 352940 h 1343540"/>
                  <a:gd name="connsiteX10" fmla="*/ 201217 w 323137"/>
                  <a:gd name="connsiteY10" fmla="*/ 1305440 h 1343540"/>
                  <a:gd name="connsiteX11" fmla="*/ 64057 w 323137"/>
                  <a:gd name="connsiteY11" fmla="*/ 1343540 h 1343540"/>
                  <a:gd name="connsiteX12" fmla="*/ 140257 w 323137"/>
                  <a:gd name="connsiteY12" fmla="*/ 383420 h 1343540"/>
                  <a:gd name="connsiteX0" fmla="*/ 138329 w 321209"/>
                  <a:gd name="connsiteY0" fmla="*/ 383420 h 1343540"/>
                  <a:gd name="connsiteX1" fmla="*/ 84989 w 321209"/>
                  <a:gd name="connsiteY1" fmla="*/ 299600 h 1343540"/>
                  <a:gd name="connsiteX2" fmla="*/ 84989 w 321209"/>
                  <a:gd name="connsiteY2" fmla="*/ 299600 h 1343540"/>
                  <a:gd name="connsiteX3" fmla="*/ 77369 w 321209"/>
                  <a:gd name="connsiteY3" fmla="*/ 170060 h 1343540"/>
                  <a:gd name="connsiteX4" fmla="*/ 24029 w 321209"/>
                  <a:gd name="connsiteY4" fmla="*/ 124340 h 1343540"/>
                  <a:gd name="connsiteX5" fmla="*/ 147378 w 321209"/>
                  <a:gd name="connsiteY5" fmla="*/ 32900 h 1343540"/>
                  <a:gd name="connsiteX6" fmla="*/ 184049 w 321209"/>
                  <a:gd name="connsiteY6" fmla="*/ 131960 h 1343540"/>
                  <a:gd name="connsiteX7" fmla="*/ 267869 w 321209"/>
                  <a:gd name="connsiteY7" fmla="*/ 63380 h 1343540"/>
                  <a:gd name="connsiteX8" fmla="*/ 321209 w 321209"/>
                  <a:gd name="connsiteY8" fmla="*/ 223400 h 1343540"/>
                  <a:gd name="connsiteX9" fmla="*/ 260249 w 321209"/>
                  <a:gd name="connsiteY9" fmla="*/ 352940 h 1343540"/>
                  <a:gd name="connsiteX10" fmla="*/ 199289 w 321209"/>
                  <a:gd name="connsiteY10" fmla="*/ 1305440 h 1343540"/>
                  <a:gd name="connsiteX11" fmla="*/ 62129 w 321209"/>
                  <a:gd name="connsiteY11" fmla="*/ 1343540 h 1343540"/>
                  <a:gd name="connsiteX12" fmla="*/ 138329 w 321209"/>
                  <a:gd name="connsiteY12" fmla="*/ 383420 h 1343540"/>
                  <a:gd name="connsiteX0" fmla="*/ 138329 w 321209"/>
                  <a:gd name="connsiteY0" fmla="*/ 383420 h 1343540"/>
                  <a:gd name="connsiteX1" fmla="*/ 84989 w 321209"/>
                  <a:gd name="connsiteY1" fmla="*/ 299600 h 1343540"/>
                  <a:gd name="connsiteX2" fmla="*/ 84989 w 321209"/>
                  <a:gd name="connsiteY2" fmla="*/ 299600 h 1343540"/>
                  <a:gd name="connsiteX3" fmla="*/ 77369 w 321209"/>
                  <a:gd name="connsiteY3" fmla="*/ 170060 h 1343540"/>
                  <a:gd name="connsiteX4" fmla="*/ 24029 w 321209"/>
                  <a:gd name="connsiteY4" fmla="*/ 124340 h 1343540"/>
                  <a:gd name="connsiteX5" fmla="*/ 147378 w 321209"/>
                  <a:gd name="connsiteY5" fmla="*/ 32900 h 1343540"/>
                  <a:gd name="connsiteX6" fmla="*/ 184049 w 321209"/>
                  <a:gd name="connsiteY6" fmla="*/ 131960 h 1343540"/>
                  <a:gd name="connsiteX7" fmla="*/ 267869 w 321209"/>
                  <a:gd name="connsiteY7" fmla="*/ 63380 h 1343540"/>
                  <a:gd name="connsiteX8" fmla="*/ 321209 w 321209"/>
                  <a:gd name="connsiteY8" fmla="*/ 223400 h 1343540"/>
                  <a:gd name="connsiteX9" fmla="*/ 260249 w 321209"/>
                  <a:gd name="connsiteY9" fmla="*/ 352940 h 1343540"/>
                  <a:gd name="connsiteX10" fmla="*/ 199289 w 321209"/>
                  <a:gd name="connsiteY10" fmla="*/ 1305440 h 1343540"/>
                  <a:gd name="connsiteX11" fmla="*/ 62129 w 321209"/>
                  <a:gd name="connsiteY11" fmla="*/ 1343540 h 1343540"/>
                  <a:gd name="connsiteX12" fmla="*/ 138329 w 321209"/>
                  <a:gd name="connsiteY12" fmla="*/ 383420 h 1343540"/>
                  <a:gd name="connsiteX0" fmla="*/ 138329 w 321209"/>
                  <a:gd name="connsiteY0" fmla="*/ 383420 h 1343540"/>
                  <a:gd name="connsiteX1" fmla="*/ 84989 w 321209"/>
                  <a:gd name="connsiteY1" fmla="*/ 299600 h 1343540"/>
                  <a:gd name="connsiteX2" fmla="*/ 84989 w 321209"/>
                  <a:gd name="connsiteY2" fmla="*/ 299600 h 1343540"/>
                  <a:gd name="connsiteX3" fmla="*/ 77369 w 321209"/>
                  <a:gd name="connsiteY3" fmla="*/ 170060 h 1343540"/>
                  <a:gd name="connsiteX4" fmla="*/ 24029 w 321209"/>
                  <a:gd name="connsiteY4" fmla="*/ 124340 h 1343540"/>
                  <a:gd name="connsiteX5" fmla="*/ 147378 w 321209"/>
                  <a:gd name="connsiteY5" fmla="*/ 32900 h 1343540"/>
                  <a:gd name="connsiteX6" fmla="*/ 184049 w 321209"/>
                  <a:gd name="connsiteY6" fmla="*/ 131960 h 1343540"/>
                  <a:gd name="connsiteX7" fmla="*/ 267869 w 321209"/>
                  <a:gd name="connsiteY7" fmla="*/ 63380 h 1343540"/>
                  <a:gd name="connsiteX8" fmla="*/ 321209 w 321209"/>
                  <a:gd name="connsiteY8" fmla="*/ 223400 h 1343540"/>
                  <a:gd name="connsiteX9" fmla="*/ 260249 w 321209"/>
                  <a:gd name="connsiteY9" fmla="*/ 352940 h 1343540"/>
                  <a:gd name="connsiteX10" fmla="*/ 199289 w 321209"/>
                  <a:gd name="connsiteY10" fmla="*/ 1305440 h 1343540"/>
                  <a:gd name="connsiteX11" fmla="*/ 62129 w 321209"/>
                  <a:gd name="connsiteY11" fmla="*/ 1343540 h 1343540"/>
                  <a:gd name="connsiteX12" fmla="*/ 138329 w 321209"/>
                  <a:gd name="connsiteY12" fmla="*/ 383420 h 1343540"/>
                  <a:gd name="connsiteX0" fmla="*/ 138329 w 321209"/>
                  <a:gd name="connsiteY0" fmla="*/ 383420 h 1343540"/>
                  <a:gd name="connsiteX1" fmla="*/ 84989 w 321209"/>
                  <a:gd name="connsiteY1" fmla="*/ 299600 h 1343540"/>
                  <a:gd name="connsiteX2" fmla="*/ 84989 w 321209"/>
                  <a:gd name="connsiteY2" fmla="*/ 299600 h 1343540"/>
                  <a:gd name="connsiteX3" fmla="*/ 77369 w 321209"/>
                  <a:gd name="connsiteY3" fmla="*/ 170060 h 1343540"/>
                  <a:gd name="connsiteX4" fmla="*/ 24029 w 321209"/>
                  <a:gd name="connsiteY4" fmla="*/ 124340 h 1343540"/>
                  <a:gd name="connsiteX5" fmla="*/ 147378 w 321209"/>
                  <a:gd name="connsiteY5" fmla="*/ 32900 h 1343540"/>
                  <a:gd name="connsiteX6" fmla="*/ 191193 w 321209"/>
                  <a:gd name="connsiteY6" fmla="*/ 120054 h 1343540"/>
                  <a:gd name="connsiteX7" fmla="*/ 267869 w 321209"/>
                  <a:gd name="connsiteY7" fmla="*/ 63380 h 1343540"/>
                  <a:gd name="connsiteX8" fmla="*/ 321209 w 321209"/>
                  <a:gd name="connsiteY8" fmla="*/ 223400 h 1343540"/>
                  <a:gd name="connsiteX9" fmla="*/ 260249 w 321209"/>
                  <a:gd name="connsiteY9" fmla="*/ 352940 h 1343540"/>
                  <a:gd name="connsiteX10" fmla="*/ 199289 w 321209"/>
                  <a:gd name="connsiteY10" fmla="*/ 1305440 h 1343540"/>
                  <a:gd name="connsiteX11" fmla="*/ 62129 w 321209"/>
                  <a:gd name="connsiteY11" fmla="*/ 1343540 h 1343540"/>
                  <a:gd name="connsiteX12" fmla="*/ 138329 w 321209"/>
                  <a:gd name="connsiteY12" fmla="*/ 383420 h 1343540"/>
                  <a:gd name="connsiteX0" fmla="*/ 138329 w 321209"/>
                  <a:gd name="connsiteY0" fmla="*/ 383420 h 1343540"/>
                  <a:gd name="connsiteX1" fmla="*/ 84989 w 321209"/>
                  <a:gd name="connsiteY1" fmla="*/ 299600 h 1343540"/>
                  <a:gd name="connsiteX2" fmla="*/ 84989 w 321209"/>
                  <a:gd name="connsiteY2" fmla="*/ 299600 h 1343540"/>
                  <a:gd name="connsiteX3" fmla="*/ 77369 w 321209"/>
                  <a:gd name="connsiteY3" fmla="*/ 170060 h 1343540"/>
                  <a:gd name="connsiteX4" fmla="*/ 24029 w 321209"/>
                  <a:gd name="connsiteY4" fmla="*/ 124340 h 1343540"/>
                  <a:gd name="connsiteX5" fmla="*/ 147378 w 321209"/>
                  <a:gd name="connsiteY5" fmla="*/ 32900 h 1343540"/>
                  <a:gd name="connsiteX6" fmla="*/ 191193 w 321209"/>
                  <a:gd name="connsiteY6" fmla="*/ 120054 h 1343540"/>
                  <a:gd name="connsiteX7" fmla="*/ 267869 w 321209"/>
                  <a:gd name="connsiteY7" fmla="*/ 63380 h 1343540"/>
                  <a:gd name="connsiteX8" fmla="*/ 321209 w 321209"/>
                  <a:gd name="connsiteY8" fmla="*/ 223400 h 1343540"/>
                  <a:gd name="connsiteX9" fmla="*/ 260249 w 321209"/>
                  <a:gd name="connsiteY9" fmla="*/ 352940 h 1343540"/>
                  <a:gd name="connsiteX10" fmla="*/ 199289 w 321209"/>
                  <a:gd name="connsiteY10" fmla="*/ 1305440 h 1343540"/>
                  <a:gd name="connsiteX11" fmla="*/ 62129 w 321209"/>
                  <a:gd name="connsiteY11" fmla="*/ 1343540 h 1343540"/>
                  <a:gd name="connsiteX12" fmla="*/ 138329 w 321209"/>
                  <a:gd name="connsiteY12" fmla="*/ 383420 h 1343540"/>
                  <a:gd name="connsiteX0" fmla="*/ 138329 w 321209"/>
                  <a:gd name="connsiteY0" fmla="*/ 383420 h 1343540"/>
                  <a:gd name="connsiteX1" fmla="*/ 84989 w 321209"/>
                  <a:gd name="connsiteY1" fmla="*/ 299600 h 1343540"/>
                  <a:gd name="connsiteX2" fmla="*/ 84989 w 321209"/>
                  <a:gd name="connsiteY2" fmla="*/ 299600 h 1343540"/>
                  <a:gd name="connsiteX3" fmla="*/ 77369 w 321209"/>
                  <a:gd name="connsiteY3" fmla="*/ 170060 h 1343540"/>
                  <a:gd name="connsiteX4" fmla="*/ 24029 w 321209"/>
                  <a:gd name="connsiteY4" fmla="*/ 124340 h 1343540"/>
                  <a:gd name="connsiteX5" fmla="*/ 147378 w 321209"/>
                  <a:gd name="connsiteY5" fmla="*/ 32900 h 1343540"/>
                  <a:gd name="connsiteX6" fmla="*/ 191193 w 321209"/>
                  <a:gd name="connsiteY6" fmla="*/ 120054 h 1343540"/>
                  <a:gd name="connsiteX7" fmla="*/ 267869 w 321209"/>
                  <a:gd name="connsiteY7" fmla="*/ 63380 h 1343540"/>
                  <a:gd name="connsiteX8" fmla="*/ 321209 w 321209"/>
                  <a:gd name="connsiteY8" fmla="*/ 223400 h 1343540"/>
                  <a:gd name="connsiteX9" fmla="*/ 260249 w 321209"/>
                  <a:gd name="connsiteY9" fmla="*/ 352940 h 1343540"/>
                  <a:gd name="connsiteX10" fmla="*/ 199289 w 321209"/>
                  <a:gd name="connsiteY10" fmla="*/ 1305440 h 1343540"/>
                  <a:gd name="connsiteX11" fmla="*/ 62129 w 321209"/>
                  <a:gd name="connsiteY11" fmla="*/ 1343540 h 1343540"/>
                  <a:gd name="connsiteX12" fmla="*/ 138329 w 321209"/>
                  <a:gd name="connsiteY12" fmla="*/ 383420 h 1343540"/>
                  <a:gd name="connsiteX0" fmla="*/ 139817 w 322697"/>
                  <a:gd name="connsiteY0" fmla="*/ 386511 h 1346631"/>
                  <a:gd name="connsiteX1" fmla="*/ 86477 w 322697"/>
                  <a:gd name="connsiteY1" fmla="*/ 302691 h 1346631"/>
                  <a:gd name="connsiteX2" fmla="*/ 86477 w 322697"/>
                  <a:gd name="connsiteY2" fmla="*/ 302691 h 1346631"/>
                  <a:gd name="connsiteX3" fmla="*/ 78857 w 322697"/>
                  <a:gd name="connsiteY3" fmla="*/ 173151 h 1346631"/>
                  <a:gd name="connsiteX4" fmla="*/ 25517 w 322697"/>
                  <a:gd name="connsiteY4" fmla="*/ 127431 h 1346631"/>
                  <a:gd name="connsiteX5" fmla="*/ 148866 w 322697"/>
                  <a:gd name="connsiteY5" fmla="*/ 35991 h 1346631"/>
                  <a:gd name="connsiteX6" fmla="*/ 192681 w 322697"/>
                  <a:gd name="connsiteY6" fmla="*/ 123145 h 1346631"/>
                  <a:gd name="connsiteX7" fmla="*/ 269357 w 322697"/>
                  <a:gd name="connsiteY7" fmla="*/ 66471 h 1346631"/>
                  <a:gd name="connsiteX8" fmla="*/ 322697 w 322697"/>
                  <a:gd name="connsiteY8" fmla="*/ 226491 h 1346631"/>
                  <a:gd name="connsiteX9" fmla="*/ 261737 w 322697"/>
                  <a:gd name="connsiteY9" fmla="*/ 356031 h 1346631"/>
                  <a:gd name="connsiteX10" fmla="*/ 200777 w 322697"/>
                  <a:gd name="connsiteY10" fmla="*/ 1308531 h 1346631"/>
                  <a:gd name="connsiteX11" fmla="*/ 63617 w 322697"/>
                  <a:gd name="connsiteY11" fmla="*/ 1346631 h 1346631"/>
                  <a:gd name="connsiteX12" fmla="*/ 139817 w 322697"/>
                  <a:gd name="connsiteY12" fmla="*/ 386511 h 1346631"/>
                  <a:gd name="connsiteX0" fmla="*/ 139817 w 322697"/>
                  <a:gd name="connsiteY0" fmla="*/ 386511 h 1346631"/>
                  <a:gd name="connsiteX1" fmla="*/ 86477 w 322697"/>
                  <a:gd name="connsiteY1" fmla="*/ 302691 h 1346631"/>
                  <a:gd name="connsiteX2" fmla="*/ 86477 w 322697"/>
                  <a:gd name="connsiteY2" fmla="*/ 302691 h 1346631"/>
                  <a:gd name="connsiteX3" fmla="*/ 78857 w 322697"/>
                  <a:gd name="connsiteY3" fmla="*/ 173151 h 1346631"/>
                  <a:gd name="connsiteX4" fmla="*/ 25517 w 322697"/>
                  <a:gd name="connsiteY4" fmla="*/ 127431 h 1346631"/>
                  <a:gd name="connsiteX5" fmla="*/ 148866 w 322697"/>
                  <a:gd name="connsiteY5" fmla="*/ 35991 h 1346631"/>
                  <a:gd name="connsiteX6" fmla="*/ 192681 w 322697"/>
                  <a:gd name="connsiteY6" fmla="*/ 123145 h 1346631"/>
                  <a:gd name="connsiteX7" fmla="*/ 269357 w 322697"/>
                  <a:gd name="connsiteY7" fmla="*/ 66471 h 1346631"/>
                  <a:gd name="connsiteX8" fmla="*/ 322697 w 322697"/>
                  <a:gd name="connsiteY8" fmla="*/ 226491 h 1346631"/>
                  <a:gd name="connsiteX9" fmla="*/ 261737 w 322697"/>
                  <a:gd name="connsiteY9" fmla="*/ 356031 h 1346631"/>
                  <a:gd name="connsiteX10" fmla="*/ 200777 w 322697"/>
                  <a:gd name="connsiteY10" fmla="*/ 1308531 h 1346631"/>
                  <a:gd name="connsiteX11" fmla="*/ 63617 w 322697"/>
                  <a:gd name="connsiteY11" fmla="*/ 1346631 h 1346631"/>
                  <a:gd name="connsiteX12" fmla="*/ 139817 w 322697"/>
                  <a:gd name="connsiteY12" fmla="*/ 386511 h 1346631"/>
                  <a:gd name="connsiteX0" fmla="*/ 139817 w 322697"/>
                  <a:gd name="connsiteY0" fmla="*/ 386511 h 1346631"/>
                  <a:gd name="connsiteX1" fmla="*/ 86477 w 322697"/>
                  <a:gd name="connsiteY1" fmla="*/ 302691 h 1346631"/>
                  <a:gd name="connsiteX2" fmla="*/ 86477 w 322697"/>
                  <a:gd name="connsiteY2" fmla="*/ 302691 h 1346631"/>
                  <a:gd name="connsiteX3" fmla="*/ 78857 w 322697"/>
                  <a:gd name="connsiteY3" fmla="*/ 173151 h 1346631"/>
                  <a:gd name="connsiteX4" fmla="*/ 25517 w 322697"/>
                  <a:gd name="connsiteY4" fmla="*/ 127431 h 1346631"/>
                  <a:gd name="connsiteX5" fmla="*/ 148866 w 322697"/>
                  <a:gd name="connsiteY5" fmla="*/ 35991 h 1346631"/>
                  <a:gd name="connsiteX6" fmla="*/ 192681 w 322697"/>
                  <a:gd name="connsiteY6" fmla="*/ 123145 h 1346631"/>
                  <a:gd name="connsiteX7" fmla="*/ 269357 w 322697"/>
                  <a:gd name="connsiteY7" fmla="*/ 66471 h 1346631"/>
                  <a:gd name="connsiteX8" fmla="*/ 322697 w 322697"/>
                  <a:gd name="connsiteY8" fmla="*/ 226491 h 1346631"/>
                  <a:gd name="connsiteX9" fmla="*/ 261737 w 322697"/>
                  <a:gd name="connsiteY9" fmla="*/ 356031 h 1346631"/>
                  <a:gd name="connsiteX10" fmla="*/ 200777 w 322697"/>
                  <a:gd name="connsiteY10" fmla="*/ 1308531 h 1346631"/>
                  <a:gd name="connsiteX11" fmla="*/ 63617 w 322697"/>
                  <a:gd name="connsiteY11" fmla="*/ 1346631 h 1346631"/>
                  <a:gd name="connsiteX12" fmla="*/ 139817 w 322697"/>
                  <a:gd name="connsiteY12" fmla="*/ 386511 h 1346631"/>
                  <a:gd name="connsiteX0" fmla="*/ 139817 w 322697"/>
                  <a:gd name="connsiteY0" fmla="*/ 386511 h 1346631"/>
                  <a:gd name="connsiteX1" fmla="*/ 86477 w 322697"/>
                  <a:gd name="connsiteY1" fmla="*/ 302691 h 1346631"/>
                  <a:gd name="connsiteX2" fmla="*/ 86477 w 322697"/>
                  <a:gd name="connsiteY2" fmla="*/ 302691 h 1346631"/>
                  <a:gd name="connsiteX3" fmla="*/ 78857 w 322697"/>
                  <a:gd name="connsiteY3" fmla="*/ 173151 h 1346631"/>
                  <a:gd name="connsiteX4" fmla="*/ 25517 w 322697"/>
                  <a:gd name="connsiteY4" fmla="*/ 127431 h 1346631"/>
                  <a:gd name="connsiteX5" fmla="*/ 148866 w 322697"/>
                  <a:gd name="connsiteY5" fmla="*/ 35991 h 1346631"/>
                  <a:gd name="connsiteX6" fmla="*/ 192681 w 322697"/>
                  <a:gd name="connsiteY6" fmla="*/ 123145 h 1346631"/>
                  <a:gd name="connsiteX7" fmla="*/ 259832 w 322697"/>
                  <a:gd name="connsiteY7" fmla="*/ 66471 h 1346631"/>
                  <a:gd name="connsiteX8" fmla="*/ 322697 w 322697"/>
                  <a:gd name="connsiteY8" fmla="*/ 226491 h 1346631"/>
                  <a:gd name="connsiteX9" fmla="*/ 261737 w 322697"/>
                  <a:gd name="connsiteY9" fmla="*/ 356031 h 1346631"/>
                  <a:gd name="connsiteX10" fmla="*/ 200777 w 322697"/>
                  <a:gd name="connsiteY10" fmla="*/ 1308531 h 1346631"/>
                  <a:gd name="connsiteX11" fmla="*/ 63617 w 322697"/>
                  <a:gd name="connsiteY11" fmla="*/ 1346631 h 1346631"/>
                  <a:gd name="connsiteX12" fmla="*/ 139817 w 322697"/>
                  <a:gd name="connsiteY12" fmla="*/ 386511 h 1346631"/>
                  <a:gd name="connsiteX0" fmla="*/ 139817 w 322697"/>
                  <a:gd name="connsiteY0" fmla="*/ 386511 h 1346631"/>
                  <a:gd name="connsiteX1" fmla="*/ 86477 w 322697"/>
                  <a:gd name="connsiteY1" fmla="*/ 302691 h 1346631"/>
                  <a:gd name="connsiteX2" fmla="*/ 86477 w 322697"/>
                  <a:gd name="connsiteY2" fmla="*/ 302691 h 1346631"/>
                  <a:gd name="connsiteX3" fmla="*/ 78857 w 322697"/>
                  <a:gd name="connsiteY3" fmla="*/ 173151 h 1346631"/>
                  <a:gd name="connsiteX4" fmla="*/ 25517 w 322697"/>
                  <a:gd name="connsiteY4" fmla="*/ 127431 h 1346631"/>
                  <a:gd name="connsiteX5" fmla="*/ 148866 w 322697"/>
                  <a:gd name="connsiteY5" fmla="*/ 35991 h 1346631"/>
                  <a:gd name="connsiteX6" fmla="*/ 192681 w 322697"/>
                  <a:gd name="connsiteY6" fmla="*/ 123145 h 1346631"/>
                  <a:gd name="connsiteX7" fmla="*/ 259832 w 322697"/>
                  <a:gd name="connsiteY7" fmla="*/ 66471 h 1346631"/>
                  <a:gd name="connsiteX8" fmla="*/ 322697 w 322697"/>
                  <a:gd name="connsiteY8" fmla="*/ 226491 h 1346631"/>
                  <a:gd name="connsiteX9" fmla="*/ 261737 w 322697"/>
                  <a:gd name="connsiteY9" fmla="*/ 356031 h 1346631"/>
                  <a:gd name="connsiteX10" fmla="*/ 200777 w 322697"/>
                  <a:gd name="connsiteY10" fmla="*/ 1308531 h 1346631"/>
                  <a:gd name="connsiteX11" fmla="*/ 63617 w 322697"/>
                  <a:gd name="connsiteY11" fmla="*/ 1346631 h 1346631"/>
                  <a:gd name="connsiteX12" fmla="*/ 139817 w 322697"/>
                  <a:gd name="connsiteY12" fmla="*/ 386511 h 1346631"/>
                  <a:gd name="connsiteX0" fmla="*/ 139817 w 322697"/>
                  <a:gd name="connsiteY0" fmla="*/ 386511 h 1346631"/>
                  <a:gd name="connsiteX1" fmla="*/ 86477 w 322697"/>
                  <a:gd name="connsiteY1" fmla="*/ 302691 h 1346631"/>
                  <a:gd name="connsiteX2" fmla="*/ 86477 w 322697"/>
                  <a:gd name="connsiteY2" fmla="*/ 302691 h 1346631"/>
                  <a:gd name="connsiteX3" fmla="*/ 78857 w 322697"/>
                  <a:gd name="connsiteY3" fmla="*/ 173151 h 1346631"/>
                  <a:gd name="connsiteX4" fmla="*/ 25517 w 322697"/>
                  <a:gd name="connsiteY4" fmla="*/ 127431 h 1346631"/>
                  <a:gd name="connsiteX5" fmla="*/ 148866 w 322697"/>
                  <a:gd name="connsiteY5" fmla="*/ 35991 h 1346631"/>
                  <a:gd name="connsiteX6" fmla="*/ 192681 w 322697"/>
                  <a:gd name="connsiteY6" fmla="*/ 123145 h 1346631"/>
                  <a:gd name="connsiteX7" fmla="*/ 259832 w 322697"/>
                  <a:gd name="connsiteY7" fmla="*/ 66471 h 1346631"/>
                  <a:gd name="connsiteX8" fmla="*/ 322697 w 322697"/>
                  <a:gd name="connsiteY8" fmla="*/ 226491 h 1346631"/>
                  <a:gd name="connsiteX9" fmla="*/ 261737 w 322697"/>
                  <a:gd name="connsiteY9" fmla="*/ 356031 h 1346631"/>
                  <a:gd name="connsiteX10" fmla="*/ 200777 w 322697"/>
                  <a:gd name="connsiteY10" fmla="*/ 1308531 h 1346631"/>
                  <a:gd name="connsiteX11" fmla="*/ 63617 w 322697"/>
                  <a:gd name="connsiteY11" fmla="*/ 1346631 h 1346631"/>
                  <a:gd name="connsiteX12" fmla="*/ 139817 w 322697"/>
                  <a:gd name="connsiteY12" fmla="*/ 386511 h 1346631"/>
                  <a:gd name="connsiteX0" fmla="*/ 139817 w 322697"/>
                  <a:gd name="connsiteY0" fmla="*/ 386511 h 1346631"/>
                  <a:gd name="connsiteX1" fmla="*/ 86477 w 322697"/>
                  <a:gd name="connsiteY1" fmla="*/ 302691 h 1346631"/>
                  <a:gd name="connsiteX2" fmla="*/ 86477 w 322697"/>
                  <a:gd name="connsiteY2" fmla="*/ 302691 h 1346631"/>
                  <a:gd name="connsiteX3" fmla="*/ 78857 w 322697"/>
                  <a:gd name="connsiteY3" fmla="*/ 173151 h 1346631"/>
                  <a:gd name="connsiteX4" fmla="*/ 25517 w 322697"/>
                  <a:gd name="connsiteY4" fmla="*/ 127431 h 1346631"/>
                  <a:gd name="connsiteX5" fmla="*/ 148866 w 322697"/>
                  <a:gd name="connsiteY5" fmla="*/ 35991 h 1346631"/>
                  <a:gd name="connsiteX6" fmla="*/ 192681 w 322697"/>
                  <a:gd name="connsiteY6" fmla="*/ 123145 h 1346631"/>
                  <a:gd name="connsiteX7" fmla="*/ 259832 w 322697"/>
                  <a:gd name="connsiteY7" fmla="*/ 66471 h 1346631"/>
                  <a:gd name="connsiteX8" fmla="*/ 322697 w 322697"/>
                  <a:gd name="connsiteY8" fmla="*/ 226491 h 1346631"/>
                  <a:gd name="connsiteX9" fmla="*/ 261737 w 322697"/>
                  <a:gd name="connsiteY9" fmla="*/ 356031 h 1346631"/>
                  <a:gd name="connsiteX10" fmla="*/ 200777 w 322697"/>
                  <a:gd name="connsiteY10" fmla="*/ 1308531 h 1346631"/>
                  <a:gd name="connsiteX11" fmla="*/ 63617 w 322697"/>
                  <a:gd name="connsiteY11" fmla="*/ 1346631 h 1346631"/>
                  <a:gd name="connsiteX12" fmla="*/ 139817 w 322697"/>
                  <a:gd name="connsiteY12" fmla="*/ 386511 h 1346631"/>
                  <a:gd name="connsiteX0" fmla="*/ 139817 w 322697"/>
                  <a:gd name="connsiteY0" fmla="*/ 386511 h 1346631"/>
                  <a:gd name="connsiteX1" fmla="*/ 86477 w 322697"/>
                  <a:gd name="connsiteY1" fmla="*/ 302691 h 1346631"/>
                  <a:gd name="connsiteX2" fmla="*/ 86477 w 322697"/>
                  <a:gd name="connsiteY2" fmla="*/ 302691 h 1346631"/>
                  <a:gd name="connsiteX3" fmla="*/ 78857 w 322697"/>
                  <a:gd name="connsiteY3" fmla="*/ 173151 h 1346631"/>
                  <a:gd name="connsiteX4" fmla="*/ 25517 w 322697"/>
                  <a:gd name="connsiteY4" fmla="*/ 127431 h 1346631"/>
                  <a:gd name="connsiteX5" fmla="*/ 148866 w 322697"/>
                  <a:gd name="connsiteY5" fmla="*/ 35991 h 1346631"/>
                  <a:gd name="connsiteX6" fmla="*/ 192681 w 322697"/>
                  <a:gd name="connsiteY6" fmla="*/ 123145 h 1346631"/>
                  <a:gd name="connsiteX7" fmla="*/ 259832 w 322697"/>
                  <a:gd name="connsiteY7" fmla="*/ 66471 h 1346631"/>
                  <a:gd name="connsiteX8" fmla="*/ 322697 w 322697"/>
                  <a:gd name="connsiteY8" fmla="*/ 226491 h 1346631"/>
                  <a:gd name="connsiteX9" fmla="*/ 261737 w 322697"/>
                  <a:gd name="connsiteY9" fmla="*/ 356031 h 1346631"/>
                  <a:gd name="connsiteX10" fmla="*/ 200777 w 322697"/>
                  <a:gd name="connsiteY10" fmla="*/ 1308531 h 1346631"/>
                  <a:gd name="connsiteX11" fmla="*/ 63617 w 322697"/>
                  <a:gd name="connsiteY11" fmla="*/ 1346631 h 1346631"/>
                  <a:gd name="connsiteX12" fmla="*/ 139817 w 322697"/>
                  <a:gd name="connsiteY12" fmla="*/ 386511 h 1346631"/>
                  <a:gd name="connsiteX0" fmla="*/ 139817 w 322697"/>
                  <a:gd name="connsiteY0" fmla="*/ 386511 h 1346631"/>
                  <a:gd name="connsiteX1" fmla="*/ 86477 w 322697"/>
                  <a:gd name="connsiteY1" fmla="*/ 302691 h 1346631"/>
                  <a:gd name="connsiteX2" fmla="*/ 86477 w 322697"/>
                  <a:gd name="connsiteY2" fmla="*/ 302691 h 1346631"/>
                  <a:gd name="connsiteX3" fmla="*/ 78857 w 322697"/>
                  <a:gd name="connsiteY3" fmla="*/ 173151 h 1346631"/>
                  <a:gd name="connsiteX4" fmla="*/ 25517 w 322697"/>
                  <a:gd name="connsiteY4" fmla="*/ 127431 h 1346631"/>
                  <a:gd name="connsiteX5" fmla="*/ 148866 w 322697"/>
                  <a:gd name="connsiteY5" fmla="*/ 35991 h 1346631"/>
                  <a:gd name="connsiteX6" fmla="*/ 192681 w 322697"/>
                  <a:gd name="connsiteY6" fmla="*/ 123145 h 1346631"/>
                  <a:gd name="connsiteX7" fmla="*/ 259832 w 322697"/>
                  <a:gd name="connsiteY7" fmla="*/ 66471 h 1346631"/>
                  <a:gd name="connsiteX8" fmla="*/ 322697 w 322697"/>
                  <a:gd name="connsiteY8" fmla="*/ 226491 h 1346631"/>
                  <a:gd name="connsiteX9" fmla="*/ 261737 w 322697"/>
                  <a:gd name="connsiteY9" fmla="*/ 356031 h 1346631"/>
                  <a:gd name="connsiteX10" fmla="*/ 200777 w 322697"/>
                  <a:gd name="connsiteY10" fmla="*/ 1308531 h 1346631"/>
                  <a:gd name="connsiteX11" fmla="*/ 63617 w 322697"/>
                  <a:gd name="connsiteY11" fmla="*/ 1346631 h 1346631"/>
                  <a:gd name="connsiteX12" fmla="*/ 139817 w 322697"/>
                  <a:gd name="connsiteY12" fmla="*/ 386511 h 1346631"/>
                  <a:gd name="connsiteX0" fmla="*/ 139817 w 322697"/>
                  <a:gd name="connsiteY0" fmla="*/ 386511 h 1346631"/>
                  <a:gd name="connsiteX1" fmla="*/ 86477 w 322697"/>
                  <a:gd name="connsiteY1" fmla="*/ 302691 h 1346631"/>
                  <a:gd name="connsiteX2" fmla="*/ 86477 w 322697"/>
                  <a:gd name="connsiteY2" fmla="*/ 302691 h 1346631"/>
                  <a:gd name="connsiteX3" fmla="*/ 78857 w 322697"/>
                  <a:gd name="connsiteY3" fmla="*/ 173151 h 1346631"/>
                  <a:gd name="connsiteX4" fmla="*/ 25517 w 322697"/>
                  <a:gd name="connsiteY4" fmla="*/ 127431 h 1346631"/>
                  <a:gd name="connsiteX5" fmla="*/ 148866 w 322697"/>
                  <a:gd name="connsiteY5" fmla="*/ 35991 h 1346631"/>
                  <a:gd name="connsiteX6" fmla="*/ 192681 w 322697"/>
                  <a:gd name="connsiteY6" fmla="*/ 123145 h 1346631"/>
                  <a:gd name="connsiteX7" fmla="*/ 259832 w 322697"/>
                  <a:gd name="connsiteY7" fmla="*/ 66471 h 1346631"/>
                  <a:gd name="connsiteX8" fmla="*/ 322697 w 322697"/>
                  <a:gd name="connsiteY8" fmla="*/ 226491 h 1346631"/>
                  <a:gd name="connsiteX9" fmla="*/ 261737 w 322697"/>
                  <a:gd name="connsiteY9" fmla="*/ 356031 h 1346631"/>
                  <a:gd name="connsiteX10" fmla="*/ 200777 w 322697"/>
                  <a:gd name="connsiteY10" fmla="*/ 1308531 h 1346631"/>
                  <a:gd name="connsiteX11" fmla="*/ 63617 w 322697"/>
                  <a:gd name="connsiteY11" fmla="*/ 1346631 h 1346631"/>
                  <a:gd name="connsiteX12" fmla="*/ 139817 w 322697"/>
                  <a:gd name="connsiteY12" fmla="*/ 386511 h 1346631"/>
                  <a:gd name="connsiteX0" fmla="*/ 139817 w 322697"/>
                  <a:gd name="connsiteY0" fmla="*/ 386511 h 1346631"/>
                  <a:gd name="connsiteX1" fmla="*/ 86477 w 322697"/>
                  <a:gd name="connsiteY1" fmla="*/ 302691 h 1346631"/>
                  <a:gd name="connsiteX2" fmla="*/ 86477 w 322697"/>
                  <a:gd name="connsiteY2" fmla="*/ 302691 h 1346631"/>
                  <a:gd name="connsiteX3" fmla="*/ 78857 w 322697"/>
                  <a:gd name="connsiteY3" fmla="*/ 173151 h 1346631"/>
                  <a:gd name="connsiteX4" fmla="*/ 25517 w 322697"/>
                  <a:gd name="connsiteY4" fmla="*/ 127431 h 1346631"/>
                  <a:gd name="connsiteX5" fmla="*/ 148866 w 322697"/>
                  <a:gd name="connsiteY5" fmla="*/ 35991 h 1346631"/>
                  <a:gd name="connsiteX6" fmla="*/ 192681 w 322697"/>
                  <a:gd name="connsiteY6" fmla="*/ 123145 h 1346631"/>
                  <a:gd name="connsiteX7" fmla="*/ 259832 w 322697"/>
                  <a:gd name="connsiteY7" fmla="*/ 66471 h 1346631"/>
                  <a:gd name="connsiteX8" fmla="*/ 322697 w 322697"/>
                  <a:gd name="connsiteY8" fmla="*/ 226491 h 1346631"/>
                  <a:gd name="connsiteX9" fmla="*/ 261737 w 322697"/>
                  <a:gd name="connsiteY9" fmla="*/ 356031 h 1346631"/>
                  <a:gd name="connsiteX10" fmla="*/ 210302 w 322697"/>
                  <a:gd name="connsiteY10" fmla="*/ 1310912 h 1346631"/>
                  <a:gd name="connsiteX11" fmla="*/ 63617 w 322697"/>
                  <a:gd name="connsiteY11" fmla="*/ 1346631 h 1346631"/>
                  <a:gd name="connsiteX12" fmla="*/ 139817 w 322697"/>
                  <a:gd name="connsiteY12" fmla="*/ 386511 h 1346631"/>
                  <a:gd name="connsiteX0" fmla="*/ 139817 w 322697"/>
                  <a:gd name="connsiteY0" fmla="*/ 386511 h 1346631"/>
                  <a:gd name="connsiteX1" fmla="*/ 86477 w 322697"/>
                  <a:gd name="connsiteY1" fmla="*/ 302691 h 1346631"/>
                  <a:gd name="connsiteX2" fmla="*/ 86477 w 322697"/>
                  <a:gd name="connsiteY2" fmla="*/ 302691 h 1346631"/>
                  <a:gd name="connsiteX3" fmla="*/ 78857 w 322697"/>
                  <a:gd name="connsiteY3" fmla="*/ 173151 h 1346631"/>
                  <a:gd name="connsiteX4" fmla="*/ 25517 w 322697"/>
                  <a:gd name="connsiteY4" fmla="*/ 127431 h 1346631"/>
                  <a:gd name="connsiteX5" fmla="*/ 148866 w 322697"/>
                  <a:gd name="connsiteY5" fmla="*/ 35991 h 1346631"/>
                  <a:gd name="connsiteX6" fmla="*/ 192681 w 322697"/>
                  <a:gd name="connsiteY6" fmla="*/ 123145 h 1346631"/>
                  <a:gd name="connsiteX7" fmla="*/ 259832 w 322697"/>
                  <a:gd name="connsiteY7" fmla="*/ 66471 h 1346631"/>
                  <a:gd name="connsiteX8" fmla="*/ 322697 w 322697"/>
                  <a:gd name="connsiteY8" fmla="*/ 226491 h 1346631"/>
                  <a:gd name="connsiteX9" fmla="*/ 261737 w 322697"/>
                  <a:gd name="connsiteY9" fmla="*/ 356031 h 1346631"/>
                  <a:gd name="connsiteX10" fmla="*/ 210302 w 322697"/>
                  <a:gd name="connsiteY10" fmla="*/ 1310912 h 1346631"/>
                  <a:gd name="connsiteX11" fmla="*/ 63617 w 322697"/>
                  <a:gd name="connsiteY11" fmla="*/ 1346631 h 1346631"/>
                  <a:gd name="connsiteX12" fmla="*/ 139817 w 322697"/>
                  <a:gd name="connsiteY12" fmla="*/ 386511 h 1346631"/>
                  <a:gd name="connsiteX0" fmla="*/ 148248 w 331128"/>
                  <a:gd name="connsiteY0" fmla="*/ 384041 h 1344161"/>
                  <a:gd name="connsiteX1" fmla="*/ 94908 w 331128"/>
                  <a:gd name="connsiteY1" fmla="*/ 300221 h 1344161"/>
                  <a:gd name="connsiteX2" fmla="*/ 94908 w 331128"/>
                  <a:gd name="connsiteY2" fmla="*/ 300221 h 1344161"/>
                  <a:gd name="connsiteX3" fmla="*/ 87288 w 331128"/>
                  <a:gd name="connsiteY3" fmla="*/ 170681 h 1344161"/>
                  <a:gd name="connsiteX4" fmla="*/ 24423 w 331128"/>
                  <a:gd name="connsiteY4" fmla="*/ 139249 h 1344161"/>
                  <a:gd name="connsiteX5" fmla="*/ 157297 w 331128"/>
                  <a:gd name="connsiteY5" fmla="*/ 33521 h 1344161"/>
                  <a:gd name="connsiteX6" fmla="*/ 201112 w 331128"/>
                  <a:gd name="connsiteY6" fmla="*/ 120675 h 1344161"/>
                  <a:gd name="connsiteX7" fmla="*/ 268263 w 331128"/>
                  <a:gd name="connsiteY7" fmla="*/ 64001 h 1344161"/>
                  <a:gd name="connsiteX8" fmla="*/ 331128 w 331128"/>
                  <a:gd name="connsiteY8" fmla="*/ 224021 h 1344161"/>
                  <a:gd name="connsiteX9" fmla="*/ 270168 w 331128"/>
                  <a:gd name="connsiteY9" fmla="*/ 353561 h 1344161"/>
                  <a:gd name="connsiteX10" fmla="*/ 218733 w 331128"/>
                  <a:gd name="connsiteY10" fmla="*/ 1308442 h 1344161"/>
                  <a:gd name="connsiteX11" fmla="*/ 72048 w 331128"/>
                  <a:gd name="connsiteY11" fmla="*/ 1344161 h 1344161"/>
                  <a:gd name="connsiteX12" fmla="*/ 148248 w 331128"/>
                  <a:gd name="connsiteY12" fmla="*/ 384041 h 1344161"/>
                  <a:gd name="connsiteX0" fmla="*/ 148248 w 331128"/>
                  <a:gd name="connsiteY0" fmla="*/ 384041 h 1344161"/>
                  <a:gd name="connsiteX1" fmla="*/ 94908 w 331128"/>
                  <a:gd name="connsiteY1" fmla="*/ 300221 h 1344161"/>
                  <a:gd name="connsiteX2" fmla="*/ 94908 w 331128"/>
                  <a:gd name="connsiteY2" fmla="*/ 300221 h 1344161"/>
                  <a:gd name="connsiteX3" fmla="*/ 87288 w 331128"/>
                  <a:gd name="connsiteY3" fmla="*/ 170681 h 1344161"/>
                  <a:gd name="connsiteX4" fmla="*/ 24423 w 331128"/>
                  <a:gd name="connsiteY4" fmla="*/ 139249 h 1344161"/>
                  <a:gd name="connsiteX5" fmla="*/ 157297 w 331128"/>
                  <a:gd name="connsiteY5" fmla="*/ 33521 h 1344161"/>
                  <a:gd name="connsiteX6" fmla="*/ 201112 w 331128"/>
                  <a:gd name="connsiteY6" fmla="*/ 120675 h 1344161"/>
                  <a:gd name="connsiteX7" fmla="*/ 268263 w 331128"/>
                  <a:gd name="connsiteY7" fmla="*/ 64001 h 1344161"/>
                  <a:gd name="connsiteX8" fmla="*/ 331128 w 331128"/>
                  <a:gd name="connsiteY8" fmla="*/ 224021 h 1344161"/>
                  <a:gd name="connsiteX9" fmla="*/ 270168 w 331128"/>
                  <a:gd name="connsiteY9" fmla="*/ 353561 h 1344161"/>
                  <a:gd name="connsiteX10" fmla="*/ 218733 w 331128"/>
                  <a:gd name="connsiteY10" fmla="*/ 1308442 h 1344161"/>
                  <a:gd name="connsiteX11" fmla="*/ 72048 w 331128"/>
                  <a:gd name="connsiteY11" fmla="*/ 1344161 h 1344161"/>
                  <a:gd name="connsiteX12" fmla="*/ 148248 w 331128"/>
                  <a:gd name="connsiteY12" fmla="*/ 384041 h 1344161"/>
                  <a:gd name="connsiteX0" fmla="*/ 148248 w 331128"/>
                  <a:gd name="connsiteY0" fmla="*/ 384041 h 1344161"/>
                  <a:gd name="connsiteX1" fmla="*/ 94908 w 331128"/>
                  <a:gd name="connsiteY1" fmla="*/ 300221 h 1344161"/>
                  <a:gd name="connsiteX2" fmla="*/ 94908 w 331128"/>
                  <a:gd name="connsiteY2" fmla="*/ 300221 h 1344161"/>
                  <a:gd name="connsiteX3" fmla="*/ 87288 w 331128"/>
                  <a:gd name="connsiteY3" fmla="*/ 170681 h 1344161"/>
                  <a:gd name="connsiteX4" fmla="*/ 24423 w 331128"/>
                  <a:gd name="connsiteY4" fmla="*/ 139249 h 1344161"/>
                  <a:gd name="connsiteX5" fmla="*/ 157297 w 331128"/>
                  <a:gd name="connsiteY5" fmla="*/ 33521 h 1344161"/>
                  <a:gd name="connsiteX6" fmla="*/ 201112 w 331128"/>
                  <a:gd name="connsiteY6" fmla="*/ 120675 h 1344161"/>
                  <a:gd name="connsiteX7" fmla="*/ 268263 w 331128"/>
                  <a:gd name="connsiteY7" fmla="*/ 64001 h 1344161"/>
                  <a:gd name="connsiteX8" fmla="*/ 331128 w 331128"/>
                  <a:gd name="connsiteY8" fmla="*/ 224021 h 1344161"/>
                  <a:gd name="connsiteX9" fmla="*/ 270168 w 331128"/>
                  <a:gd name="connsiteY9" fmla="*/ 353561 h 1344161"/>
                  <a:gd name="connsiteX10" fmla="*/ 218733 w 331128"/>
                  <a:gd name="connsiteY10" fmla="*/ 1308442 h 1344161"/>
                  <a:gd name="connsiteX11" fmla="*/ 72048 w 331128"/>
                  <a:gd name="connsiteY11" fmla="*/ 1344161 h 1344161"/>
                  <a:gd name="connsiteX12" fmla="*/ 148248 w 331128"/>
                  <a:gd name="connsiteY12" fmla="*/ 384041 h 1344161"/>
                  <a:gd name="connsiteX0" fmla="*/ 148248 w 331128"/>
                  <a:gd name="connsiteY0" fmla="*/ 384041 h 1344161"/>
                  <a:gd name="connsiteX1" fmla="*/ 94908 w 331128"/>
                  <a:gd name="connsiteY1" fmla="*/ 300221 h 1344161"/>
                  <a:gd name="connsiteX2" fmla="*/ 94908 w 331128"/>
                  <a:gd name="connsiteY2" fmla="*/ 300221 h 1344161"/>
                  <a:gd name="connsiteX3" fmla="*/ 96813 w 331128"/>
                  <a:gd name="connsiteY3" fmla="*/ 184968 h 1344161"/>
                  <a:gd name="connsiteX4" fmla="*/ 24423 w 331128"/>
                  <a:gd name="connsiteY4" fmla="*/ 139249 h 1344161"/>
                  <a:gd name="connsiteX5" fmla="*/ 157297 w 331128"/>
                  <a:gd name="connsiteY5" fmla="*/ 33521 h 1344161"/>
                  <a:gd name="connsiteX6" fmla="*/ 201112 w 331128"/>
                  <a:gd name="connsiteY6" fmla="*/ 120675 h 1344161"/>
                  <a:gd name="connsiteX7" fmla="*/ 268263 w 331128"/>
                  <a:gd name="connsiteY7" fmla="*/ 64001 h 1344161"/>
                  <a:gd name="connsiteX8" fmla="*/ 331128 w 331128"/>
                  <a:gd name="connsiteY8" fmla="*/ 224021 h 1344161"/>
                  <a:gd name="connsiteX9" fmla="*/ 270168 w 331128"/>
                  <a:gd name="connsiteY9" fmla="*/ 353561 h 1344161"/>
                  <a:gd name="connsiteX10" fmla="*/ 218733 w 331128"/>
                  <a:gd name="connsiteY10" fmla="*/ 1308442 h 1344161"/>
                  <a:gd name="connsiteX11" fmla="*/ 72048 w 331128"/>
                  <a:gd name="connsiteY11" fmla="*/ 1344161 h 1344161"/>
                  <a:gd name="connsiteX12" fmla="*/ 148248 w 331128"/>
                  <a:gd name="connsiteY12" fmla="*/ 384041 h 1344161"/>
                  <a:gd name="connsiteX0" fmla="*/ 148248 w 331128"/>
                  <a:gd name="connsiteY0" fmla="*/ 384041 h 1344161"/>
                  <a:gd name="connsiteX1" fmla="*/ 94908 w 331128"/>
                  <a:gd name="connsiteY1" fmla="*/ 300221 h 1344161"/>
                  <a:gd name="connsiteX2" fmla="*/ 94908 w 331128"/>
                  <a:gd name="connsiteY2" fmla="*/ 300221 h 1344161"/>
                  <a:gd name="connsiteX3" fmla="*/ 96813 w 331128"/>
                  <a:gd name="connsiteY3" fmla="*/ 184968 h 1344161"/>
                  <a:gd name="connsiteX4" fmla="*/ 24423 w 331128"/>
                  <a:gd name="connsiteY4" fmla="*/ 139249 h 1344161"/>
                  <a:gd name="connsiteX5" fmla="*/ 157297 w 331128"/>
                  <a:gd name="connsiteY5" fmla="*/ 33521 h 1344161"/>
                  <a:gd name="connsiteX6" fmla="*/ 201112 w 331128"/>
                  <a:gd name="connsiteY6" fmla="*/ 120675 h 1344161"/>
                  <a:gd name="connsiteX7" fmla="*/ 268263 w 331128"/>
                  <a:gd name="connsiteY7" fmla="*/ 64001 h 1344161"/>
                  <a:gd name="connsiteX8" fmla="*/ 331128 w 331128"/>
                  <a:gd name="connsiteY8" fmla="*/ 224021 h 1344161"/>
                  <a:gd name="connsiteX9" fmla="*/ 270168 w 331128"/>
                  <a:gd name="connsiteY9" fmla="*/ 353561 h 1344161"/>
                  <a:gd name="connsiteX10" fmla="*/ 218733 w 331128"/>
                  <a:gd name="connsiteY10" fmla="*/ 1308442 h 1344161"/>
                  <a:gd name="connsiteX11" fmla="*/ 72048 w 331128"/>
                  <a:gd name="connsiteY11" fmla="*/ 1344161 h 1344161"/>
                  <a:gd name="connsiteX12" fmla="*/ 148248 w 331128"/>
                  <a:gd name="connsiteY12" fmla="*/ 384041 h 1344161"/>
                  <a:gd name="connsiteX0" fmla="*/ 148248 w 331128"/>
                  <a:gd name="connsiteY0" fmla="*/ 384041 h 1344161"/>
                  <a:gd name="connsiteX1" fmla="*/ 94908 w 331128"/>
                  <a:gd name="connsiteY1" fmla="*/ 300221 h 1344161"/>
                  <a:gd name="connsiteX2" fmla="*/ 94908 w 331128"/>
                  <a:gd name="connsiteY2" fmla="*/ 300221 h 1344161"/>
                  <a:gd name="connsiteX3" fmla="*/ 96813 w 331128"/>
                  <a:gd name="connsiteY3" fmla="*/ 184968 h 1344161"/>
                  <a:gd name="connsiteX4" fmla="*/ 24423 w 331128"/>
                  <a:gd name="connsiteY4" fmla="*/ 139249 h 1344161"/>
                  <a:gd name="connsiteX5" fmla="*/ 157297 w 331128"/>
                  <a:gd name="connsiteY5" fmla="*/ 33521 h 1344161"/>
                  <a:gd name="connsiteX6" fmla="*/ 201112 w 331128"/>
                  <a:gd name="connsiteY6" fmla="*/ 120675 h 1344161"/>
                  <a:gd name="connsiteX7" fmla="*/ 268263 w 331128"/>
                  <a:gd name="connsiteY7" fmla="*/ 64001 h 1344161"/>
                  <a:gd name="connsiteX8" fmla="*/ 331128 w 331128"/>
                  <a:gd name="connsiteY8" fmla="*/ 224021 h 1344161"/>
                  <a:gd name="connsiteX9" fmla="*/ 270168 w 331128"/>
                  <a:gd name="connsiteY9" fmla="*/ 353561 h 1344161"/>
                  <a:gd name="connsiteX10" fmla="*/ 218733 w 331128"/>
                  <a:gd name="connsiteY10" fmla="*/ 1308442 h 1344161"/>
                  <a:gd name="connsiteX11" fmla="*/ 72048 w 331128"/>
                  <a:gd name="connsiteY11" fmla="*/ 1344161 h 1344161"/>
                  <a:gd name="connsiteX12" fmla="*/ 148248 w 331128"/>
                  <a:gd name="connsiteY12" fmla="*/ 384041 h 1344161"/>
                  <a:gd name="connsiteX0" fmla="*/ 148248 w 331128"/>
                  <a:gd name="connsiteY0" fmla="*/ 384041 h 1344161"/>
                  <a:gd name="connsiteX1" fmla="*/ 94908 w 331128"/>
                  <a:gd name="connsiteY1" fmla="*/ 300221 h 1344161"/>
                  <a:gd name="connsiteX2" fmla="*/ 94908 w 331128"/>
                  <a:gd name="connsiteY2" fmla="*/ 300221 h 1344161"/>
                  <a:gd name="connsiteX3" fmla="*/ 96813 w 331128"/>
                  <a:gd name="connsiteY3" fmla="*/ 184968 h 1344161"/>
                  <a:gd name="connsiteX4" fmla="*/ 24423 w 331128"/>
                  <a:gd name="connsiteY4" fmla="*/ 139249 h 1344161"/>
                  <a:gd name="connsiteX5" fmla="*/ 157297 w 331128"/>
                  <a:gd name="connsiteY5" fmla="*/ 33521 h 1344161"/>
                  <a:gd name="connsiteX6" fmla="*/ 201112 w 331128"/>
                  <a:gd name="connsiteY6" fmla="*/ 120675 h 1344161"/>
                  <a:gd name="connsiteX7" fmla="*/ 268263 w 331128"/>
                  <a:gd name="connsiteY7" fmla="*/ 64001 h 1344161"/>
                  <a:gd name="connsiteX8" fmla="*/ 331128 w 331128"/>
                  <a:gd name="connsiteY8" fmla="*/ 224021 h 1344161"/>
                  <a:gd name="connsiteX9" fmla="*/ 270168 w 331128"/>
                  <a:gd name="connsiteY9" fmla="*/ 353561 h 1344161"/>
                  <a:gd name="connsiteX10" fmla="*/ 218733 w 331128"/>
                  <a:gd name="connsiteY10" fmla="*/ 1308442 h 1344161"/>
                  <a:gd name="connsiteX11" fmla="*/ 72048 w 331128"/>
                  <a:gd name="connsiteY11" fmla="*/ 1344161 h 1344161"/>
                  <a:gd name="connsiteX12" fmla="*/ 148248 w 331128"/>
                  <a:gd name="connsiteY12" fmla="*/ 384041 h 1344161"/>
                  <a:gd name="connsiteX0" fmla="*/ 148248 w 331128"/>
                  <a:gd name="connsiteY0" fmla="*/ 384041 h 1344161"/>
                  <a:gd name="connsiteX1" fmla="*/ 94908 w 331128"/>
                  <a:gd name="connsiteY1" fmla="*/ 300221 h 1344161"/>
                  <a:gd name="connsiteX2" fmla="*/ 94908 w 331128"/>
                  <a:gd name="connsiteY2" fmla="*/ 300221 h 1344161"/>
                  <a:gd name="connsiteX3" fmla="*/ 96813 w 331128"/>
                  <a:gd name="connsiteY3" fmla="*/ 184968 h 1344161"/>
                  <a:gd name="connsiteX4" fmla="*/ 24423 w 331128"/>
                  <a:gd name="connsiteY4" fmla="*/ 139249 h 1344161"/>
                  <a:gd name="connsiteX5" fmla="*/ 157297 w 331128"/>
                  <a:gd name="connsiteY5" fmla="*/ 33521 h 1344161"/>
                  <a:gd name="connsiteX6" fmla="*/ 201112 w 331128"/>
                  <a:gd name="connsiteY6" fmla="*/ 120675 h 1344161"/>
                  <a:gd name="connsiteX7" fmla="*/ 268263 w 331128"/>
                  <a:gd name="connsiteY7" fmla="*/ 64001 h 1344161"/>
                  <a:gd name="connsiteX8" fmla="*/ 331128 w 331128"/>
                  <a:gd name="connsiteY8" fmla="*/ 224021 h 1344161"/>
                  <a:gd name="connsiteX9" fmla="*/ 270168 w 331128"/>
                  <a:gd name="connsiteY9" fmla="*/ 353561 h 1344161"/>
                  <a:gd name="connsiteX10" fmla="*/ 218733 w 331128"/>
                  <a:gd name="connsiteY10" fmla="*/ 1308442 h 1344161"/>
                  <a:gd name="connsiteX11" fmla="*/ 72048 w 331128"/>
                  <a:gd name="connsiteY11" fmla="*/ 1344161 h 1344161"/>
                  <a:gd name="connsiteX12" fmla="*/ 148248 w 331128"/>
                  <a:gd name="connsiteY12" fmla="*/ 384041 h 1344161"/>
                  <a:gd name="connsiteX0" fmla="*/ 148248 w 331128"/>
                  <a:gd name="connsiteY0" fmla="*/ 384041 h 1344161"/>
                  <a:gd name="connsiteX1" fmla="*/ 94908 w 331128"/>
                  <a:gd name="connsiteY1" fmla="*/ 300221 h 1344161"/>
                  <a:gd name="connsiteX2" fmla="*/ 125864 w 331128"/>
                  <a:gd name="connsiteY2" fmla="*/ 302603 h 1344161"/>
                  <a:gd name="connsiteX3" fmla="*/ 96813 w 331128"/>
                  <a:gd name="connsiteY3" fmla="*/ 184968 h 1344161"/>
                  <a:gd name="connsiteX4" fmla="*/ 24423 w 331128"/>
                  <a:gd name="connsiteY4" fmla="*/ 139249 h 1344161"/>
                  <a:gd name="connsiteX5" fmla="*/ 157297 w 331128"/>
                  <a:gd name="connsiteY5" fmla="*/ 33521 h 1344161"/>
                  <a:gd name="connsiteX6" fmla="*/ 201112 w 331128"/>
                  <a:gd name="connsiteY6" fmla="*/ 120675 h 1344161"/>
                  <a:gd name="connsiteX7" fmla="*/ 268263 w 331128"/>
                  <a:gd name="connsiteY7" fmla="*/ 64001 h 1344161"/>
                  <a:gd name="connsiteX8" fmla="*/ 331128 w 331128"/>
                  <a:gd name="connsiteY8" fmla="*/ 224021 h 1344161"/>
                  <a:gd name="connsiteX9" fmla="*/ 270168 w 331128"/>
                  <a:gd name="connsiteY9" fmla="*/ 353561 h 1344161"/>
                  <a:gd name="connsiteX10" fmla="*/ 218733 w 331128"/>
                  <a:gd name="connsiteY10" fmla="*/ 1308442 h 1344161"/>
                  <a:gd name="connsiteX11" fmla="*/ 72048 w 331128"/>
                  <a:gd name="connsiteY11" fmla="*/ 1344161 h 1344161"/>
                  <a:gd name="connsiteX12" fmla="*/ 148248 w 331128"/>
                  <a:gd name="connsiteY12" fmla="*/ 384041 h 1344161"/>
                  <a:gd name="connsiteX0" fmla="*/ 148248 w 331128"/>
                  <a:gd name="connsiteY0" fmla="*/ 384041 h 1344161"/>
                  <a:gd name="connsiteX1" fmla="*/ 94908 w 331128"/>
                  <a:gd name="connsiteY1" fmla="*/ 300221 h 1344161"/>
                  <a:gd name="connsiteX2" fmla="*/ 125864 w 331128"/>
                  <a:gd name="connsiteY2" fmla="*/ 302603 h 1344161"/>
                  <a:gd name="connsiteX3" fmla="*/ 96813 w 331128"/>
                  <a:gd name="connsiteY3" fmla="*/ 184968 h 1344161"/>
                  <a:gd name="connsiteX4" fmla="*/ 24423 w 331128"/>
                  <a:gd name="connsiteY4" fmla="*/ 139249 h 1344161"/>
                  <a:gd name="connsiteX5" fmla="*/ 157297 w 331128"/>
                  <a:gd name="connsiteY5" fmla="*/ 33521 h 1344161"/>
                  <a:gd name="connsiteX6" fmla="*/ 201112 w 331128"/>
                  <a:gd name="connsiteY6" fmla="*/ 120675 h 1344161"/>
                  <a:gd name="connsiteX7" fmla="*/ 268263 w 331128"/>
                  <a:gd name="connsiteY7" fmla="*/ 64001 h 1344161"/>
                  <a:gd name="connsiteX8" fmla="*/ 331128 w 331128"/>
                  <a:gd name="connsiteY8" fmla="*/ 224021 h 1344161"/>
                  <a:gd name="connsiteX9" fmla="*/ 270168 w 331128"/>
                  <a:gd name="connsiteY9" fmla="*/ 353561 h 1344161"/>
                  <a:gd name="connsiteX10" fmla="*/ 218733 w 331128"/>
                  <a:gd name="connsiteY10" fmla="*/ 1308442 h 1344161"/>
                  <a:gd name="connsiteX11" fmla="*/ 72048 w 331128"/>
                  <a:gd name="connsiteY11" fmla="*/ 1344161 h 1344161"/>
                  <a:gd name="connsiteX12" fmla="*/ 148248 w 331128"/>
                  <a:gd name="connsiteY12" fmla="*/ 384041 h 1344161"/>
                  <a:gd name="connsiteX0" fmla="*/ 148248 w 331128"/>
                  <a:gd name="connsiteY0" fmla="*/ 384041 h 1344161"/>
                  <a:gd name="connsiteX1" fmla="*/ 94908 w 331128"/>
                  <a:gd name="connsiteY1" fmla="*/ 300221 h 1344161"/>
                  <a:gd name="connsiteX2" fmla="*/ 125864 w 331128"/>
                  <a:gd name="connsiteY2" fmla="*/ 302603 h 1344161"/>
                  <a:gd name="connsiteX3" fmla="*/ 96813 w 331128"/>
                  <a:gd name="connsiteY3" fmla="*/ 184968 h 1344161"/>
                  <a:gd name="connsiteX4" fmla="*/ 24423 w 331128"/>
                  <a:gd name="connsiteY4" fmla="*/ 139249 h 1344161"/>
                  <a:gd name="connsiteX5" fmla="*/ 157297 w 331128"/>
                  <a:gd name="connsiteY5" fmla="*/ 33521 h 1344161"/>
                  <a:gd name="connsiteX6" fmla="*/ 201112 w 331128"/>
                  <a:gd name="connsiteY6" fmla="*/ 120675 h 1344161"/>
                  <a:gd name="connsiteX7" fmla="*/ 268263 w 331128"/>
                  <a:gd name="connsiteY7" fmla="*/ 64001 h 1344161"/>
                  <a:gd name="connsiteX8" fmla="*/ 331128 w 331128"/>
                  <a:gd name="connsiteY8" fmla="*/ 224021 h 1344161"/>
                  <a:gd name="connsiteX9" fmla="*/ 270168 w 331128"/>
                  <a:gd name="connsiteY9" fmla="*/ 353561 h 1344161"/>
                  <a:gd name="connsiteX10" fmla="*/ 218733 w 331128"/>
                  <a:gd name="connsiteY10" fmla="*/ 1308442 h 1344161"/>
                  <a:gd name="connsiteX11" fmla="*/ 72048 w 331128"/>
                  <a:gd name="connsiteY11" fmla="*/ 1344161 h 1344161"/>
                  <a:gd name="connsiteX12" fmla="*/ 148248 w 331128"/>
                  <a:gd name="connsiteY12" fmla="*/ 384041 h 1344161"/>
                  <a:gd name="connsiteX0" fmla="*/ 148248 w 331128"/>
                  <a:gd name="connsiteY0" fmla="*/ 384041 h 1344161"/>
                  <a:gd name="connsiteX1" fmla="*/ 125864 w 331128"/>
                  <a:gd name="connsiteY1" fmla="*/ 302603 h 1344161"/>
                  <a:gd name="connsiteX2" fmla="*/ 96813 w 331128"/>
                  <a:gd name="connsiteY2" fmla="*/ 184968 h 1344161"/>
                  <a:gd name="connsiteX3" fmla="*/ 24423 w 331128"/>
                  <a:gd name="connsiteY3" fmla="*/ 139249 h 1344161"/>
                  <a:gd name="connsiteX4" fmla="*/ 157297 w 331128"/>
                  <a:gd name="connsiteY4" fmla="*/ 33521 h 1344161"/>
                  <a:gd name="connsiteX5" fmla="*/ 201112 w 331128"/>
                  <a:gd name="connsiteY5" fmla="*/ 120675 h 1344161"/>
                  <a:gd name="connsiteX6" fmla="*/ 268263 w 331128"/>
                  <a:gd name="connsiteY6" fmla="*/ 64001 h 1344161"/>
                  <a:gd name="connsiteX7" fmla="*/ 331128 w 331128"/>
                  <a:gd name="connsiteY7" fmla="*/ 224021 h 1344161"/>
                  <a:gd name="connsiteX8" fmla="*/ 270168 w 331128"/>
                  <a:gd name="connsiteY8" fmla="*/ 353561 h 1344161"/>
                  <a:gd name="connsiteX9" fmla="*/ 218733 w 331128"/>
                  <a:gd name="connsiteY9" fmla="*/ 1308442 h 1344161"/>
                  <a:gd name="connsiteX10" fmla="*/ 72048 w 331128"/>
                  <a:gd name="connsiteY10" fmla="*/ 1344161 h 1344161"/>
                  <a:gd name="connsiteX11" fmla="*/ 148248 w 331128"/>
                  <a:gd name="connsiteY11" fmla="*/ 384041 h 1344161"/>
                  <a:gd name="connsiteX0" fmla="*/ 148248 w 331128"/>
                  <a:gd name="connsiteY0" fmla="*/ 384041 h 1344161"/>
                  <a:gd name="connsiteX1" fmla="*/ 104433 w 331128"/>
                  <a:gd name="connsiteY1" fmla="*/ 302603 h 1344161"/>
                  <a:gd name="connsiteX2" fmla="*/ 96813 w 331128"/>
                  <a:gd name="connsiteY2" fmla="*/ 184968 h 1344161"/>
                  <a:gd name="connsiteX3" fmla="*/ 24423 w 331128"/>
                  <a:gd name="connsiteY3" fmla="*/ 139249 h 1344161"/>
                  <a:gd name="connsiteX4" fmla="*/ 157297 w 331128"/>
                  <a:gd name="connsiteY4" fmla="*/ 33521 h 1344161"/>
                  <a:gd name="connsiteX5" fmla="*/ 201112 w 331128"/>
                  <a:gd name="connsiteY5" fmla="*/ 120675 h 1344161"/>
                  <a:gd name="connsiteX6" fmla="*/ 268263 w 331128"/>
                  <a:gd name="connsiteY6" fmla="*/ 64001 h 1344161"/>
                  <a:gd name="connsiteX7" fmla="*/ 331128 w 331128"/>
                  <a:gd name="connsiteY7" fmla="*/ 224021 h 1344161"/>
                  <a:gd name="connsiteX8" fmla="*/ 270168 w 331128"/>
                  <a:gd name="connsiteY8" fmla="*/ 353561 h 1344161"/>
                  <a:gd name="connsiteX9" fmla="*/ 218733 w 331128"/>
                  <a:gd name="connsiteY9" fmla="*/ 1308442 h 1344161"/>
                  <a:gd name="connsiteX10" fmla="*/ 72048 w 331128"/>
                  <a:gd name="connsiteY10" fmla="*/ 1344161 h 1344161"/>
                  <a:gd name="connsiteX11" fmla="*/ 148248 w 331128"/>
                  <a:gd name="connsiteY11" fmla="*/ 384041 h 1344161"/>
                  <a:gd name="connsiteX0" fmla="*/ 148248 w 331128"/>
                  <a:gd name="connsiteY0" fmla="*/ 384041 h 1344161"/>
                  <a:gd name="connsiteX1" fmla="*/ 104433 w 331128"/>
                  <a:gd name="connsiteY1" fmla="*/ 302603 h 1344161"/>
                  <a:gd name="connsiteX2" fmla="*/ 96813 w 331128"/>
                  <a:gd name="connsiteY2" fmla="*/ 184968 h 1344161"/>
                  <a:gd name="connsiteX3" fmla="*/ 24423 w 331128"/>
                  <a:gd name="connsiteY3" fmla="*/ 139249 h 1344161"/>
                  <a:gd name="connsiteX4" fmla="*/ 157297 w 331128"/>
                  <a:gd name="connsiteY4" fmla="*/ 33521 h 1344161"/>
                  <a:gd name="connsiteX5" fmla="*/ 201112 w 331128"/>
                  <a:gd name="connsiteY5" fmla="*/ 120675 h 1344161"/>
                  <a:gd name="connsiteX6" fmla="*/ 268263 w 331128"/>
                  <a:gd name="connsiteY6" fmla="*/ 64001 h 1344161"/>
                  <a:gd name="connsiteX7" fmla="*/ 331128 w 331128"/>
                  <a:gd name="connsiteY7" fmla="*/ 224021 h 1344161"/>
                  <a:gd name="connsiteX8" fmla="*/ 270168 w 331128"/>
                  <a:gd name="connsiteY8" fmla="*/ 353561 h 1344161"/>
                  <a:gd name="connsiteX9" fmla="*/ 218733 w 331128"/>
                  <a:gd name="connsiteY9" fmla="*/ 1308442 h 1344161"/>
                  <a:gd name="connsiteX10" fmla="*/ 72048 w 331128"/>
                  <a:gd name="connsiteY10" fmla="*/ 1344161 h 1344161"/>
                  <a:gd name="connsiteX11" fmla="*/ 148248 w 331128"/>
                  <a:gd name="connsiteY11" fmla="*/ 384041 h 1344161"/>
                  <a:gd name="connsiteX0" fmla="*/ 148248 w 331128"/>
                  <a:gd name="connsiteY0" fmla="*/ 384041 h 1344161"/>
                  <a:gd name="connsiteX1" fmla="*/ 104433 w 331128"/>
                  <a:gd name="connsiteY1" fmla="*/ 302603 h 1344161"/>
                  <a:gd name="connsiteX2" fmla="*/ 96813 w 331128"/>
                  <a:gd name="connsiteY2" fmla="*/ 184968 h 1344161"/>
                  <a:gd name="connsiteX3" fmla="*/ 24423 w 331128"/>
                  <a:gd name="connsiteY3" fmla="*/ 139249 h 1344161"/>
                  <a:gd name="connsiteX4" fmla="*/ 157297 w 331128"/>
                  <a:gd name="connsiteY4" fmla="*/ 33521 h 1344161"/>
                  <a:gd name="connsiteX5" fmla="*/ 201112 w 331128"/>
                  <a:gd name="connsiteY5" fmla="*/ 120675 h 1344161"/>
                  <a:gd name="connsiteX6" fmla="*/ 268263 w 331128"/>
                  <a:gd name="connsiteY6" fmla="*/ 64001 h 1344161"/>
                  <a:gd name="connsiteX7" fmla="*/ 331128 w 331128"/>
                  <a:gd name="connsiteY7" fmla="*/ 224021 h 1344161"/>
                  <a:gd name="connsiteX8" fmla="*/ 270168 w 331128"/>
                  <a:gd name="connsiteY8" fmla="*/ 353561 h 1344161"/>
                  <a:gd name="connsiteX9" fmla="*/ 218733 w 331128"/>
                  <a:gd name="connsiteY9" fmla="*/ 1308442 h 1344161"/>
                  <a:gd name="connsiteX10" fmla="*/ 72048 w 331128"/>
                  <a:gd name="connsiteY10" fmla="*/ 1344161 h 1344161"/>
                  <a:gd name="connsiteX11" fmla="*/ 148248 w 331128"/>
                  <a:gd name="connsiteY11" fmla="*/ 384041 h 1344161"/>
                  <a:gd name="connsiteX0" fmla="*/ 148248 w 331128"/>
                  <a:gd name="connsiteY0" fmla="*/ 384041 h 1344161"/>
                  <a:gd name="connsiteX1" fmla="*/ 104433 w 331128"/>
                  <a:gd name="connsiteY1" fmla="*/ 302603 h 1344161"/>
                  <a:gd name="connsiteX2" fmla="*/ 96813 w 331128"/>
                  <a:gd name="connsiteY2" fmla="*/ 184968 h 1344161"/>
                  <a:gd name="connsiteX3" fmla="*/ 24423 w 331128"/>
                  <a:gd name="connsiteY3" fmla="*/ 139249 h 1344161"/>
                  <a:gd name="connsiteX4" fmla="*/ 157297 w 331128"/>
                  <a:gd name="connsiteY4" fmla="*/ 33521 h 1344161"/>
                  <a:gd name="connsiteX5" fmla="*/ 201112 w 331128"/>
                  <a:gd name="connsiteY5" fmla="*/ 120675 h 1344161"/>
                  <a:gd name="connsiteX6" fmla="*/ 268263 w 331128"/>
                  <a:gd name="connsiteY6" fmla="*/ 64001 h 1344161"/>
                  <a:gd name="connsiteX7" fmla="*/ 331128 w 331128"/>
                  <a:gd name="connsiteY7" fmla="*/ 224021 h 1344161"/>
                  <a:gd name="connsiteX8" fmla="*/ 270168 w 331128"/>
                  <a:gd name="connsiteY8" fmla="*/ 353561 h 1344161"/>
                  <a:gd name="connsiteX9" fmla="*/ 218733 w 331128"/>
                  <a:gd name="connsiteY9" fmla="*/ 1308442 h 1344161"/>
                  <a:gd name="connsiteX10" fmla="*/ 72048 w 331128"/>
                  <a:gd name="connsiteY10" fmla="*/ 1344161 h 1344161"/>
                  <a:gd name="connsiteX11" fmla="*/ 148248 w 331128"/>
                  <a:gd name="connsiteY11" fmla="*/ 384041 h 1344161"/>
                  <a:gd name="connsiteX0" fmla="*/ 148248 w 331128"/>
                  <a:gd name="connsiteY0" fmla="*/ 384041 h 1344161"/>
                  <a:gd name="connsiteX1" fmla="*/ 104433 w 331128"/>
                  <a:gd name="connsiteY1" fmla="*/ 302603 h 1344161"/>
                  <a:gd name="connsiteX2" fmla="*/ 96813 w 331128"/>
                  <a:gd name="connsiteY2" fmla="*/ 184968 h 1344161"/>
                  <a:gd name="connsiteX3" fmla="*/ 24423 w 331128"/>
                  <a:gd name="connsiteY3" fmla="*/ 139249 h 1344161"/>
                  <a:gd name="connsiteX4" fmla="*/ 157297 w 331128"/>
                  <a:gd name="connsiteY4" fmla="*/ 33521 h 1344161"/>
                  <a:gd name="connsiteX5" fmla="*/ 201112 w 331128"/>
                  <a:gd name="connsiteY5" fmla="*/ 120675 h 1344161"/>
                  <a:gd name="connsiteX6" fmla="*/ 268263 w 331128"/>
                  <a:gd name="connsiteY6" fmla="*/ 64001 h 1344161"/>
                  <a:gd name="connsiteX7" fmla="*/ 331128 w 331128"/>
                  <a:gd name="connsiteY7" fmla="*/ 224021 h 1344161"/>
                  <a:gd name="connsiteX8" fmla="*/ 270168 w 331128"/>
                  <a:gd name="connsiteY8" fmla="*/ 353561 h 1344161"/>
                  <a:gd name="connsiteX9" fmla="*/ 218733 w 331128"/>
                  <a:gd name="connsiteY9" fmla="*/ 1308442 h 1344161"/>
                  <a:gd name="connsiteX10" fmla="*/ 72048 w 331128"/>
                  <a:gd name="connsiteY10" fmla="*/ 1344161 h 1344161"/>
                  <a:gd name="connsiteX11" fmla="*/ 148248 w 331128"/>
                  <a:gd name="connsiteY11" fmla="*/ 384041 h 1344161"/>
                  <a:gd name="connsiteX0" fmla="*/ 148248 w 331128"/>
                  <a:gd name="connsiteY0" fmla="*/ 384041 h 1344161"/>
                  <a:gd name="connsiteX1" fmla="*/ 104433 w 331128"/>
                  <a:gd name="connsiteY1" fmla="*/ 302603 h 1344161"/>
                  <a:gd name="connsiteX2" fmla="*/ 96813 w 331128"/>
                  <a:gd name="connsiteY2" fmla="*/ 184968 h 1344161"/>
                  <a:gd name="connsiteX3" fmla="*/ 24423 w 331128"/>
                  <a:gd name="connsiteY3" fmla="*/ 139249 h 1344161"/>
                  <a:gd name="connsiteX4" fmla="*/ 157297 w 331128"/>
                  <a:gd name="connsiteY4" fmla="*/ 33521 h 1344161"/>
                  <a:gd name="connsiteX5" fmla="*/ 201112 w 331128"/>
                  <a:gd name="connsiteY5" fmla="*/ 120675 h 1344161"/>
                  <a:gd name="connsiteX6" fmla="*/ 268263 w 331128"/>
                  <a:gd name="connsiteY6" fmla="*/ 64001 h 1344161"/>
                  <a:gd name="connsiteX7" fmla="*/ 331128 w 331128"/>
                  <a:gd name="connsiteY7" fmla="*/ 224021 h 1344161"/>
                  <a:gd name="connsiteX8" fmla="*/ 270168 w 331128"/>
                  <a:gd name="connsiteY8" fmla="*/ 353561 h 1344161"/>
                  <a:gd name="connsiteX9" fmla="*/ 218733 w 331128"/>
                  <a:gd name="connsiteY9" fmla="*/ 1308442 h 1344161"/>
                  <a:gd name="connsiteX10" fmla="*/ 72048 w 331128"/>
                  <a:gd name="connsiteY10" fmla="*/ 1344161 h 1344161"/>
                  <a:gd name="connsiteX11" fmla="*/ 148248 w 331128"/>
                  <a:gd name="connsiteY11" fmla="*/ 384041 h 1344161"/>
                  <a:gd name="connsiteX0" fmla="*/ 148248 w 331128"/>
                  <a:gd name="connsiteY0" fmla="*/ 384041 h 1344161"/>
                  <a:gd name="connsiteX1" fmla="*/ 104433 w 331128"/>
                  <a:gd name="connsiteY1" fmla="*/ 302603 h 1344161"/>
                  <a:gd name="connsiteX2" fmla="*/ 96813 w 331128"/>
                  <a:gd name="connsiteY2" fmla="*/ 184968 h 1344161"/>
                  <a:gd name="connsiteX3" fmla="*/ 24423 w 331128"/>
                  <a:gd name="connsiteY3" fmla="*/ 139249 h 1344161"/>
                  <a:gd name="connsiteX4" fmla="*/ 157297 w 331128"/>
                  <a:gd name="connsiteY4" fmla="*/ 33521 h 1344161"/>
                  <a:gd name="connsiteX5" fmla="*/ 201112 w 331128"/>
                  <a:gd name="connsiteY5" fmla="*/ 120675 h 1344161"/>
                  <a:gd name="connsiteX6" fmla="*/ 268263 w 331128"/>
                  <a:gd name="connsiteY6" fmla="*/ 64001 h 1344161"/>
                  <a:gd name="connsiteX7" fmla="*/ 331128 w 331128"/>
                  <a:gd name="connsiteY7" fmla="*/ 224021 h 1344161"/>
                  <a:gd name="connsiteX8" fmla="*/ 270168 w 331128"/>
                  <a:gd name="connsiteY8" fmla="*/ 353561 h 1344161"/>
                  <a:gd name="connsiteX9" fmla="*/ 218733 w 331128"/>
                  <a:gd name="connsiteY9" fmla="*/ 1308442 h 1344161"/>
                  <a:gd name="connsiteX10" fmla="*/ 72048 w 331128"/>
                  <a:gd name="connsiteY10" fmla="*/ 1344161 h 1344161"/>
                  <a:gd name="connsiteX11" fmla="*/ 148248 w 331128"/>
                  <a:gd name="connsiteY11" fmla="*/ 384041 h 1344161"/>
                  <a:gd name="connsiteX0" fmla="*/ 148248 w 331128"/>
                  <a:gd name="connsiteY0" fmla="*/ 384041 h 1344161"/>
                  <a:gd name="connsiteX1" fmla="*/ 104433 w 331128"/>
                  <a:gd name="connsiteY1" fmla="*/ 302603 h 1344161"/>
                  <a:gd name="connsiteX2" fmla="*/ 96813 w 331128"/>
                  <a:gd name="connsiteY2" fmla="*/ 184968 h 1344161"/>
                  <a:gd name="connsiteX3" fmla="*/ 24423 w 331128"/>
                  <a:gd name="connsiteY3" fmla="*/ 139249 h 1344161"/>
                  <a:gd name="connsiteX4" fmla="*/ 157297 w 331128"/>
                  <a:gd name="connsiteY4" fmla="*/ 33521 h 1344161"/>
                  <a:gd name="connsiteX5" fmla="*/ 201112 w 331128"/>
                  <a:gd name="connsiteY5" fmla="*/ 120675 h 1344161"/>
                  <a:gd name="connsiteX6" fmla="*/ 268263 w 331128"/>
                  <a:gd name="connsiteY6" fmla="*/ 64001 h 1344161"/>
                  <a:gd name="connsiteX7" fmla="*/ 331128 w 331128"/>
                  <a:gd name="connsiteY7" fmla="*/ 224021 h 1344161"/>
                  <a:gd name="connsiteX8" fmla="*/ 270168 w 331128"/>
                  <a:gd name="connsiteY8" fmla="*/ 353561 h 1344161"/>
                  <a:gd name="connsiteX9" fmla="*/ 218733 w 331128"/>
                  <a:gd name="connsiteY9" fmla="*/ 1308442 h 1344161"/>
                  <a:gd name="connsiteX10" fmla="*/ 72048 w 331128"/>
                  <a:gd name="connsiteY10" fmla="*/ 1344161 h 1344161"/>
                  <a:gd name="connsiteX11" fmla="*/ 148248 w 331128"/>
                  <a:gd name="connsiteY11" fmla="*/ 384041 h 1344161"/>
                  <a:gd name="connsiteX0" fmla="*/ 148248 w 331128"/>
                  <a:gd name="connsiteY0" fmla="*/ 384041 h 1351305"/>
                  <a:gd name="connsiteX1" fmla="*/ 104433 w 331128"/>
                  <a:gd name="connsiteY1" fmla="*/ 302603 h 1351305"/>
                  <a:gd name="connsiteX2" fmla="*/ 96813 w 331128"/>
                  <a:gd name="connsiteY2" fmla="*/ 184968 h 1351305"/>
                  <a:gd name="connsiteX3" fmla="*/ 24423 w 331128"/>
                  <a:gd name="connsiteY3" fmla="*/ 139249 h 1351305"/>
                  <a:gd name="connsiteX4" fmla="*/ 157297 w 331128"/>
                  <a:gd name="connsiteY4" fmla="*/ 33521 h 1351305"/>
                  <a:gd name="connsiteX5" fmla="*/ 201112 w 331128"/>
                  <a:gd name="connsiteY5" fmla="*/ 120675 h 1351305"/>
                  <a:gd name="connsiteX6" fmla="*/ 268263 w 331128"/>
                  <a:gd name="connsiteY6" fmla="*/ 64001 h 1351305"/>
                  <a:gd name="connsiteX7" fmla="*/ 331128 w 331128"/>
                  <a:gd name="connsiteY7" fmla="*/ 224021 h 1351305"/>
                  <a:gd name="connsiteX8" fmla="*/ 270168 w 331128"/>
                  <a:gd name="connsiteY8" fmla="*/ 353561 h 1351305"/>
                  <a:gd name="connsiteX9" fmla="*/ 218733 w 331128"/>
                  <a:gd name="connsiteY9" fmla="*/ 1308442 h 1351305"/>
                  <a:gd name="connsiteX10" fmla="*/ 74429 w 331128"/>
                  <a:gd name="connsiteY10" fmla="*/ 1351305 h 1351305"/>
                  <a:gd name="connsiteX11" fmla="*/ 148248 w 331128"/>
                  <a:gd name="connsiteY11" fmla="*/ 384041 h 1351305"/>
                  <a:gd name="connsiteX0" fmla="*/ 148248 w 331128"/>
                  <a:gd name="connsiteY0" fmla="*/ 384041 h 1351305"/>
                  <a:gd name="connsiteX1" fmla="*/ 104433 w 331128"/>
                  <a:gd name="connsiteY1" fmla="*/ 302603 h 1351305"/>
                  <a:gd name="connsiteX2" fmla="*/ 96813 w 331128"/>
                  <a:gd name="connsiteY2" fmla="*/ 184968 h 1351305"/>
                  <a:gd name="connsiteX3" fmla="*/ 24423 w 331128"/>
                  <a:gd name="connsiteY3" fmla="*/ 139249 h 1351305"/>
                  <a:gd name="connsiteX4" fmla="*/ 157297 w 331128"/>
                  <a:gd name="connsiteY4" fmla="*/ 33521 h 1351305"/>
                  <a:gd name="connsiteX5" fmla="*/ 201112 w 331128"/>
                  <a:gd name="connsiteY5" fmla="*/ 120675 h 1351305"/>
                  <a:gd name="connsiteX6" fmla="*/ 268263 w 331128"/>
                  <a:gd name="connsiteY6" fmla="*/ 64001 h 1351305"/>
                  <a:gd name="connsiteX7" fmla="*/ 331128 w 331128"/>
                  <a:gd name="connsiteY7" fmla="*/ 224021 h 1351305"/>
                  <a:gd name="connsiteX8" fmla="*/ 270168 w 331128"/>
                  <a:gd name="connsiteY8" fmla="*/ 353561 h 1351305"/>
                  <a:gd name="connsiteX9" fmla="*/ 218733 w 331128"/>
                  <a:gd name="connsiteY9" fmla="*/ 1308442 h 1351305"/>
                  <a:gd name="connsiteX10" fmla="*/ 74429 w 331128"/>
                  <a:gd name="connsiteY10" fmla="*/ 1351305 h 1351305"/>
                  <a:gd name="connsiteX11" fmla="*/ 148248 w 331128"/>
                  <a:gd name="connsiteY11" fmla="*/ 384041 h 1351305"/>
                  <a:gd name="connsiteX0" fmla="*/ 148248 w 331128"/>
                  <a:gd name="connsiteY0" fmla="*/ 384041 h 1351305"/>
                  <a:gd name="connsiteX1" fmla="*/ 104433 w 331128"/>
                  <a:gd name="connsiteY1" fmla="*/ 302603 h 1351305"/>
                  <a:gd name="connsiteX2" fmla="*/ 96813 w 331128"/>
                  <a:gd name="connsiteY2" fmla="*/ 184968 h 1351305"/>
                  <a:gd name="connsiteX3" fmla="*/ 24423 w 331128"/>
                  <a:gd name="connsiteY3" fmla="*/ 139249 h 1351305"/>
                  <a:gd name="connsiteX4" fmla="*/ 157297 w 331128"/>
                  <a:gd name="connsiteY4" fmla="*/ 33521 h 1351305"/>
                  <a:gd name="connsiteX5" fmla="*/ 201112 w 331128"/>
                  <a:gd name="connsiteY5" fmla="*/ 120675 h 1351305"/>
                  <a:gd name="connsiteX6" fmla="*/ 268263 w 331128"/>
                  <a:gd name="connsiteY6" fmla="*/ 64001 h 1351305"/>
                  <a:gd name="connsiteX7" fmla="*/ 331128 w 331128"/>
                  <a:gd name="connsiteY7" fmla="*/ 224021 h 1351305"/>
                  <a:gd name="connsiteX8" fmla="*/ 270168 w 331128"/>
                  <a:gd name="connsiteY8" fmla="*/ 353561 h 1351305"/>
                  <a:gd name="connsiteX9" fmla="*/ 218733 w 331128"/>
                  <a:gd name="connsiteY9" fmla="*/ 1308442 h 1351305"/>
                  <a:gd name="connsiteX10" fmla="*/ 74429 w 331128"/>
                  <a:gd name="connsiteY10" fmla="*/ 1351305 h 1351305"/>
                  <a:gd name="connsiteX11" fmla="*/ 148248 w 331128"/>
                  <a:gd name="connsiteY11" fmla="*/ 384041 h 1351305"/>
                  <a:gd name="connsiteX0" fmla="*/ 148248 w 331128"/>
                  <a:gd name="connsiteY0" fmla="*/ 384041 h 1351305"/>
                  <a:gd name="connsiteX1" fmla="*/ 104433 w 331128"/>
                  <a:gd name="connsiteY1" fmla="*/ 302603 h 1351305"/>
                  <a:gd name="connsiteX2" fmla="*/ 96813 w 331128"/>
                  <a:gd name="connsiteY2" fmla="*/ 184968 h 1351305"/>
                  <a:gd name="connsiteX3" fmla="*/ 24423 w 331128"/>
                  <a:gd name="connsiteY3" fmla="*/ 139249 h 1351305"/>
                  <a:gd name="connsiteX4" fmla="*/ 157297 w 331128"/>
                  <a:gd name="connsiteY4" fmla="*/ 33521 h 1351305"/>
                  <a:gd name="connsiteX5" fmla="*/ 201112 w 331128"/>
                  <a:gd name="connsiteY5" fmla="*/ 120675 h 1351305"/>
                  <a:gd name="connsiteX6" fmla="*/ 268263 w 331128"/>
                  <a:gd name="connsiteY6" fmla="*/ 64001 h 1351305"/>
                  <a:gd name="connsiteX7" fmla="*/ 331128 w 331128"/>
                  <a:gd name="connsiteY7" fmla="*/ 224021 h 1351305"/>
                  <a:gd name="connsiteX8" fmla="*/ 270168 w 331128"/>
                  <a:gd name="connsiteY8" fmla="*/ 353561 h 1351305"/>
                  <a:gd name="connsiteX9" fmla="*/ 218733 w 331128"/>
                  <a:gd name="connsiteY9" fmla="*/ 1308442 h 1351305"/>
                  <a:gd name="connsiteX10" fmla="*/ 74429 w 331128"/>
                  <a:gd name="connsiteY10" fmla="*/ 1351305 h 1351305"/>
                  <a:gd name="connsiteX11" fmla="*/ 148248 w 331128"/>
                  <a:gd name="connsiteY11" fmla="*/ 384041 h 1351305"/>
                  <a:gd name="connsiteX0" fmla="*/ 148248 w 331128"/>
                  <a:gd name="connsiteY0" fmla="*/ 384041 h 1479892"/>
                  <a:gd name="connsiteX1" fmla="*/ 104433 w 331128"/>
                  <a:gd name="connsiteY1" fmla="*/ 302603 h 1479892"/>
                  <a:gd name="connsiteX2" fmla="*/ 96813 w 331128"/>
                  <a:gd name="connsiteY2" fmla="*/ 184968 h 1479892"/>
                  <a:gd name="connsiteX3" fmla="*/ 24423 w 331128"/>
                  <a:gd name="connsiteY3" fmla="*/ 139249 h 1479892"/>
                  <a:gd name="connsiteX4" fmla="*/ 157297 w 331128"/>
                  <a:gd name="connsiteY4" fmla="*/ 33521 h 1479892"/>
                  <a:gd name="connsiteX5" fmla="*/ 201112 w 331128"/>
                  <a:gd name="connsiteY5" fmla="*/ 120675 h 1479892"/>
                  <a:gd name="connsiteX6" fmla="*/ 268263 w 331128"/>
                  <a:gd name="connsiteY6" fmla="*/ 64001 h 1479892"/>
                  <a:gd name="connsiteX7" fmla="*/ 331128 w 331128"/>
                  <a:gd name="connsiteY7" fmla="*/ 224021 h 1479892"/>
                  <a:gd name="connsiteX8" fmla="*/ 270168 w 331128"/>
                  <a:gd name="connsiteY8" fmla="*/ 353561 h 1479892"/>
                  <a:gd name="connsiteX9" fmla="*/ 218733 w 331128"/>
                  <a:gd name="connsiteY9" fmla="*/ 1479892 h 1479892"/>
                  <a:gd name="connsiteX10" fmla="*/ 74429 w 331128"/>
                  <a:gd name="connsiteY10" fmla="*/ 1351305 h 1479892"/>
                  <a:gd name="connsiteX11" fmla="*/ 148248 w 331128"/>
                  <a:gd name="connsiteY11" fmla="*/ 384041 h 1479892"/>
                  <a:gd name="connsiteX0" fmla="*/ 148248 w 331128"/>
                  <a:gd name="connsiteY0" fmla="*/ 384041 h 1479892"/>
                  <a:gd name="connsiteX1" fmla="*/ 104433 w 331128"/>
                  <a:gd name="connsiteY1" fmla="*/ 302603 h 1479892"/>
                  <a:gd name="connsiteX2" fmla="*/ 96813 w 331128"/>
                  <a:gd name="connsiteY2" fmla="*/ 184968 h 1479892"/>
                  <a:gd name="connsiteX3" fmla="*/ 24423 w 331128"/>
                  <a:gd name="connsiteY3" fmla="*/ 139249 h 1479892"/>
                  <a:gd name="connsiteX4" fmla="*/ 157297 w 331128"/>
                  <a:gd name="connsiteY4" fmla="*/ 33521 h 1479892"/>
                  <a:gd name="connsiteX5" fmla="*/ 201112 w 331128"/>
                  <a:gd name="connsiteY5" fmla="*/ 120675 h 1479892"/>
                  <a:gd name="connsiteX6" fmla="*/ 268263 w 331128"/>
                  <a:gd name="connsiteY6" fmla="*/ 64001 h 1479892"/>
                  <a:gd name="connsiteX7" fmla="*/ 331128 w 331128"/>
                  <a:gd name="connsiteY7" fmla="*/ 224021 h 1479892"/>
                  <a:gd name="connsiteX8" fmla="*/ 270168 w 331128"/>
                  <a:gd name="connsiteY8" fmla="*/ 353561 h 1479892"/>
                  <a:gd name="connsiteX9" fmla="*/ 218733 w 331128"/>
                  <a:gd name="connsiteY9" fmla="*/ 1479892 h 1479892"/>
                  <a:gd name="connsiteX10" fmla="*/ 42679 w 331128"/>
                  <a:gd name="connsiteY10" fmla="*/ 1459255 h 1479892"/>
                  <a:gd name="connsiteX11" fmla="*/ 148248 w 331128"/>
                  <a:gd name="connsiteY11" fmla="*/ 384041 h 1479892"/>
                  <a:gd name="connsiteX0" fmla="*/ 148248 w 331128"/>
                  <a:gd name="connsiteY0" fmla="*/ 384041 h 1479892"/>
                  <a:gd name="connsiteX1" fmla="*/ 104433 w 331128"/>
                  <a:gd name="connsiteY1" fmla="*/ 302603 h 1479892"/>
                  <a:gd name="connsiteX2" fmla="*/ 96813 w 331128"/>
                  <a:gd name="connsiteY2" fmla="*/ 184968 h 1479892"/>
                  <a:gd name="connsiteX3" fmla="*/ 24423 w 331128"/>
                  <a:gd name="connsiteY3" fmla="*/ 139249 h 1479892"/>
                  <a:gd name="connsiteX4" fmla="*/ 157297 w 331128"/>
                  <a:gd name="connsiteY4" fmla="*/ 33521 h 1479892"/>
                  <a:gd name="connsiteX5" fmla="*/ 201112 w 331128"/>
                  <a:gd name="connsiteY5" fmla="*/ 120675 h 1479892"/>
                  <a:gd name="connsiteX6" fmla="*/ 268263 w 331128"/>
                  <a:gd name="connsiteY6" fmla="*/ 64001 h 1479892"/>
                  <a:gd name="connsiteX7" fmla="*/ 331128 w 331128"/>
                  <a:gd name="connsiteY7" fmla="*/ 224021 h 1479892"/>
                  <a:gd name="connsiteX8" fmla="*/ 270168 w 331128"/>
                  <a:gd name="connsiteY8" fmla="*/ 353561 h 1479892"/>
                  <a:gd name="connsiteX9" fmla="*/ 218733 w 331128"/>
                  <a:gd name="connsiteY9" fmla="*/ 1479892 h 1479892"/>
                  <a:gd name="connsiteX10" fmla="*/ 42679 w 331128"/>
                  <a:gd name="connsiteY10" fmla="*/ 1459255 h 1479892"/>
                  <a:gd name="connsiteX11" fmla="*/ 148248 w 331128"/>
                  <a:gd name="connsiteY11" fmla="*/ 384041 h 1479892"/>
                  <a:gd name="connsiteX0" fmla="*/ 148248 w 331128"/>
                  <a:gd name="connsiteY0" fmla="*/ 384041 h 1479892"/>
                  <a:gd name="connsiteX1" fmla="*/ 104433 w 331128"/>
                  <a:gd name="connsiteY1" fmla="*/ 302603 h 1479892"/>
                  <a:gd name="connsiteX2" fmla="*/ 96813 w 331128"/>
                  <a:gd name="connsiteY2" fmla="*/ 184968 h 1479892"/>
                  <a:gd name="connsiteX3" fmla="*/ 24423 w 331128"/>
                  <a:gd name="connsiteY3" fmla="*/ 139249 h 1479892"/>
                  <a:gd name="connsiteX4" fmla="*/ 157297 w 331128"/>
                  <a:gd name="connsiteY4" fmla="*/ 33521 h 1479892"/>
                  <a:gd name="connsiteX5" fmla="*/ 201112 w 331128"/>
                  <a:gd name="connsiteY5" fmla="*/ 120675 h 1479892"/>
                  <a:gd name="connsiteX6" fmla="*/ 268263 w 331128"/>
                  <a:gd name="connsiteY6" fmla="*/ 64001 h 1479892"/>
                  <a:gd name="connsiteX7" fmla="*/ 331128 w 331128"/>
                  <a:gd name="connsiteY7" fmla="*/ 224021 h 1479892"/>
                  <a:gd name="connsiteX8" fmla="*/ 270168 w 331128"/>
                  <a:gd name="connsiteY8" fmla="*/ 353561 h 1479892"/>
                  <a:gd name="connsiteX9" fmla="*/ 218733 w 331128"/>
                  <a:gd name="connsiteY9" fmla="*/ 1479892 h 1479892"/>
                  <a:gd name="connsiteX10" fmla="*/ 42679 w 331128"/>
                  <a:gd name="connsiteY10" fmla="*/ 1459255 h 1479892"/>
                  <a:gd name="connsiteX11" fmla="*/ 148248 w 331128"/>
                  <a:gd name="connsiteY11" fmla="*/ 384041 h 1479892"/>
                  <a:gd name="connsiteX0" fmla="*/ 148248 w 331128"/>
                  <a:gd name="connsiteY0" fmla="*/ 384041 h 1479892"/>
                  <a:gd name="connsiteX1" fmla="*/ 104433 w 331128"/>
                  <a:gd name="connsiteY1" fmla="*/ 302603 h 1479892"/>
                  <a:gd name="connsiteX2" fmla="*/ 96813 w 331128"/>
                  <a:gd name="connsiteY2" fmla="*/ 184968 h 1479892"/>
                  <a:gd name="connsiteX3" fmla="*/ 24423 w 331128"/>
                  <a:gd name="connsiteY3" fmla="*/ 139249 h 1479892"/>
                  <a:gd name="connsiteX4" fmla="*/ 157297 w 331128"/>
                  <a:gd name="connsiteY4" fmla="*/ 33521 h 1479892"/>
                  <a:gd name="connsiteX5" fmla="*/ 201112 w 331128"/>
                  <a:gd name="connsiteY5" fmla="*/ 120675 h 1479892"/>
                  <a:gd name="connsiteX6" fmla="*/ 268263 w 331128"/>
                  <a:gd name="connsiteY6" fmla="*/ 64001 h 1479892"/>
                  <a:gd name="connsiteX7" fmla="*/ 331128 w 331128"/>
                  <a:gd name="connsiteY7" fmla="*/ 224021 h 1479892"/>
                  <a:gd name="connsiteX8" fmla="*/ 270168 w 331128"/>
                  <a:gd name="connsiteY8" fmla="*/ 353561 h 1479892"/>
                  <a:gd name="connsiteX9" fmla="*/ 218733 w 331128"/>
                  <a:gd name="connsiteY9" fmla="*/ 1479892 h 1479892"/>
                  <a:gd name="connsiteX10" fmla="*/ 45060 w 331128"/>
                  <a:gd name="connsiteY10" fmla="*/ 1461636 h 1479892"/>
                  <a:gd name="connsiteX11" fmla="*/ 148248 w 331128"/>
                  <a:gd name="connsiteY11" fmla="*/ 384041 h 14798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31128" h="1479892">
                    <a:moveTo>
                      <a:pt x="148248" y="384041"/>
                    </a:moveTo>
                    <a:cubicBezTo>
                      <a:pt x="150073" y="331892"/>
                      <a:pt x="138247" y="374279"/>
                      <a:pt x="104433" y="302603"/>
                    </a:cubicBezTo>
                    <a:cubicBezTo>
                      <a:pt x="118908" y="251338"/>
                      <a:pt x="141421" y="237673"/>
                      <a:pt x="96813" y="184968"/>
                    </a:cubicBezTo>
                    <a:cubicBezTo>
                      <a:pt x="97289" y="155441"/>
                      <a:pt x="50141" y="175920"/>
                      <a:pt x="24423" y="139249"/>
                    </a:cubicBezTo>
                    <a:cubicBezTo>
                      <a:pt x="-59079" y="63526"/>
                      <a:pt x="93161" y="-59825"/>
                      <a:pt x="157297" y="33521"/>
                    </a:cubicBezTo>
                    <a:cubicBezTo>
                      <a:pt x="164759" y="102260"/>
                      <a:pt x="169838" y="111467"/>
                      <a:pt x="201112" y="120675"/>
                    </a:cubicBezTo>
                    <a:cubicBezTo>
                      <a:pt x="229052" y="118453"/>
                      <a:pt x="195078" y="63843"/>
                      <a:pt x="268263" y="64001"/>
                    </a:cubicBezTo>
                    <a:cubicBezTo>
                      <a:pt x="310649" y="110197"/>
                      <a:pt x="329223" y="165918"/>
                      <a:pt x="331128" y="224021"/>
                    </a:cubicBezTo>
                    <a:cubicBezTo>
                      <a:pt x="313189" y="276726"/>
                      <a:pt x="278582" y="288950"/>
                      <a:pt x="270168" y="353561"/>
                    </a:cubicBezTo>
                    <a:cubicBezTo>
                      <a:pt x="280805" y="682968"/>
                      <a:pt x="231909" y="1157629"/>
                      <a:pt x="218733" y="1479892"/>
                    </a:cubicBezTo>
                    <a:lnTo>
                      <a:pt x="45060" y="1461636"/>
                    </a:lnTo>
                    <a:cubicBezTo>
                      <a:pt x="46647" y="1372578"/>
                      <a:pt x="194285" y="1116037"/>
                      <a:pt x="148248" y="384041"/>
                    </a:cubicBezTo>
                    <a:close/>
                  </a:path>
                </a:pathLst>
              </a:custGeom>
              <a:solidFill>
                <a:schemeClr val="accent1">
                  <a:lumMod val="20000"/>
                  <a:lumOff val="80000"/>
                  <a:alpha val="60000"/>
                </a:schemeClr>
              </a:solidFill>
              <a:ln w="12700">
                <a:solidFill>
                  <a:schemeClr val="accent1"/>
                </a:solidFill>
              </a:ln>
              <a:effectLst>
                <a:glow rad="50800">
                  <a:srgbClr val="0081C6">
                    <a:alpha val="10000"/>
                  </a:srgbClr>
                </a:glow>
                <a:outerShdw blurRad="76200" dist="50800" dir="2700000" algn="tl" rotWithShape="0">
                  <a:schemeClr val="bg1">
                    <a:alpha val="7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50"/>
              </a:p>
            </p:txBody>
          </p:sp>
        </p:grpSp>
        <p:cxnSp>
          <p:nvCxnSpPr>
            <p:cNvPr id="54" name="Straight Arrow Connector 16">
              <a:extLst>
                <a:ext uri="{FF2B5EF4-FFF2-40B4-BE49-F238E27FC236}">
                  <a16:creationId xmlns:a16="http://schemas.microsoft.com/office/drawing/2014/main" id="{B28C3C94-70D9-4BD1-B411-8E46AD1D9391}"/>
                </a:ext>
              </a:extLst>
            </p:cNvPr>
            <p:cNvCxnSpPr>
              <a:cxnSpLocks/>
              <a:stCxn id="52" idx="1"/>
            </p:cNvCxnSpPr>
            <p:nvPr/>
          </p:nvCxnSpPr>
          <p:spPr>
            <a:xfrm flipH="1">
              <a:off x="5060263" y="3356718"/>
              <a:ext cx="1220314" cy="264643"/>
            </a:xfrm>
            <a:prstGeom prst="straightConnector1">
              <a:avLst/>
            </a:prstGeom>
            <a:ln w="38100">
              <a:solidFill>
                <a:schemeClr val="accent1">
                  <a:lumMod val="40000"/>
                  <a:lumOff val="60000"/>
                </a:schemeClr>
              </a:solidFill>
              <a:tailEnd type="triangle"/>
            </a:ln>
            <a:effectLst>
              <a:outerShdw blurRad="38100" dist="38100" dir="2700000" algn="tl" rotWithShape="0">
                <a:schemeClr val="bg1">
                  <a:alpha val="55000"/>
                </a:schemeClr>
              </a:outerShdw>
            </a:effectLst>
          </p:spPr>
          <p:style>
            <a:lnRef idx="1">
              <a:schemeClr val="accent1"/>
            </a:lnRef>
            <a:fillRef idx="0">
              <a:schemeClr val="accent1"/>
            </a:fillRef>
            <a:effectRef idx="0">
              <a:schemeClr val="accent1"/>
            </a:effectRef>
            <a:fontRef idx="minor">
              <a:schemeClr val="tx1"/>
            </a:fontRef>
          </p:style>
        </p:cxnSp>
        <p:sp>
          <p:nvSpPr>
            <p:cNvPr id="55" name="Rectangle 8">
              <a:extLst>
                <a:ext uri="{FF2B5EF4-FFF2-40B4-BE49-F238E27FC236}">
                  <a16:creationId xmlns:a16="http://schemas.microsoft.com/office/drawing/2014/main" id="{952F07EB-2288-492B-A083-0E46C7DF67BE}"/>
                </a:ext>
              </a:extLst>
            </p:cNvPr>
            <p:cNvSpPr>
              <a:spLocks noChangeArrowheads="1"/>
            </p:cNvSpPr>
            <p:nvPr/>
          </p:nvSpPr>
          <p:spPr bwMode="auto">
            <a:xfrm>
              <a:off x="6256457" y="759184"/>
              <a:ext cx="2440071" cy="708098"/>
            </a:xfrm>
            <a:prstGeom prst="roundRect">
              <a:avLst/>
            </a:prstGeom>
            <a:solidFill>
              <a:schemeClr val="accent1">
                <a:lumMod val="20000"/>
                <a:lumOff val="80000"/>
              </a:schemeClr>
            </a:solidFill>
            <a:ln w="19050">
              <a:solidFill>
                <a:schemeClr val="accent1">
                  <a:lumMod val="20000"/>
                  <a:lumOff val="8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anchor="ctr">
              <a:noAutofit/>
            </a:bodyPr>
            <a:lstStyle/>
            <a:p>
              <a:pPr algn="ctr"/>
              <a:r>
                <a:rPr lang="zh-CN" altLang="en-US" sz="1000" dirty="0">
                  <a:solidFill>
                    <a:srgbClr val="1A1918"/>
                  </a:solidFill>
                  <a:latin typeface="微软雅黑" panose="020B0503020204020204" pitchFamily="34" charset="-122"/>
                  <a:ea typeface="微软雅黑" panose="020B0503020204020204" pitchFamily="34" charset="-122"/>
                  <a:cs typeface="Arial" pitchFamily="34" charset="0"/>
                </a:rPr>
                <a:t>神经受损</a:t>
              </a:r>
              <a:endParaRPr lang="en-US" sz="1000" baseline="30000" dirty="0">
                <a:solidFill>
                  <a:srgbClr val="1A1918"/>
                </a:solidFill>
                <a:latin typeface="微软雅黑" panose="020B0503020204020204" pitchFamily="34" charset="-122"/>
                <a:ea typeface="微软雅黑" panose="020B0503020204020204" pitchFamily="34" charset="-122"/>
                <a:cs typeface="Arial" pitchFamily="34" charset="0"/>
              </a:endParaRPr>
            </a:p>
            <a:p>
              <a:pPr algn="ctr"/>
              <a:r>
                <a:rPr lang="en-US" sz="1000" dirty="0">
                  <a:solidFill>
                    <a:srgbClr val="1A1918"/>
                  </a:solidFill>
                  <a:latin typeface="微软雅黑" panose="020B0503020204020204" pitchFamily="34" charset="-122"/>
                  <a:ea typeface="微软雅黑" panose="020B0503020204020204" pitchFamily="34" charset="-122"/>
                  <a:cs typeface="Arial" pitchFamily="34" charset="0"/>
                </a:rPr>
                <a:t>(</a:t>
              </a:r>
              <a:r>
                <a:rPr lang="zh-CN" altLang="en-US" sz="1000" dirty="0">
                  <a:solidFill>
                    <a:srgbClr val="1A1918"/>
                  </a:solidFill>
                  <a:latin typeface="微软雅黑" panose="020B0503020204020204" pitchFamily="34" charset="-122"/>
                  <a:ea typeface="微软雅黑" panose="020B0503020204020204" pitchFamily="34" charset="-122"/>
                  <a:cs typeface="Arial" pitchFamily="34" charset="0"/>
                </a:rPr>
                <a:t>在特定疾病类型中</a:t>
              </a:r>
              <a:r>
                <a:rPr lang="en-US" sz="1000" dirty="0">
                  <a:solidFill>
                    <a:srgbClr val="1A1918"/>
                  </a:solidFill>
                  <a:latin typeface="微软雅黑" panose="020B0503020204020204" pitchFamily="34" charset="-122"/>
                  <a:ea typeface="微软雅黑" panose="020B0503020204020204" pitchFamily="34" charset="-122"/>
                  <a:cs typeface="Arial" pitchFamily="34" charset="0"/>
                </a:rPr>
                <a:t>)</a:t>
              </a:r>
              <a:endParaRPr lang="en-US" sz="1000" baseline="30000" dirty="0">
                <a:solidFill>
                  <a:srgbClr val="1A1918"/>
                </a:solidFill>
                <a:latin typeface="微软雅黑" panose="020B0503020204020204" pitchFamily="34" charset="-122"/>
                <a:ea typeface="微软雅黑" panose="020B0503020204020204" pitchFamily="34" charset="-122"/>
                <a:cs typeface="Arial" pitchFamily="34" charset="0"/>
              </a:endParaRPr>
            </a:p>
          </p:txBody>
        </p:sp>
        <p:cxnSp>
          <p:nvCxnSpPr>
            <p:cNvPr id="56" name="Straight Connector 25">
              <a:extLst>
                <a:ext uri="{FF2B5EF4-FFF2-40B4-BE49-F238E27FC236}">
                  <a16:creationId xmlns:a16="http://schemas.microsoft.com/office/drawing/2014/main" id="{9992E74A-55CA-447C-9213-039B8B457269}"/>
                </a:ext>
              </a:extLst>
            </p:cNvPr>
            <p:cNvCxnSpPr>
              <a:cxnSpLocks/>
              <a:stCxn id="55" idx="1"/>
            </p:cNvCxnSpPr>
            <p:nvPr/>
          </p:nvCxnSpPr>
          <p:spPr>
            <a:xfrm flipH="1">
              <a:off x="4853812" y="1113234"/>
              <a:ext cx="1402646" cy="17334"/>
            </a:xfrm>
            <a:prstGeom prst="line">
              <a:avLst/>
            </a:prstGeom>
            <a:ln w="38100">
              <a:solidFill>
                <a:schemeClr val="accent1">
                  <a:lumMod val="40000"/>
                  <a:lumOff val="60000"/>
                </a:schemeClr>
              </a:solidFill>
              <a:tailEnd type="triangle"/>
            </a:ln>
            <a:effectLst>
              <a:outerShdw blurRad="38100" dist="38100" dir="2700000" algn="tl" rotWithShape="0">
                <a:schemeClr val="bg1">
                  <a:alpha val="55000"/>
                </a:schemeClr>
              </a:outerShdw>
            </a:effectLst>
          </p:spPr>
          <p:style>
            <a:lnRef idx="1">
              <a:schemeClr val="accent1"/>
            </a:lnRef>
            <a:fillRef idx="0">
              <a:schemeClr val="accent1"/>
            </a:fillRef>
            <a:effectRef idx="0">
              <a:schemeClr val="accent1"/>
            </a:effectRef>
            <a:fontRef idx="minor">
              <a:schemeClr val="tx1"/>
            </a:fontRef>
          </p:style>
        </p:cxnSp>
        <p:sp>
          <p:nvSpPr>
            <p:cNvPr id="57" name="TextBox 37">
              <a:extLst>
                <a:ext uri="{FF2B5EF4-FFF2-40B4-BE49-F238E27FC236}">
                  <a16:creationId xmlns:a16="http://schemas.microsoft.com/office/drawing/2014/main" id="{2CA3EBBB-1EF3-4A49-9F9C-9A8E24B3CBAB}"/>
                </a:ext>
              </a:extLst>
            </p:cNvPr>
            <p:cNvSpPr txBox="1"/>
            <p:nvPr/>
          </p:nvSpPr>
          <p:spPr>
            <a:xfrm>
              <a:off x="1073987" y="2627615"/>
              <a:ext cx="1615183" cy="656089"/>
            </a:xfrm>
            <a:prstGeom prst="rect">
              <a:avLst/>
            </a:prstGeom>
            <a:noFill/>
          </p:spPr>
          <p:txBody>
            <a:bodyPr wrap="square" rtlCol="0">
              <a:spAutoFit/>
            </a:bodyPr>
            <a:lstStyle/>
            <a:p>
              <a:r>
                <a:rPr lang="zh-CN" altLang="en-US" sz="1050" b="1" dirty="0">
                  <a:solidFill>
                    <a:schemeClr val="accent2"/>
                  </a:solidFill>
                  <a:latin typeface="微软雅黑" panose="020B0503020204020204" pitchFamily="34" charset="-122"/>
                  <a:ea typeface="微软雅黑" panose="020B0503020204020204" pitchFamily="34" charset="-122"/>
                </a:rPr>
                <a:t>肝脾肿大</a:t>
              </a:r>
              <a:endParaRPr lang="en-GB" sz="1050" b="1" baseline="30000" dirty="0">
                <a:solidFill>
                  <a:schemeClr val="accent2"/>
                </a:solidFill>
                <a:latin typeface="微软雅黑" panose="020B0503020204020204" pitchFamily="34" charset="-122"/>
                <a:ea typeface="微软雅黑" panose="020B0503020204020204" pitchFamily="34" charset="-122"/>
              </a:endParaRPr>
            </a:p>
            <a:p>
              <a:r>
                <a:rPr lang="en-GB" sz="1050" b="1" dirty="0">
                  <a:solidFill>
                    <a:schemeClr val="accent2"/>
                  </a:solidFill>
                  <a:latin typeface="微软雅黑" panose="020B0503020204020204" pitchFamily="34" charset="-122"/>
                  <a:ea typeface="微软雅黑" panose="020B0503020204020204" pitchFamily="34" charset="-122"/>
                </a:rPr>
                <a:t> </a:t>
              </a:r>
            </a:p>
          </p:txBody>
        </p:sp>
        <p:cxnSp>
          <p:nvCxnSpPr>
            <p:cNvPr id="43" name="Straight Connector 11">
              <a:extLst>
                <a:ext uri="{FF2B5EF4-FFF2-40B4-BE49-F238E27FC236}">
                  <a16:creationId xmlns:a16="http://schemas.microsoft.com/office/drawing/2014/main" id="{4E801F2D-73CD-4366-B259-0A78F95B643E}"/>
                </a:ext>
              </a:extLst>
            </p:cNvPr>
            <p:cNvCxnSpPr>
              <a:cxnSpLocks/>
              <a:stCxn id="48" idx="3"/>
              <a:endCxn id="59" idx="1"/>
            </p:cNvCxnSpPr>
            <p:nvPr/>
          </p:nvCxnSpPr>
          <p:spPr>
            <a:xfrm>
              <a:off x="2860431" y="1219576"/>
              <a:ext cx="1489184" cy="666737"/>
            </a:xfrm>
            <a:prstGeom prst="line">
              <a:avLst/>
            </a:prstGeom>
            <a:ln w="38100">
              <a:solidFill>
                <a:schemeClr val="accent1">
                  <a:lumMod val="40000"/>
                  <a:lumOff val="60000"/>
                </a:schemeClr>
              </a:solidFill>
              <a:tailEnd type="triangle"/>
            </a:ln>
            <a:effectLst>
              <a:outerShdw blurRad="38100" dist="38100" dir="2700000" algn="tl" rotWithShape="0">
                <a:schemeClr val="bg1">
                  <a:alpha val="55000"/>
                </a:schemeClr>
              </a:outerShdw>
            </a:effectLst>
          </p:spPr>
          <p:style>
            <a:lnRef idx="1">
              <a:schemeClr val="accent1"/>
            </a:lnRef>
            <a:fillRef idx="0">
              <a:schemeClr val="accent1"/>
            </a:fillRef>
            <a:effectRef idx="0">
              <a:schemeClr val="accent1"/>
            </a:effectRef>
            <a:fontRef idx="minor">
              <a:schemeClr val="tx1"/>
            </a:fontRef>
          </p:style>
        </p:cxnSp>
        <p:cxnSp>
          <p:nvCxnSpPr>
            <p:cNvPr id="44" name="Straight Arrow Connector 12">
              <a:extLst>
                <a:ext uri="{FF2B5EF4-FFF2-40B4-BE49-F238E27FC236}">
                  <a16:creationId xmlns:a16="http://schemas.microsoft.com/office/drawing/2014/main" id="{EDCEABF5-C81C-47CE-878C-17BAD6A81870}"/>
                </a:ext>
              </a:extLst>
            </p:cNvPr>
            <p:cNvCxnSpPr>
              <a:cxnSpLocks/>
              <a:stCxn id="50" idx="3"/>
            </p:cNvCxnSpPr>
            <p:nvPr/>
          </p:nvCxnSpPr>
          <p:spPr>
            <a:xfrm>
              <a:off x="2876458" y="2269849"/>
              <a:ext cx="1608134" cy="61434"/>
            </a:xfrm>
            <a:prstGeom prst="straightConnector1">
              <a:avLst/>
            </a:prstGeom>
            <a:ln w="38100">
              <a:solidFill>
                <a:schemeClr val="accent1">
                  <a:lumMod val="40000"/>
                  <a:lumOff val="60000"/>
                </a:schemeClr>
              </a:solidFill>
              <a:tailEnd type="triangle"/>
            </a:ln>
            <a:effectLst>
              <a:outerShdw blurRad="38100" dist="38100" dir="2700000" algn="tl" rotWithShape="0">
                <a:schemeClr val="bg1">
                  <a:alpha val="55000"/>
                </a:schemeClr>
              </a:outerShdw>
            </a:effectLst>
          </p:spPr>
          <p:style>
            <a:lnRef idx="1">
              <a:schemeClr val="accent1"/>
            </a:lnRef>
            <a:fillRef idx="0">
              <a:schemeClr val="accent1"/>
            </a:fillRef>
            <a:effectRef idx="0">
              <a:schemeClr val="accent1"/>
            </a:effectRef>
            <a:fontRef idx="minor">
              <a:schemeClr val="tx1"/>
            </a:fontRef>
          </p:style>
        </p:cxnSp>
        <p:cxnSp>
          <p:nvCxnSpPr>
            <p:cNvPr id="45" name="Straight Arrow Connector 13">
              <a:extLst>
                <a:ext uri="{FF2B5EF4-FFF2-40B4-BE49-F238E27FC236}">
                  <a16:creationId xmlns:a16="http://schemas.microsoft.com/office/drawing/2014/main" id="{A9BB4A6A-AA46-4915-8CB3-CC5A41F17230}"/>
                </a:ext>
              </a:extLst>
            </p:cNvPr>
            <p:cNvCxnSpPr>
              <a:cxnSpLocks/>
              <a:stCxn id="51" idx="3"/>
            </p:cNvCxnSpPr>
            <p:nvPr/>
          </p:nvCxnSpPr>
          <p:spPr>
            <a:xfrm flipV="1">
              <a:off x="2876458" y="2406133"/>
              <a:ext cx="1977354" cy="1039240"/>
            </a:xfrm>
            <a:prstGeom prst="straightConnector1">
              <a:avLst/>
            </a:prstGeom>
            <a:ln w="38100">
              <a:solidFill>
                <a:schemeClr val="accent1">
                  <a:lumMod val="40000"/>
                  <a:lumOff val="60000"/>
                </a:schemeClr>
              </a:solidFill>
              <a:tailEnd type="triangle"/>
            </a:ln>
            <a:effectLst>
              <a:outerShdw blurRad="38100" dist="38100" dir="2700000" algn="tl" rotWithShape="0">
                <a:schemeClr val="bg1">
                  <a:alpha val="55000"/>
                </a:schemeClr>
              </a:outerShdw>
            </a:effectLst>
          </p:spPr>
          <p:style>
            <a:lnRef idx="1">
              <a:schemeClr val="accent1"/>
            </a:lnRef>
            <a:fillRef idx="0">
              <a:schemeClr val="accent1"/>
            </a:fillRef>
            <a:effectRef idx="0">
              <a:schemeClr val="accent1"/>
            </a:effectRef>
            <a:fontRef idx="minor">
              <a:schemeClr val="tx1"/>
            </a:fontRef>
          </p:style>
        </p:cxnSp>
        <p:cxnSp>
          <p:nvCxnSpPr>
            <p:cNvPr id="46" name="Straight Arrow Connector 14">
              <a:extLst>
                <a:ext uri="{FF2B5EF4-FFF2-40B4-BE49-F238E27FC236}">
                  <a16:creationId xmlns:a16="http://schemas.microsoft.com/office/drawing/2014/main" id="{835DC122-C94E-400B-96B1-3B042EC916DC}"/>
                </a:ext>
              </a:extLst>
            </p:cNvPr>
            <p:cNvCxnSpPr>
              <a:cxnSpLocks/>
              <a:stCxn id="49" idx="1"/>
              <a:endCxn id="61" idx="1"/>
            </p:cNvCxnSpPr>
            <p:nvPr/>
          </p:nvCxnSpPr>
          <p:spPr>
            <a:xfrm flipH="1">
              <a:off x="5060263" y="2170015"/>
              <a:ext cx="1220315" cy="221446"/>
            </a:xfrm>
            <a:prstGeom prst="straightConnector1">
              <a:avLst/>
            </a:prstGeom>
            <a:ln w="38100">
              <a:solidFill>
                <a:schemeClr val="accent1">
                  <a:lumMod val="40000"/>
                  <a:lumOff val="60000"/>
                </a:schemeClr>
              </a:solidFill>
              <a:tailEnd type="triangle"/>
            </a:ln>
            <a:effectLst>
              <a:outerShdw blurRad="38100" dist="38100" dir="2700000" algn="tl" rotWithShape="0">
                <a:schemeClr val="bg1">
                  <a:alpha val="55000"/>
                </a:schemeClr>
              </a:outerShdw>
            </a:effectLst>
          </p:spPr>
          <p:style>
            <a:lnRef idx="1">
              <a:schemeClr val="accent1"/>
            </a:lnRef>
            <a:fillRef idx="0">
              <a:schemeClr val="accent1"/>
            </a:fillRef>
            <a:effectRef idx="0">
              <a:schemeClr val="accent1"/>
            </a:effectRef>
            <a:fontRef idx="minor">
              <a:schemeClr val="tx1"/>
            </a:fontRef>
          </p:style>
        </p:cxnSp>
        <p:cxnSp>
          <p:nvCxnSpPr>
            <p:cNvPr id="47" name="Straight Arrow Connector 15">
              <a:extLst>
                <a:ext uri="{FF2B5EF4-FFF2-40B4-BE49-F238E27FC236}">
                  <a16:creationId xmlns:a16="http://schemas.microsoft.com/office/drawing/2014/main" id="{A613694D-88BF-4246-8FAA-173AA80F621B}"/>
                </a:ext>
              </a:extLst>
            </p:cNvPr>
            <p:cNvCxnSpPr>
              <a:cxnSpLocks/>
              <a:stCxn id="49" idx="1"/>
              <a:endCxn id="62" idx="3"/>
            </p:cNvCxnSpPr>
            <p:nvPr/>
          </p:nvCxnSpPr>
          <p:spPr>
            <a:xfrm flipH="1">
              <a:off x="5434839" y="2170015"/>
              <a:ext cx="845740" cy="569413"/>
            </a:xfrm>
            <a:prstGeom prst="straightConnector1">
              <a:avLst/>
            </a:prstGeom>
            <a:ln w="38100">
              <a:solidFill>
                <a:schemeClr val="accent1">
                  <a:lumMod val="40000"/>
                  <a:lumOff val="60000"/>
                </a:schemeClr>
              </a:solidFill>
              <a:tailEnd type="triangle"/>
            </a:ln>
            <a:effectLst>
              <a:outerShdw blurRad="38100" dist="38100" dir="2700000" algn="tl" rotWithShape="0">
                <a:schemeClr val="bg1">
                  <a:alpha val="55000"/>
                </a:schemeClr>
              </a:outerShdw>
            </a:effectLst>
          </p:spPr>
          <p:style>
            <a:lnRef idx="1">
              <a:schemeClr val="accent1"/>
            </a:lnRef>
            <a:fillRef idx="0">
              <a:schemeClr val="accent1"/>
            </a:fillRef>
            <a:effectRef idx="0">
              <a:schemeClr val="accent1"/>
            </a:effectRef>
            <a:fontRef idx="minor">
              <a:schemeClr val="tx1"/>
            </a:fontRef>
          </p:style>
        </p:cxnSp>
      </p:grpSp>
      <p:sp>
        <p:nvSpPr>
          <p:cNvPr id="39" name="文本框 38">
            <a:extLst>
              <a:ext uri="{FF2B5EF4-FFF2-40B4-BE49-F238E27FC236}">
                <a16:creationId xmlns:a16="http://schemas.microsoft.com/office/drawing/2014/main" id="{B98ABDA0-B090-49FB-9C77-38148B03D12F}"/>
              </a:ext>
            </a:extLst>
          </p:cNvPr>
          <p:cNvSpPr txBox="1"/>
          <p:nvPr/>
        </p:nvSpPr>
        <p:spPr>
          <a:xfrm>
            <a:off x="6465094" y="4307909"/>
            <a:ext cx="5218997" cy="1993238"/>
          </a:xfrm>
          <a:prstGeom prst="rect">
            <a:avLst/>
          </a:prstGeom>
          <a:noFill/>
        </p:spPr>
        <p:txBody>
          <a:bodyPr wrap="square">
            <a:spAutoFit/>
          </a:bodyPr>
          <a:lstStyle/>
          <a:p>
            <a:pPr marL="171450" indent="-171450">
              <a:lnSpc>
                <a:spcPct val="150000"/>
              </a:lnSpc>
              <a:buFont typeface="Arial" panose="020B0604020202020204" pitchFamily="34" charset="0"/>
              <a:buChar char="•"/>
            </a:pPr>
            <a:r>
              <a:rPr kumimoji="1" lang="zh-CN" altLang="en-US" sz="1400" b="1" dirty="0">
                <a:solidFill>
                  <a:srgbClr val="1A1918"/>
                </a:solidFill>
                <a:latin typeface="微软雅黑" panose="020B0503020204020204" pitchFamily="34" charset="-122"/>
                <a:ea typeface="微软雅黑" panose="020B0503020204020204" pitchFamily="34" charset="-122"/>
              </a:rPr>
              <a:t>内脏受累</a:t>
            </a:r>
            <a:r>
              <a:rPr kumimoji="1" lang="zh-CN" altLang="en-US" sz="1400" dirty="0">
                <a:solidFill>
                  <a:srgbClr val="1A1918"/>
                </a:solidFill>
                <a:latin typeface="微软雅黑" panose="020B0503020204020204" pitchFamily="34" charset="-122"/>
                <a:ea typeface="微软雅黑" panose="020B0503020204020204" pitchFamily="34" charset="-122"/>
              </a:rPr>
              <a:t>主要表现为肝脾肿大，尤以脾肿大显著（</a:t>
            </a:r>
            <a:r>
              <a:rPr kumimoji="1" lang="en-US" altLang="zh-CN" sz="1400" dirty="0">
                <a:solidFill>
                  <a:srgbClr val="1A1918"/>
                </a:solidFill>
                <a:latin typeface="微软雅黑" panose="020B0503020204020204" pitchFamily="34" charset="-122"/>
                <a:ea typeface="微软雅黑" panose="020B0503020204020204" pitchFamily="34" charset="-122"/>
              </a:rPr>
              <a:t>5-15</a:t>
            </a:r>
            <a:r>
              <a:rPr kumimoji="1" lang="zh-CN" altLang="en-US" sz="1400" dirty="0">
                <a:solidFill>
                  <a:srgbClr val="1A1918"/>
                </a:solidFill>
                <a:latin typeface="微软雅黑" panose="020B0503020204020204" pitchFamily="34" charset="-122"/>
                <a:ea typeface="微软雅黑" panose="020B0503020204020204" pitchFamily="34" charset="-122"/>
              </a:rPr>
              <a:t>倍），常伴脾功能亢进，甚至出现脾梗死、脾破裂等</a:t>
            </a:r>
            <a:endParaRPr kumimoji="1" lang="en-US" altLang="zh-CN" sz="1400" dirty="0">
              <a:solidFill>
                <a:srgbClr val="1A1918"/>
              </a:solidFill>
              <a:latin typeface="微软雅黑" panose="020B0503020204020204" pitchFamily="34" charset="-122"/>
              <a:ea typeface="微软雅黑" panose="020B0503020204020204" pitchFamily="34" charset="-122"/>
            </a:endParaRPr>
          </a:p>
          <a:p>
            <a:pPr marL="171450" indent="-171450">
              <a:lnSpc>
                <a:spcPct val="150000"/>
              </a:lnSpc>
              <a:buFont typeface="Arial" panose="020B0604020202020204" pitchFamily="34" charset="0"/>
              <a:buChar char="•"/>
            </a:pPr>
            <a:r>
              <a:rPr kumimoji="1" lang="zh-CN" altLang="en-US" sz="1400" b="1" dirty="0">
                <a:solidFill>
                  <a:srgbClr val="1A1918"/>
                </a:solidFill>
                <a:latin typeface="微软雅黑" panose="020B0503020204020204" pitchFamily="34" charset="-122"/>
                <a:ea typeface="微软雅黑" panose="020B0503020204020204" pitchFamily="34" charset="-122"/>
              </a:rPr>
              <a:t>血液系统</a:t>
            </a:r>
            <a:r>
              <a:rPr kumimoji="1" lang="zh-CN" altLang="en-US" sz="1400" dirty="0">
                <a:solidFill>
                  <a:srgbClr val="1A1918"/>
                </a:solidFill>
                <a:latin typeface="微软雅黑" panose="020B0503020204020204" pitchFamily="34" charset="-122"/>
                <a:ea typeface="微软雅黑" panose="020B0503020204020204" pitchFamily="34" charset="-122"/>
              </a:rPr>
              <a:t>受累主要表现为血小板减少和贫血</a:t>
            </a:r>
            <a:endParaRPr kumimoji="1" lang="en-US" altLang="zh-CN" sz="1400" dirty="0">
              <a:solidFill>
                <a:srgbClr val="1A1918"/>
              </a:solidFill>
              <a:latin typeface="微软雅黑" panose="020B0503020204020204" pitchFamily="34" charset="-122"/>
              <a:ea typeface="微软雅黑" panose="020B0503020204020204" pitchFamily="34" charset="-122"/>
            </a:endParaRPr>
          </a:p>
          <a:p>
            <a:pPr marL="171450" indent="-171450">
              <a:lnSpc>
                <a:spcPct val="150000"/>
              </a:lnSpc>
              <a:buFont typeface="Arial" panose="020B0604020202020204" pitchFamily="34" charset="0"/>
              <a:buChar char="•"/>
            </a:pPr>
            <a:r>
              <a:rPr kumimoji="1" lang="zh-CN" altLang="en-US" sz="1400" b="1" dirty="0">
                <a:solidFill>
                  <a:srgbClr val="1A1918"/>
                </a:solidFill>
                <a:latin typeface="微软雅黑" panose="020B0503020204020204" pitchFamily="34" charset="-122"/>
                <a:ea typeface="微软雅黑" panose="020B0503020204020204" pitchFamily="34" charset="-122"/>
              </a:rPr>
              <a:t>多数患者有骨骼受累</a:t>
            </a:r>
            <a:r>
              <a:rPr kumimoji="1" lang="zh-CN" altLang="en-US" sz="1400" dirty="0">
                <a:solidFill>
                  <a:srgbClr val="1A1918"/>
                </a:solidFill>
                <a:latin typeface="微软雅黑" panose="020B0503020204020204" pitchFamily="34" charset="-122"/>
                <a:ea typeface="微软雅黑" panose="020B0503020204020204" pitchFamily="34" charset="-122"/>
              </a:rPr>
              <a:t>，患者常有急性或慢性弥漫性骨痛，严重者可出现骨坏死、骨危象</a:t>
            </a:r>
            <a:endParaRPr kumimoji="1" lang="en-US" altLang="zh-CN" sz="1400" dirty="0">
              <a:solidFill>
                <a:srgbClr val="1A1918"/>
              </a:solidFill>
              <a:latin typeface="微软雅黑" panose="020B0503020204020204" pitchFamily="34" charset="-122"/>
              <a:ea typeface="微软雅黑" panose="020B0503020204020204" pitchFamily="34" charset="-122"/>
            </a:endParaRPr>
          </a:p>
          <a:p>
            <a:pPr marL="171450" indent="-171450">
              <a:lnSpc>
                <a:spcPct val="150000"/>
              </a:lnSpc>
              <a:buFont typeface="Arial" panose="020B0604020202020204" pitchFamily="34" charset="0"/>
              <a:buChar char="•"/>
            </a:pPr>
            <a:r>
              <a:rPr kumimoji="1" lang="zh-CN" altLang="en-US" sz="1400" b="1" dirty="0">
                <a:solidFill>
                  <a:srgbClr val="1A1918"/>
                </a:solidFill>
                <a:latin typeface="微软雅黑" panose="020B0503020204020204" pitchFamily="34" charset="-122"/>
                <a:ea typeface="微软雅黑" panose="020B0503020204020204" pitchFamily="34" charset="-122"/>
              </a:rPr>
              <a:t>生长发育迟缓：</a:t>
            </a:r>
            <a:r>
              <a:rPr kumimoji="1" lang="en-US" altLang="zh-CN" sz="1400" dirty="0">
                <a:solidFill>
                  <a:srgbClr val="1A1918"/>
                </a:solidFill>
                <a:latin typeface="微软雅黑" panose="020B0503020204020204" pitchFamily="34" charset="-122"/>
                <a:ea typeface="微软雅黑" panose="020B0503020204020204" pitchFamily="34" charset="-122"/>
              </a:rPr>
              <a:t>61.2%</a:t>
            </a:r>
            <a:r>
              <a:rPr kumimoji="1" lang="zh-CN" altLang="en-US" sz="1400" dirty="0">
                <a:solidFill>
                  <a:srgbClr val="1A1918"/>
                </a:solidFill>
                <a:latin typeface="微软雅黑" panose="020B0503020204020204" pitchFamily="34" charset="-122"/>
                <a:ea typeface="微软雅黑" panose="020B0503020204020204" pitchFamily="34" charset="-122"/>
              </a:rPr>
              <a:t>的患者出现生长发育落后的症状</a:t>
            </a:r>
            <a:endParaRPr kumimoji="1" lang="en-US" altLang="zh-CN" sz="1400" dirty="0">
              <a:solidFill>
                <a:srgbClr val="1A1918"/>
              </a:solidFill>
              <a:latin typeface="微软雅黑" panose="020B0503020204020204" pitchFamily="34" charset="-122"/>
              <a:ea typeface="微软雅黑" panose="020B0503020204020204" pitchFamily="34" charset="-122"/>
            </a:endParaRPr>
          </a:p>
        </p:txBody>
      </p:sp>
      <p:sp>
        <p:nvSpPr>
          <p:cNvPr id="64" name="文本框 63">
            <a:extLst>
              <a:ext uri="{FF2B5EF4-FFF2-40B4-BE49-F238E27FC236}">
                <a16:creationId xmlns:a16="http://schemas.microsoft.com/office/drawing/2014/main" id="{4BC56F7D-3BCB-4571-A4AB-C1CCD5CBF7A9}"/>
              </a:ext>
            </a:extLst>
          </p:cNvPr>
          <p:cNvSpPr txBox="1"/>
          <p:nvPr/>
        </p:nvSpPr>
        <p:spPr>
          <a:xfrm>
            <a:off x="547400" y="6475979"/>
            <a:ext cx="11246007" cy="276999"/>
          </a:xfrm>
          <a:prstGeom prst="rect">
            <a:avLst/>
          </a:prstGeom>
          <a:noFill/>
        </p:spPr>
        <p:txBody>
          <a:bodyPr wrap="square">
            <a:spAutoFit/>
          </a:bodyPr>
          <a:lstStyle/>
          <a:p>
            <a:r>
              <a:rPr lang="zh-CN" altLang="en-US" sz="600" dirty="0">
                <a:latin typeface="微软雅黑" panose="020B0503020204020204" pitchFamily="34" charset="-122"/>
                <a:ea typeface="微软雅黑" panose="020B0503020204020204" pitchFamily="34" charset="-122"/>
              </a:rPr>
              <a:t>参考文献：</a:t>
            </a:r>
            <a:r>
              <a:rPr lang="en-US" sz="600" dirty="0">
                <a:latin typeface="微软雅黑" panose="020B0503020204020204" pitchFamily="34" charset="-122"/>
                <a:ea typeface="微软雅黑" panose="020B0503020204020204" pitchFamily="34" charset="-122"/>
              </a:rPr>
              <a:t>1.</a:t>
            </a:r>
            <a:r>
              <a:rPr lang="zh-CN" altLang="en-US" sz="600" dirty="0">
                <a:latin typeface="微软雅黑" panose="020B0503020204020204" pitchFamily="34" charset="-122"/>
                <a:ea typeface="微软雅黑" panose="020B0503020204020204" pitchFamily="34" charset="-122"/>
              </a:rPr>
              <a:t>中国成人戈谢病诊治专家共识</a:t>
            </a:r>
            <a:r>
              <a:rPr lang="en-US" altLang="zh-CN" sz="600" dirty="0">
                <a:latin typeface="微软雅黑" panose="020B0503020204020204" pitchFamily="34" charset="-122"/>
                <a:ea typeface="微软雅黑" panose="020B0503020204020204" pitchFamily="34" charset="-122"/>
              </a:rPr>
              <a:t>(2020)[J].</a:t>
            </a:r>
            <a:r>
              <a:rPr lang="zh-CN" altLang="en-US" sz="600" dirty="0">
                <a:latin typeface="微软雅黑" panose="020B0503020204020204" pitchFamily="34" charset="-122"/>
                <a:ea typeface="微软雅黑" panose="020B0503020204020204" pitchFamily="34" charset="-122"/>
              </a:rPr>
              <a:t>中华医学杂志</a:t>
            </a:r>
            <a:r>
              <a:rPr lang="en-US" altLang="zh-CN" sz="600" dirty="0">
                <a:latin typeface="微软雅黑" panose="020B0503020204020204" pitchFamily="34" charset="-122"/>
                <a:ea typeface="微软雅黑" panose="020B0503020204020204" pitchFamily="34" charset="-122"/>
              </a:rPr>
              <a:t>,2020,100(24):1841-1849.</a:t>
            </a:r>
            <a:r>
              <a:rPr lang="zh-CN" altLang="en-US" sz="600" dirty="0">
                <a:latin typeface="微软雅黑" panose="020B0503020204020204" pitchFamily="34" charset="-122"/>
                <a:ea typeface="微软雅黑" panose="020B0503020204020204" pitchFamily="34" charset="-122"/>
              </a:rPr>
              <a:t>；</a:t>
            </a:r>
            <a:r>
              <a:rPr lang="en-US" altLang="zh-CN" sz="600" dirty="0">
                <a:latin typeface="微软雅黑" panose="020B0503020204020204" pitchFamily="34" charset="-122"/>
                <a:ea typeface="微软雅黑" panose="020B0503020204020204" pitchFamily="34" charset="-122"/>
              </a:rPr>
              <a:t> 2.</a:t>
            </a:r>
            <a:r>
              <a:rPr lang="zh-CN" altLang="en-US" sz="600" dirty="0">
                <a:latin typeface="微软雅黑" panose="020B0503020204020204" pitchFamily="34" charset="-122"/>
                <a:ea typeface="微软雅黑" panose="020B0503020204020204" pitchFamily="34" charset="-122"/>
              </a:rPr>
              <a:t>中国罕见病医疗保障城市报告</a:t>
            </a:r>
            <a:r>
              <a:rPr lang="en-US" altLang="zh-CN" sz="600" dirty="0">
                <a:latin typeface="微软雅黑" panose="020B0503020204020204" pitchFamily="34" charset="-122"/>
                <a:ea typeface="微软雅黑" panose="020B0503020204020204" pitchFamily="34" charset="-122"/>
              </a:rPr>
              <a:t>2020, IQVIA and CORD 3. </a:t>
            </a:r>
            <a:r>
              <a:rPr lang="zh-CN" altLang="en-US" sz="600" dirty="0">
                <a:latin typeface="微软雅黑" panose="020B0503020204020204" pitchFamily="34" charset="-122"/>
                <a:ea typeface="微软雅黑" panose="020B0503020204020204" pitchFamily="34" charset="-122"/>
              </a:rPr>
              <a:t>中国戈谢病诊治专家共识</a:t>
            </a:r>
            <a:r>
              <a:rPr lang="en-US" altLang="zh-CN" sz="600" dirty="0">
                <a:latin typeface="微软雅黑" panose="020B0503020204020204" pitchFamily="34" charset="-122"/>
                <a:ea typeface="微软雅黑" panose="020B0503020204020204" pitchFamily="34" charset="-122"/>
              </a:rPr>
              <a:t>(2015)[J].</a:t>
            </a:r>
            <a:r>
              <a:rPr lang="zh-CN" altLang="en-US" sz="600" dirty="0">
                <a:latin typeface="微软雅黑" panose="020B0503020204020204" pitchFamily="34" charset="-122"/>
                <a:ea typeface="微软雅黑" panose="020B0503020204020204" pitchFamily="34" charset="-122"/>
              </a:rPr>
              <a:t>中华儿科杂志</a:t>
            </a:r>
            <a:r>
              <a:rPr lang="en-US" altLang="zh-CN" sz="600" dirty="0">
                <a:latin typeface="微软雅黑" panose="020B0503020204020204" pitchFamily="34" charset="-122"/>
                <a:ea typeface="微软雅黑" panose="020B0503020204020204" pitchFamily="34" charset="-122"/>
              </a:rPr>
              <a:t>,2015,53(04):256-261.</a:t>
            </a:r>
            <a:r>
              <a:rPr lang="zh-CN" altLang="en-US" sz="600" dirty="0">
                <a:latin typeface="微软雅黑" panose="020B0503020204020204" pitchFamily="34" charset="-122"/>
                <a:ea typeface="微软雅黑" panose="020B0503020204020204" pitchFamily="34" charset="-122"/>
              </a:rPr>
              <a:t>；</a:t>
            </a:r>
            <a:r>
              <a:rPr lang="en-US" altLang="zh-CN" sz="600" dirty="0">
                <a:latin typeface="微软雅黑" panose="020B0503020204020204" pitchFamily="34" charset="-122"/>
                <a:ea typeface="微软雅黑" panose="020B0503020204020204" pitchFamily="34" charset="-122"/>
              </a:rPr>
              <a:t>4. 2019</a:t>
            </a:r>
            <a:r>
              <a:rPr lang="zh-CN" altLang="en-US" sz="600" dirty="0">
                <a:latin typeface="微软雅黑" panose="020B0503020204020204" pitchFamily="34" charset="-122"/>
                <a:ea typeface="微软雅黑" panose="020B0503020204020204" pitchFamily="34" charset="-122"/>
              </a:rPr>
              <a:t>中国戈谢病患者综合社会调查；；</a:t>
            </a:r>
            <a:r>
              <a:rPr lang="en-US" altLang="zh-CN" sz="600" dirty="0">
                <a:latin typeface="微软雅黑" panose="020B0503020204020204" pitchFamily="34" charset="-122"/>
                <a:ea typeface="微软雅黑" panose="020B0503020204020204" pitchFamily="34" charset="-122"/>
              </a:rPr>
              <a:t>5. Mistry PK, Deegan P, </a:t>
            </a:r>
            <a:r>
              <a:rPr lang="en-US" altLang="zh-CN" sz="600" dirty="0" err="1">
                <a:latin typeface="微软雅黑" panose="020B0503020204020204" pitchFamily="34" charset="-122"/>
                <a:ea typeface="微软雅黑" panose="020B0503020204020204" pitchFamily="34" charset="-122"/>
              </a:rPr>
              <a:t>VellodiA</a:t>
            </a:r>
            <a:r>
              <a:rPr lang="en-US" altLang="zh-CN" sz="600" dirty="0">
                <a:latin typeface="微软雅黑" panose="020B0503020204020204" pitchFamily="34" charset="-122"/>
                <a:ea typeface="微软雅黑" panose="020B0503020204020204" pitchFamily="34" charset="-122"/>
              </a:rPr>
              <a:t>, et al. Br J </a:t>
            </a:r>
            <a:r>
              <a:rPr lang="en-US" altLang="zh-CN" sz="600" dirty="0" err="1">
                <a:latin typeface="微软雅黑" panose="020B0503020204020204" pitchFamily="34" charset="-122"/>
                <a:ea typeface="微软雅黑" panose="020B0503020204020204" pitchFamily="34" charset="-122"/>
              </a:rPr>
              <a:t>Haematol</a:t>
            </a:r>
            <a:r>
              <a:rPr lang="en-US" altLang="zh-CN" sz="600" dirty="0">
                <a:latin typeface="微软雅黑" panose="020B0503020204020204" pitchFamily="34" charset="-122"/>
                <a:ea typeface="微软雅黑" panose="020B0503020204020204" pitchFamily="34" charset="-122"/>
              </a:rPr>
              <a:t>. 2009;147(4):561-570.</a:t>
            </a:r>
            <a:r>
              <a:rPr lang="zh-CN" altLang="en-US" sz="600" dirty="0">
                <a:latin typeface="微软雅黑" panose="020B0503020204020204" pitchFamily="34" charset="-122"/>
                <a:ea typeface="微软雅黑" panose="020B0503020204020204" pitchFamily="34" charset="-122"/>
              </a:rPr>
              <a:t>；</a:t>
            </a:r>
            <a:r>
              <a:rPr lang="en-US" altLang="zh-CN" sz="600" dirty="0">
                <a:latin typeface="微软雅黑" panose="020B0503020204020204" pitchFamily="34" charset="-122"/>
                <a:ea typeface="微软雅黑" panose="020B0503020204020204" pitchFamily="34" charset="-122"/>
              </a:rPr>
              <a:t>6. </a:t>
            </a:r>
            <a:r>
              <a:rPr lang="en-US" altLang="zh-CN" sz="600" dirty="0" err="1">
                <a:latin typeface="微软雅黑" panose="020B0503020204020204" pitchFamily="34" charset="-122"/>
                <a:ea typeface="微软雅黑" panose="020B0503020204020204" pitchFamily="34" charset="-122"/>
              </a:rPr>
              <a:t>WeinrebNJ</a:t>
            </a:r>
            <a:r>
              <a:rPr lang="en-US" altLang="zh-CN" sz="600" dirty="0">
                <a:latin typeface="微软雅黑" panose="020B0503020204020204" pitchFamily="34" charset="-122"/>
                <a:ea typeface="微软雅黑" panose="020B0503020204020204" pitchFamily="34" charset="-122"/>
              </a:rPr>
              <a:t>, Deegan P, </a:t>
            </a:r>
            <a:r>
              <a:rPr lang="en-US" altLang="zh-CN" sz="600" dirty="0" err="1">
                <a:latin typeface="微软雅黑" panose="020B0503020204020204" pitchFamily="34" charset="-122"/>
                <a:ea typeface="微软雅黑" panose="020B0503020204020204" pitchFamily="34" charset="-122"/>
              </a:rPr>
              <a:t>KacenaKA</a:t>
            </a:r>
            <a:r>
              <a:rPr lang="en-US" altLang="zh-CN" sz="600" dirty="0">
                <a:latin typeface="微软雅黑" panose="020B0503020204020204" pitchFamily="34" charset="-122"/>
                <a:ea typeface="微软雅黑" panose="020B0503020204020204" pitchFamily="34" charset="-122"/>
              </a:rPr>
              <a:t>, et al. Am J </a:t>
            </a:r>
            <a:r>
              <a:rPr lang="en-US" altLang="zh-CN" sz="600" dirty="0" err="1">
                <a:latin typeface="微软雅黑" panose="020B0503020204020204" pitchFamily="34" charset="-122"/>
                <a:ea typeface="微软雅黑" panose="020B0503020204020204" pitchFamily="34" charset="-122"/>
              </a:rPr>
              <a:t>Hematol</a:t>
            </a:r>
            <a:r>
              <a:rPr lang="en-US" altLang="zh-CN" sz="600" dirty="0">
                <a:latin typeface="微软雅黑" panose="020B0503020204020204" pitchFamily="34" charset="-122"/>
                <a:ea typeface="微软雅黑" panose="020B0503020204020204" pitchFamily="34" charset="-122"/>
              </a:rPr>
              <a:t>. 2008;83(12):896-900.</a:t>
            </a:r>
            <a:r>
              <a:rPr lang="zh-CN" altLang="en-US" sz="600" dirty="0">
                <a:latin typeface="微软雅黑" panose="020B0503020204020204" pitchFamily="34" charset="-122"/>
                <a:ea typeface="微软雅黑" panose="020B0503020204020204" pitchFamily="34" charset="-122"/>
              </a:rPr>
              <a:t>；</a:t>
            </a:r>
            <a:r>
              <a:rPr lang="en-US" altLang="zh-CN" sz="600" dirty="0">
                <a:latin typeface="微软雅黑" panose="020B0503020204020204" pitchFamily="34" charset="-122"/>
                <a:ea typeface="微软雅黑" panose="020B0503020204020204" pitchFamily="34" charset="-122"/>
              </a:rPr>
              <a:t>7. </a:t>
            </a:r>
            <a:r>
              <a:rPr lang="nl-NL" altLang="zh-CN" sz="600" dirty="0" err="1">
                <a:latin typeface="微软雅黑" panose="020B0503020204020204" pitchFamily="34" charset="-122"/>
                <a:ea typeface="微软雅黑" panose="020B0503020204020204" pitchFamily="34" charset="-122"/>
              </a:rPr>
              <a:t>PastoresGM</a:t>
            </a:r>
            <a:r>
              <a:rPr lang="nl-NL" altLang="zh-CN" sz="600" dirty="0">
                <a:latin typeface="微软雅黑" panose="020B0503020204020204" pitchFamily="34" charset="-122"/>
                <a:ea typeface="微软雅黑" panose="020B0503020204020204" pitchFamily="34" charset="-122"/>
              </a:rPr>
              <a:t>, </a:t>
            </a:r>
            <a:r>
              <a:rPr lang="nl-NL" altLang="zh-CN" sz="600" dirty="0" err="1">
                <a:latin typeface="微软雅黑" panose="020B0503020204020204" pitchFamily="34" charset="-122"/>
                <a:ea typeface="微软雅黑" panose="020B0503020204020204" pitchFamily="34" charset="-122"/>
              </a:rPr>
              <a:t>WeinrebNJ</a:t>
            </a:r>
            <a:r>
              <a:rPr lang="nl-NL" altLang="zh-CN" sz="600" dirty="0">
                <a:latin typeface="微软雅黑" panose="020B0503020204020204" pitchFamily="34" charset="-122"/>
                <a:ea typeface="微软雅黑" panose="020B0503020204020204" pitchFamily="34" charset="-122"/>
              </a:rPr>
              <a:t>, </a:t>
            </a:r>
            <a:r>
              <a:rPr lang="nl-NL" altLang="zh-CN" sz="600" dirty="0" err="1">
                <a:latin typeface="微软雅黑" panose="020B0503020204020204" pitchFamily="34" charset="-122"/>
                <a:ea typeface="微软雅黑" panose="020B0503020204020204" pitchFamily="34" charset="-122"/>
              </a:rPr>
              <a:t>AertsH</a:t>
            </a:r>
            <a:r>
              <a:rPr lang="nl-NL" altLang="zh-CN" sz="600" dirty="0">
                <a:latin typeface="微软雅黑" panose="020B0503020204020204" pitchFamily="34" charset="-122"/>
                <a:ea typeface="微软雅黑" panose="020B0503020204020204" pitchFamily="34" charset="-122"/>
              </a:rPr>
              <a:t>, et al. </a:t>
            </a:r>
            <a:r>
              <a:rPr lang="nl-NL" altLang="zh-CN" sz="600" dirty="0" err="1">
                <a:latin typeface="微软雅黑" panose="020B0503020204020204" pitchFamily="34" charset="-122"/>
                <a:ea typeface="微软雅黑" panose="020B0503020204020204" pitchFamily="34" charset="-122"/>
              </a:rPr>
              <a:t>Semin</a:t>
            </a:r>
            <a:r>
              <a:rPr lang="nl-NL" altLang="zh-CN" sz="600" dirty="0">
                <a:latin typeface="微软雅黑" panose="020B0503020204020204" pitchFamily="34" charset="-122"/>
                <a:ea typeface="微软雅黑" panose="020B0503020204020204" pitchFamily="34" charset="-122"/>
              </a:rPr>
              <a:t> </a:t>
            </a:r>
            <a:r>
              <a:rPr lang="nl-NL" altLang="zh-CN" sz="600" dirty="0" err="1">
                <a:latin typeface="微软雅黑" panose="020B0503020204020204" pitchFamily="34" charset="-122"/>
                <a:ea typeface="微软雅黑" panose="020B0503020204020204" pitchFamily="34" charset="-122"/>
              </a:rPr>
              <a:t>Hematol</a:t>
            </a:r>
            <a:r>
              <a:rPr lang="nl-NL" altLang="zh-CN" sz="600" dirty="0">
                <a:latin typeface="微软雅黑" panose="020B0503020204020204" pitchFamily="34" charset="-122"/>
                <a:ea typeface="微软雅黑" panose="020B0503020204020204" pitchFamily="34" charset="-122"/>
              </a:rPr>
              <a:t>. 2004;41(4 Suppl 5):4-14.</a:t>
            </a:r>
            <a:endParaRPr lang="en-US" sz="600" dirty="0">
              <a:latin typeface="微软雅黑" panose="020B0503020204020204" pitchFamily="34" charset="-122"/>
              <a:ea typeface="微软雅黑" panose="020B0503020204020204" pitchFamily="34" charset="-122"/>
            </a:endParaRPr>
          </a:p>
        </p:txBody>
      </p:sp>
      <p:sp>
        <p:nvSpPr>
          <p:cNvPr id="65" name="Text Placeholder 5">
            <a:extLst>
              <a:ext uri="{FF2B5EF4-FFF2-40B4-BE49-F238E27FC236}">
                <a16:creationId xmlns:a16="http://schemas.microsoft.com/office/drawing/2014/main" id="{93A37C4D-9B7A-4BEE-BC7F-2ADD3D457F13}"/>
              </a:ext>
            </a:extLst>
          </p:cNvPr>
          <p:cNvSpPr txBox="1">
            <a:spLocks/>
          </p:cNvSpPr>
          <p:nvPr/>
        </p:nvSpPr>
        <p:spPr>
          <a:xfrm>
            <a:off x="1038225" y="817217"/>
            <a:ext cx="10853738" cy="263075"/>
          </a:xfrm>
          <a:prstGeom prst="rect">
            <a:avLst/>
          </a:prstGeom>
        </p:spPr>
        <p:txBody>
          <a:bodyPr/>
          <a:lstStyle>
            <a:lvl1pPr marL="457071" indent="-457071" algn="l" defTabSz="914150" rtl="0" eaLnBrk="1" latinLnBrk="0" hangingPunct="1">
              <a:spcBef>
                <a:spcPct val="20000"/>
              </a:spcBef>
              <a:buClr>
                <a:srgbClr val="4C4948"/>
              </a:buClr>
              <a:buFont typeface="Arial" panose="020B0604020202020204" pitchFamily="34" charset="0"/>
              <a:buChar char="•"/>
              <a:defRPr kumimoji="1" sz="2000" b="0" i="0" kern="1200" baseline="0">
                <a:solidFill>
                  <a:schemeClr val="tx1"/>
                </a:solidFill>
                <a:latin typeface="Calibri" panose="020F0502020204030204" pitchFamily="34" charset="0"/>
                <a:ea typeface="メイリオ" pitchFamily="50" charset="-128"/>
                <a:cs typeface="Calibri" pitchFamily="34" charset="0"/>
              </a:defRPr>
            </a:lvl1pPr>
            <a:lvl2pPr marL="742745" indent="-285677" algn="l" defTabSz="914150" rtl="0" eaLnBrk="1" latinLnBrk="0" hangingPunct="1">
              <a:spcBef>
                <a:spcPct val="20000"/>
              </a:spcBef>
              <a:buClr>
                <a:srgbClr val="4C4948"/>
              </a:buClr>
              <a:buFont typeface="Arial" pitchFamily="34" charset="0"/>
              <a:buChar char="–"/>
              <a:defRPr kumimoji="1" sz="2000" b="0" i="0" kern="1200">
                <a:solidFill>
                  <a:schemeClr val="tx1"/>
                </a:solidFill>
                <a:latin typeface="Calibri" panose="020F0502020204030204" pitchFamily="34" charset="0"/>
                <a:ea typeface="メイリオ" pitchFamily="50" charset="-128"/>
                <a:cs typeface="Calibri" pitchFamily="34" charset="0"/>
              </a:defRPr>
            </a:lvl2pPr>
            <a:lvl3pPr marL="1142690" indent="-228541" algn="l" defTabSz="914150" rtl="0" eaLnBrk="1" latinLnBrk="0" hangingPunct="1">
              <a:spcBef>
                <a:spcPct val="20000"/>
              </a:spcBef>
              <a:buClr>
                <a:srgbClr val="4C4948"/>
              </a:buClr>
              <a:buFont typeface="Arial" pitchFamily="34" charset="0"/>
              <a:buChar char="•"/>
              <a:defRPr kumimoji="1" sz="2000" b="0" i="0" kern="1200" baseline="0">
                <a:solidFill>
                  <a:schemeClr val="tx1"/>
                </a:solidFill>
                <a:latin typeface="Calibri" panose="020F0502020204030204" pitchFamily="34" charset="0"/>
                <a:ea typeface="メイリオ" pitchFamily="50" charset="-128"/>
                <a:cs typeface="Calibri" pitchFamily="34" charset="0"/>
              </a:defRPr>
            </a:lvl3pPr>
            <a:lvl4pPr marL="1599760" indent="-228541" algn="l" defTabSz="914150" rtl="0" eaLnBrk="1" latinLnBrk="0" hangingPunct="1">
              <a:spcBef>
                <a:spcPct val="20000"/>
              </a:spcBef>
              <a:buClr>
                <a:srgbClr val="4C4948"/>
              </a:buClr>
              <a:buFont typeface="Arial" pitchFamily="34" charset="0"/>
              <a:buChar char="–"/>
              <a:defRPr kumimoji="1" sz="2000" b="0" i="0" kern="1200" baseline="0">
                <a:solidFill>
                  <a:schemeClr val="tx1"/>
                </a:solidFill>
                <a:latin typeface="Calibri" panose="020F0502020204030204" pitchFamily="34" charset="0"/>
                <a:ea typeface="メイリオ" pitchFamily="50" charset="-128"/>
                <a:cs typeface="Calibri" pitchFamily="34" charset="0"/>
              </a:defRPr>
            </a:lvl4pPr>
            <a:lvl5pPr marL="2056831" indent="-228541" algn="l" defTabSz="914150" rtl="0" eaLnBrk="1" latinLnBrk="0" hangingPunct="1">
              <a:spcBef>
                <a:spcPct val="20000"/>
              </a:spcBef>
              <a:buClr>
                <a:srgbClr val="4C4948"/>
              </a:buClr>
              <a:buFont typeface="Arial" pitchFamily="34" charset="0"/>
              <a:buChar char="»"/>
              <a:defRPr kumimoji="1" sz="2000" b="0" i="0" kern="1200" baseline="0">
                <a:solidFill>
                  <a:schemeClr val="tx1"/>
                </a:solidFill>
                <a:latin typeface="Calibri" panose="020F0502020204030204" pitchFamily="34" charset="0"/>
                <a:ea typeface="メイリオ" pitchFamily="50" charset="-128"/>
                <a:cs typeface="Calibri" pitchFamily="34" charset="0"/>
              </a:defRPr>
            </a:lvl5pPr>
            <a:lvl6pPr marL="2513910"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0986"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8061"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5142"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buNone/>
            </a:pPr>
            <a:r>
              <a:rPr lang="en-US" altLang="zh-CN" sz="1800" b="1" dirty="0">
                <a:solidFill>
                  <a:srgbClr val="1A1918"/>
                </a:solidFill>
                <a:latin typeface="微软雅黑" panose="020B0503020204020204" pitchFamily="34" charset="-122"/>
                <a:ea typeface="微软雅黑" panose="020B0503020204020204" pitchFamily="34" charset="-122"/>
              </a:rPr>
              <a:t>——</a:t>
            </a:r>
            <a:r>
              <a:rPr lang="zh-CN" altLang="en-US" sz="1800" b="1" dirty="0">
                <a:solidFill>
                  <a:srgbClr val="1A1918"/>
                </a:solidFill>
                <a:latin typeface="微软雅黑" panose="020B0503020204020204" pitchFamily="34" charset="-122"/>
                <a:ea typeface="微软雅黑" panose="020B0503020204020204" pitchFamily="34" charset="-122"/>
              </a:rPr>
              <a:t>戈谢病患者数量极少，患病率</a:t>
            </a:r>
            <a:r>
              <a:rPr lang="en-US" altLang="zh-CN" sz="2400" b="1" dirty="0">
                <a:solidFill>
                  <a:srgbClr val="C00000"/>
                </a:solidFill>
                <a:latin typeface="微软雅黑" panose="020B0503020204020204" pitchFamily="34" charset="-122"/>
                <a:ea typeface="微软雅黑" panose="020B0503020204020204" pitchFamily="34" charset="-122"/>
              </a:rPr>
              <a:t>1/50 </a:t>
            </a:r>
            <a:r>
              <a:rPr lang="zh-CN" altLang="en-US" sz="2400" b="1" dirty="0">
                <a:solidFill>
                  <a:srgbClr val="C00000"/>
                </a:solidFill>
                <a:latin typeface="微软雅黑" panose="020B0503020204020204" pitchFamily="34" charset="-122"/>
                <a:ea typeface="微软雅黑" panose="020B0503020204020204" pitchFamily="34" charset="-122"/>
              </a:rPr>
              <a:t>万</a:t>
            </a:r>
            <a:r>
              <a:rPr lang="en-US" altLang="zh-CN" sz="2400" b="1" dirty="0">
                <a:solidFill>
                  <a:srgbClr val="C00000"/>
                </a:solidFill>
                <a:latin typeface="微软雅黑" panose="020B0503020204020204" pitchFamily="34" charset="-122"/>
                <a:ea typeface="微软雅黑" panose="020B0503020204020204" pitchFamily="34" charset="-122"/>
              </a:rPr>
              <a:t>~1/20</a:t>
            </a:r>
            <a:r>
              <a:rPr lang="zh-CN" altLang="en-US" sz="2400" b="1" dirty="0">
                <a:solidFill>
                  <a:srgbClr val="C00000"/>
                </a:solidFill>
                <a:latin typeface="微软雅黑" panose="020B0503020204020204" pitchFamily="34" charset="-122"/>
                <a:ea typeface="微软雅黑" panose="020B0503020204020204" pitchFamily="34" charset="-122"/>
              </a:rPr>
              <a:t>万</a:t>
            </a:r>
            <a:r>
              <a:rPr lang="zh-CN" altLang="en-US" sz="1800" b="1" dirty="0">
                <a:solidFill>
                  <a:srgbClr val="1A1918"/>
                </a:solidFill>
                <a:latin typeface="微软雅黑" panose="020B0503020204020204" pitchFamily="34" charset="-122"/>
                <a:ea typeface="微软雅黑" panose="020B0503020204020204" pitchFamily="34" charset="-122"/>
              </a:rPr>
              <a:t>，且多数累及</a:t>
            </a:r>
            <a:r>
              <a:rPr lang="zh-CN" altLang="en-US" sz="2400" b="1" dirty="0">
                <a:solidFill>
                  <a:srgbClr val="C00000"/>
                </a:solidFill>
                <a:latin typeface="微软雅黑" panose="020B0503020204020204" pitchFamily="34" charset="-122"/>
                <a:ea typeface="微软雅黑" panose="020B0503020204020204" pitchFamily="34" charset="-122"/>
              </a:rPr>
              <a:t>儿童患者</a:t>
            </a:r>
            <a:endParaRPr lang="en-JP" sz="1800" b="1" dirty="0">
              <a:solidFill>
                <a:srgbClr val="C00000"/>
              </a:solidFill>
              <a:latin typeface="微软雅黑" panose="020B0503020204020204" pitchFamily="34" charset="-122"/>
              <a:ea typeface="微软雅黑" panose="020B0503020204020204" pitchFamily="34" charset="-122"/>
            </a:endParaRPr>
          </a:p>
        </p:txBody>
      </p:sp>
    </p:spTree>
    <p:extLst>
      <p:ext uri="{BB962C8B-B14F-4D97-AF65-F5344CB8AC3E}">
        <p14:creationId xmlns:p14="http://schemas.microsoft.com/office/powerpoint/2010/main" val="302810881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Object 17" hidden="1">
            <a:extLst>
              <a:ext uri="{FF2B5EF4-FFF2-40B4-BE49-F238E27FC236}">
                <a16:creationId xmlns:a16="http://schemas.microsoft.com/office/drawing/2014/main" id="{AF03376B-F0DC-4E45-A052-7BB7F2CF943D}"/>
              </a:ext>
            </a:extLst>
          </p:cNvPr>
          <p:cNvGraphicFramePr>
            <a:graphicFrameLocks noChangeAspect="1"/>
          </p:cNvGraphicFramePr>
          <p:nvPr>
            <p:custDataLst>
              <p:tags r:id="rId1"/>
            </p:custDataLst>
            <p:extLst>
              <p:ext uri="{D42A27DB-BD31-4B8C-83A1-F6EECF244321}">
                <p14:modId xmlns:p14="http://schemas.microsoft.com/office/powerpoint/2010/main" val="41635805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5" imgW="347" imgH="348" progId="TCLayout.ActiveDocument.1">
                  <p:embed/>
                </p:oleObj>
              </mc:Choice>
              <mc:Fallback>
                <p:oleObj name="think-cell 幻灯片" r:id="rId5" imgW="347" imgH="348" progId="TCLayout.ActiveDocument.1">
                  <p:embed/>
                  <p:pic>
                    <p:nvPicPr>
                      <p:cNvPr id="18" name="Object 17" hidden="1">
                        <a:extLst>
                          <a:ext uri="{FF2B5EF4-FFF2-40B4-BE49-F238E27FC236}">
                            <a16:creationId xmlns:a16="http://schemas.microsoft.com/office/drawing/2014/main" id="{AF03376B-F0DC-4E45-A052-7BB7F2CF943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60B2A641-EE1A-4353-B663-913BBED2AB49}"/>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800" b="1" i="0" u="none" strike="noStrike" kern="1200" cap="none" spc="0" normalizeH="0" baseline="0" noProof="0">
              <a:ln>
                <a:noFill/>
              </a:ln>
              <a:solidFill>
                <a:srgbClr val="FFFFFF"/>
              </a:solidFill>
              <a:effectLst/>
              <a:uLnTx/>
              <a:uFillTx/>
              <a:latin typeface="Calibri" panose="020F0502020204030204" pitchFamily="34" charset="0"/>
              <a:ea typeface="メイリオ" panose="020B0604030504040204" pitchFamily="50" charset="-128"/>
              <a:cs typeface="Calibri" panose="020F0502020204030204" pitchFamily="34" charset="0"/>
              <a:sym typeface="Calibri" panose="020F0502020204030204" pitchFamily="34" charset="0"/>
            </a:endParaRPr>
          </a:p>
        </p:txBody>
      </p:sp>
      <p:sp>
        <p:nvSpPr>
          <p:cNvPr id="37" name="Title 3">
            <a:extLst>
              <a:ext uri="{FF2B5EF4-FFF2-40B4-BE49-F238E27FC236}">
                <a16:creationId xmlns:a16="http://schemas.microsoft.com/office/drawing/2014/main" id="{8109A740-BC76-6447-9BA6-362E759DED0E}"/>
              </a:ext>
            </a:extLst>
          </p:cNvPr>
          <p:cNvSpPr>
            <a:spLocks noGrp="1"/>
          </p:cNvSpPr>
          <p:nvPr>
            <p:ph type="title"/>
          </p:nvPr>
        </p:nvSpPr>
        <p:spPr>
          <a:xfrm>
            <a:off x="1137368" y="219031"/>
            <a:ext cx="9508106" cy="685801"/>
          </a:xfrm>
        </p:spPr>
        <p:txBody>
          <a:bodyPr vert="horz">
            <a:normAutofit/>
          </a:bodyPr>
          <a:lstStyle/>
          <a:p>
            <a:r>
              <a:rPr lang="zh-CN" altLang="en-US" sz="3200" dirty="0">
                <a:solidFill>
                  <a:srgbClr val="1A1918"/>
                </a:solidFill>
                <a:latin typeface="微软雅黑" panose="020B0503020204020204" pitchFamily="34" charset="-122"/>
                <a:ea typeface="微软雅黑" panose="020B0503020204020204" pitchFamily="34" charset="-122"/>
              </a:rPr>
              <a:t>公平性</a:t>
            </a:r>
          </a:p>
        </p:txBody>
      </p:sp>
      <p:sp>
        <p:nvSpPr>
          <p:cNvPr id="22" name="椭圆 21">
            <a:extLst>
              <a:ext uri="{FF2B5EF4-FFF2-40B4-BE49-F238E27FC236}">
                <a16:creationId xmlns:a16="http://schemas.microsoft.com/office/drawing/2014/main" id="{5F530736-32AD-42C7-B3FC-79FE10B74A3A}"/>
              </a:ext>
            </a:extLst>
          </p:cNvPr>
          <p:cNvSpPr/>
          <p:nvPr/>
        </p:nvSpPr>
        <p:spPr>
          <a:xfrm>
            <a:off x="616186" y="315174"/>
            <a:ext cx="360000" cy="360000"/>
          </a:xfrm>
          <a:prstGeom prst="ellipse">
            <a:avLst/>
          </a:prstGeom>
          <a:solidFill>
            <a:schemeClr val="accent2">
              <a:lumMod val="75000"/>
            </a:schemeClr>
          </a:solidFill>
          <a:ln w="28575">
            <a:noFill/>
          </a:ln>
        </p:spPr>
        <p:style>
          <a:lnRef idx="1">
            <a:schemeClr val="accent1"/>
          </a:lnRef>
          <a:fillRef idx="0">
            <a:schemeClr val="accent1"/>
          </a:fillRef>
          <a:effectRef idx="0">
            <a:schemeClr val="accent1"/>
          </a:effectRef>
          <a:fontRef idx="minor">
            <a:schemeClr val="tx1"/>
          </a:fontRef>
        </p:style>
        <p:txBody>
          <a:bodyPr wrap="none" rtlCol="0" anchor="ctr"/>
          <a:lstStyle/>
          <a:p>
            <a:pPr algn="ctr"/>
            <a:r>
              <a:rPr kumimoji="1" lang="en-US" altLang="zh-CN" sz="1600" b="1" dirty="0">
                <a:solidFill>
                  <a:schemeClr val="bg1"/>
                </a:solidFill>
                <a:latin typeface="微软雅黑" panose="020B0503020204020204" pitchFamily="34" charset="-122"/>
                <a:ea typeface="微软雅黑" panose="020B0503020204020204" pitchFamily="34" charset="-122"/>
              </a:rPr>
              <a:t>2</a:t>
            </a:r>
            <a:endParaRPr kumimoji="1" lang="zh-CN" altLang="en-US" sz="1600" b="1" dirty="0">
              <a:solidFill>
                <a:schemeClr val="bg1"/>
              </a:solidFill>
              <a:latin typeface="微软雅黑" panose="020B0503020204020204" pitchFamily="34" charset="-122"/>
              <a:ea typeface="微软雅黑" panose="020B0503020204020204" pitchFamily="34" charset="-122"/>
            </a:endParaRPr>
          </a:p>
        </p:txBody>
      </p:sp>
      <p:grpSp>
        <p:nvGrpSpPr>
          <p:cNvPr id="163" name="Group 2">
            <a:extLst>
              <a:ext uri="{FF2B5EF4-FFF2-40B4-BE49-F238E27FC236}">
                <a16:creationId xmlns:a16="http://schemas.microsoft.com/office/drawing/2014/main" id="{9FCBFBF6-1D5D-4F3C-9DF7-C69530F79618}"/>
              </a:ext>
            </a:extLst>
          </p:cNvPr>
          <p:cNvGrpSpPr/>
          <p:nvPr/>
        </p:nvGrpSpPr>
        <p:grpSpPr>
          <a:xfrm>
            <a:off x="1351578" y="1800225"/>
            <a:ext cx="9482752" cy="4126758"/>
            <a:chOff x="866130" y="1696698"/>
            <a:chExt cx="7948468" cy="3554607"/>
          </a:xfrm>
        </p:grpSpPr>
        <p:sp>
          <p:nvSpPr>
            <p:cNvPr id="164" name="Freeform 66">
              <a:extLst>
                <a:ext uri="{FF2B5EF4-FFF2-40B4-BE49-F238E27FC236}">
                  <a16:creationId xmlns:a16="http://schemas.microsoft.com/office/drawing/2014/main" id="{5DB3EC47-427C-4F2B-898A-17413306C7D3}"/>
                </a:ext>
              </a:extLst>
            </p:cNvPr>
            <p:cNvSpPr>
              <a:spLocks/>
            </p:cNvSpPr>
            <p:nvPr/>
          </p:nvSpPr>
          <p:spPr bwMode="auto">
            <a:xfrm>
              <a:off x="2624256" y="1717150"/>
              <a:ext cx="854905" cy="288377"/>
            </a:xfrm>
            <a:custGeom>
              <a:avLst/>
              <a:gdLst>
                <a:gd name="T0" fmla="*/ 0 w 836"/>
                <a:gd name="T1" fmla="*/ 282 h 282"/>
                <a:gd name="T2" fmla="*/ 836 w 836"/>
                <a:gd name="T3" fmla="*/ 282 h 282"/>
                <a:gd name="T4" fmla="*/ 836 w 836"/>
                <a:gd name="T5" fmla="*/ 0 h 282"/>
                <a:gd name="T6" fmla="*/ 268 w 836"/>
                <a:gd name="T7" fmla="*/ 0 h 282"/>
                <a:gd name="T8" fmla="*/ 268 w 836"/>
                <a:gd name="T9" fmla="*/ 0 h 282"/>
                <a:gd name="T10" fmla="*/ 262 w 836"/>
                <a:gd name="T11" fmla="*/ 2 h 282"/>
                <a:gd name="T12" fmla="*/ 242 w 836"/>
                <a:gd name="T13" fmla="*/ 4 h 282"/>
                <a:gd name="T14" fmla="*/ 228 w 836"/>
                <a:gd name="T15" fmla="*/ 8 h 282"/>
                <a:gd name="T16" fmla="*/ 210 w 836"/>
                <a:gd name="T17" fmla="*/ 14 h 282"/>
                <a:gd name="T18" fmla="*/ 192 w 836"/>
                <a:gd name="T19" fmla="*/ 22 h 282"/>
                <a:gd name="T20" fmla="*/ 172 w 836"/>
                <a:gd name="T21" fmla="*/ 32 h 282"/>
                <a:gd name="T22" fmla="*/ 152 w 836"/>
                <a:gd name="T23" fmla="*/ 48 h 282"/>
                <a:gd name="T24" fmla="*/ 130 w 836"/>
                <a:gd name="T25" fmla="*/ 66 h 282"/>
                <a:gd name="T26" fmla="*/ 108 w 836"/>
                <a:gd name="T27" fmla="*/ 88 h 282"/>
                <a:gd name="T28" fmla="*/ 84 w 836"/>
                <a:gd name="T29" fmla="*/ 116 h 282"/>
                <a:gd name="T30" fmla="*/ 62 w 836"/>
                <a:gd name="T31" fmla="*/ 148 h 282"/>
                <a:gd name="T32" fmla="*/ 40 w 836"/>
                <a:gd name="T33" fmla="*/ 186 h 282"/>
                <a:gd name="T34" fmla="*/ 20 w 836"/>
                <a:gd name="T35" fmla="*/ 230 h 282"/>
                <a:gd name="T36" fmla="*/ 0 w 836"/>
                <a:gd name="T37" fmla="*/ 282 h 282"/>
                <a:gd name="T38" fmla="*/ 0 w 836"/>
                <a:gd name="T39" fmla="*/ 282 h 2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36" h="282">
                  <a:moveTo>
                    <a:pt x="0" y="282"/>
                  </a:moveTo>
                  <a:lnTo>
                    <a:pt x="836" y="282"/>
                  </a:lnTo>
                  <a:lnTo>
                    <a:pt x="836" y="0"/>
                  </a:lnTo>
                  <a:lnTo>
                    <a:pt x="268" y="0"/>
                  </a:lnTo>
                  <a:lnTo>
                    <a:pt x="268" y="0"/>
                  </a:lnTo>
                  <a:lnTo>
                    <a:pt x="262" y="2"/>
                  </a:lnTo>
                  <a:lnTo>
                    <a:pt x="242" y="4"/>
                  </a:lnTo>
                  <a:lnTo>
                    <a:pt x="228" y="8"/>
                  </a:lnTo>
                  <a:lnTo>
                    <a:pt x="210" y="14"/>
                  </a:lnTo>
                  <a:lnTo>
                    <a:pt x="192" y="22"/>
                  </a:lnTo>
                  <a:lnTo>
                    <a:pt x="172" y="32"/>
                  </a:lnTo>
                  <a:lnTo>
                    <a:pt x="152" y="48"/>
                  </a:lnTo>
                  <a:lnTo>
                    <a:pt x="130" y="66"/>
                  </a:lnTo>
                  <a:lnTo>
                    <a:pt x="108" y="88"/>
                  </a:lnTo>
                  <a:lnTo>
                    <a:pt x="84" y="116"/>
                  </a:lnTo>
                  <a:lnTo>
                    <a:pt x="62" y="148"/>
                  </a:lnTo>
                  <a:lnTo>
                    <a:pt x="40" y="186"/>
                  </a:lnTo>
                  <a:lnTo>
                    <a:pt x="20" y="230"/>
                  </a:lnTo>
                  <a:lnTo>
                    <a:pt x="0" y="282"/>
                  </a:lnTo>
                  <a:lnTo>
                    <a:pt x="0" y="282"/>
                  </a:lnTo>
                  <a:close/>
                </a:path>
              </a:pathLst>
            </a:custGeom>
            <a:no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828" tIns="38415" rIns="76828" bIns="38415" numCol="1" anchor="t" anchorCtr="0" compatLnSpc="1">
              <a:prstTxWarp prst="textNoShape">
                <a:avLst/>
              </a:prstTxWarp>
            </a:bodyPr>
            <a:lstStyle/>
            <a:p>
              <a:endParaRPr lang="en-GB" sz="1680"/>
            </a:p>
          </p:txBody>
        </p:sp>
        <p:sp>
          <p:nvSpPr>
            <p:cNvPr id="165" name="Freeform 74">
              <a:extLst>
                <a:ext uri="{FF2B5EF4-FFF2-40B4-BE49-F238E27FC236}">
                  <a16:creationId xmlns:a16="http://schemas.microsoft.com/office/drawing/2014/main" id="{605CFDD0-54D2-417D-9306-0AD478EDB098}"/>
                </a:ext>
              </a:extLst>
            </p:cNvPr>
            <p:cNvSpPr>
              <a:spLocks/>
            </p:cNvSpPr>
            <p:nvPr/>
          </p:nvSpPr>
          <p:spPr bwMode="auto">
            <a:xfrm flipH="1">
              <a:off x="6210733" y="1718792"/>
              <a:ext cx="854905" cy="288377"/>
            </a:xfrm>
            <a:custGeom>
              <a:avLst/>
              <a:gdLst>
                <a:gd name="T0" fmla="*/ 0 w 836"/>
                <a:gd name="T1" fmla="*/ 282 h 282"/>
                <a:gd name="T2" fmla="*/ 836 w 836"/>
                <a:gd name="T3" fmla="*/ 282 h 282"/>
                <a:gd name="T4" fmla="*/ 836 w 836"/>
                <a:gd name="T5" fmla="*/ 0 h 282"/>
                <a:gd name="T6" fmla="*/ 268 w 836"/>
                <a:gd name="T7" fmla="*/ 0 h 282"/>
                <a:gd name="T8" fmla="*/ 268 w 836"/>
                <a:gd name="T9" fmla="*/ 0 h 282"/>
                <a:gd name="T10" fmla="*/ 262 w 836"/>
                <a:gd name="T11" fmla="*/ 2 h 282"/>
                <a:gd name="T12" fmla="*/ 242 w 836"/>
                <a:gd name="T13" fmla="*/ 4 h 282"/>
                <a:gd name="T14" fmla="*/ 228 w 836"/>
                <a:gd name="T15" fmla="*/ 8 h 282"/>
                <a:gd name="T16" fmla="*/ 210 w 836"/>
                <a:gd name="T17" fmla="*/ 14 h 282"/>
                <a:gd name="T18" fmla="*/ 192 w 836"/>
                <a:gd name="T19" fmla="*/ 22 h 282"/>
                <a:gd name="T20" fmla="*/ 172 w 836"/>
                <a:gd name="T21" fmla="*/ 32 h 282"/>
                <a:gd name="T22" fmla="*/ 152 w 836"/>
                <a:gd name="T23" fmla="*/ 48 h 282"/>
                <a:gd name="T24" fmla="*/ 130 w 836"/>
                <a:gd name="T25" fmla="*/ 66 h 282"/>
                <a:gd name="T26" fmla="*/ 108 w 836"/>
                <a:gd name="T27" fmla="*/ 88 h 282"/>
                <a:gd name="T28" fmla="*/ 84 w 836"/>
                <a:gd name="T29" fmla="*/ 116 h 282"/>
                <a:gd name="T30" fmla="*/ 62 w 836"/>
                <a:gd name="T31" fmla="*/ 148 h 282"/>
                <a:gd name="T32" fmla="*/ 40 w 836"/>
                <a:gd name="T33" fmla="*/ 186 h 282"/>
                <a:gd name="T34" fmla="*/ 20 w 836"/>
                <a:gd name="T35" fmla="*/ 230 h 282"/>
                <a:gd name="T36" fmla="*/ 0 w 836"/>
                <a:gd name="T37" fmla="*/ 282 h 282"/>
                <a:gd name="T38" fmla="*/ 0 w 836"/>
                <a:gd name="T39" fmla="*/ 282 h 2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36" h="282">
                  <a:moveTo>
                    <a:pt x="0" y="282"/>
                  </a:moveTo>
                  <a:lnTo>
                    <a:pt x="836" y="282"/>
                  </a:lnTo>
                  <a:lnTo>
                    <a:pt x="836" y="0"/>
                  </a:lnTo>
                  <a:lnTo>
                    <a:pt x="268" y="0"/>
                  </a:lnTo>
                  <a:lnTo>
                    <a:pt x="268" y="0"/>
                  </a:lnTo>
                  <a:lnTo>
                    <a:pt x="262" y="2"/>
                  </a:lnTo>
                  <a:lnTo>
                    <a:pt x="242" y="4"/>
                  </a:lnTo>
                  <a:lnTo>
                    <a:pt x="228" y="8"/>
                  </a:lnTo>
                  <a:lnTo>
                    <a:pt x="210" y="14"/>
                  </a:lnTo>
                  <a:lnTo>
                    <a:pt x="192" y="22"/>
                  </a:lnTo>
                  <a:lnTo>
                    <a:pt x="172" y="32"/>
                  </a:lnTo>
                  <a:lnTo>
                    <a:pt x="152" y="48"/>
                  </a:lnTo>
                  <a:lnTo>
                    <a:pt x="130" y="66"/>
                  </a:lnTo>
                  <a:lnTo>
                    <a:pt x="108" y="88"/>
                  </a:lnTo>
                  <a:lnTo>
                    <a:pt x="84" y="116"/>
                  </a:lnTo>
                  <a:lnTo>
                    <a:pt x="62" y="148"/>
                  </a:lnTo>
                  <a:lnTo>
                    <a:pt x="40" y="186"/>
                  </a:lnTo>
                  <a:lnTo>
                    <a:pt x="20" y="230"/>
                  </a:lnTo>
                  <a:lnTo>
                    <a:pt x="0" y="282"/>
                  </a:lnTo>
                  <a:lnTo>
                    <a:pt x="0" y="282"/>
                  </a:lnTo>
                  <a:close/>
                </a:path>
              </a:pathLst>
            </a:custGeom>
            <a:no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828" tIns="38415" rIns="76828" bIns="38415" numCol="1" anchor="t" anchorCtr="0" compatLnSpc="1">
              <a:prstTxWarp prst="textNoShape">
                <a:avLst/>
              </a:prstTxWarp>
            </a:bodyPr>
            <a:lstStyle/>
            <a:p>
              <a:endParaRPr lang="en-GB" sz="1680"/>
            </a:p>
          </p:txBody>
        </p:sp>
        <p:sp>
          <p:nvSpPr>
            <p:cNvPr id="166" name="Freeform 32">
              <a:extLst>
                <a:ext uri="{FF2B5EF4-FFF2-40B4-BE49-F238E27FC236}">
                  <a16:creationId xmlns:a16="http://schemas.microsoft.com/office/drawing/2014/main" id="{05BC3F83-BFA7-42F1-973F-C9EA4411ED6D}"/>
                </a:ext>
              </a:extLst>
            </p:cNvPr>
            <p:cNvSpPr>
              <a:spLocks/>
            </p:cNvSpPr>
            <p:nvPr/>
          </p:nvSpPr>
          <p:spPr bwMode="auto">
            <a:xfrm flipV="1">
              <a:off x="6228371" y="1723425"/>
              <a:ext cx="854906" cy="286332"/>
            </a:xfrm>
            <a:custGeom>
              <a:avLst/>
              <a:gdLst>
                <a:gd name="T0" fmla="*/ 836 w 836"/>
                <a:gd name="T1" fmla="*/ 0 h 280"/>
                <a:gd name="T2" fmla="*/ 0 w 836"/>
                <a:gd name="T3" fmla="*/ 0 h 280"/>
                <a:gd name="T4" fmla="*/ 0 w 836"/>
                <a:gd name="T5" fmla="*/ 280 h 280"/>
                <a:gd name="T6" fmla="*/ 566 w 836"/>
                <a:gd name="T7" fmla="*/ 280 h 280"/>
                <a:gd name="T8" fmla="*/ 566 w 836"/>
                <a:gd name="T9" fmla="*/ 280 h 280"/>
                <a:gd name="T10" fmla="*/ 574 w 836"/>
                <a:gd name="T11" fmla="*/ 280 h 280"/>
                <a:gd name="T12" fmla="*/ 594 w 836"/>
                <a:gd name="T13" fmla="*/ 276 h 280"/>
                <a:gd name="T14" fmla="*/ 608 w 836"/>
                <a:gd name="T15" fmla="*/ 274 h 280"/>
                <a:gd name="T16" fmla="*/ 624 w 836"/>
                <a:gd name="T17" fmla="*/ 268 h 280"/>
                <a:gd name="T18" fmla="*/ 644 w 836"/>
                <a:gd name="T19" fmla="*/ 260 h 280"/>
                <a:gd name="T20" fmla="*/ 662 w 836"/>
                <a:gd name="T21" fmla="*/ 248 h 280"/>
                <a:gd name="T22" fmla="*/ 684 w 836"/>
                <a:gd name="T23" fmla="*/ 234 h 280"/>
                <a:gd name="T24" fmla="*/ 706 w 836"/>
                <a:gd name="T25" fmla="*/ 216 h 280"/>
                <a:gd name="T26" fmla="*/ 728 w 836"/>
                <a:gd name="T27" fmla="*/ 192 h 280"/>
                <a:gd name="T28" fmla="*/ 750 w 836"/>
                <a:gd name="T29" fmla="*/ 166 h 280"/>
                <a:gd name="T30" fmla="*/ 774 w 836"/>
                <a:gd name="T31" fmla="*/ 132 h 280"/>
                <a:gd name="T32" fmla="*/ 796 w 836"/>
                <a:gd name="T33" fmla="*/ 94 h 280"/>
                <a:gd name="T34" fmla="*/ 816 w 836"/>
                <a:gd name="T35" fmla="*/ 50 h 280"/>
                <a:gd name="T36" fmla="*/ 836 w 836"/>
                <a:gd name="T37" fmla="*/ 0 h 280"/>
                <a:gd name="T38" fmla="*/ 836 w 836"/>
                <a:gd name="T39" fmla="*/ 0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36" h="280">
                  <a:moveTo>
                    <a:pt x="836" y="0"/>
                  </a:moveTo>
                  <a:lnTo>
                    <a:pt x="0" y="0"/>
                  </a:lnTo>
                  <a:lnTo>
                    <a:pt x="0" y="280"/>
                  </a:lnTo>
                  <a:lnTo>
                    <a:pt x="566" y="280"/>
                  </a:lnTo>
                  <a:lnTo>
                    <a:pt x="566" y="280"/>
                  </a:lnTo>
                  <a:lnTo>
                    <a:pt x="574" y="280"/>
                  </a:lnTo>
                  <a:lnTo>
                    <a:pt x="594" y="276"/>
                  </a:lnTo>
                  <a:lnTo>
                    <a:pt x="608" y="274"/>
                  </a:lnTo>
                  <a:lnTo>
                    <a:pt x="624" y="268"/>
                  </a:lnTo>
                  <a:lnTo>
                    <a:pt x="644" y="260"/>
                  </a:lnTo>
                  <a:lnTo>
                    <a:pt x="662" y="248"/>
                  </a:lnTo>
                  <a:lnTo>
                    <a:pt x="684" y="234"/>
                  </a:lnTo>
                  <a:lnTo>
                    <a:pt x="706" y="216"/>
                  </a:lnTo>
                  <a:lnTo>
                    <a:pt x="728" y="192"/>
                  </a:lnTo>
                  <a:lnTo>
                    <a:pt x="750" y="166"/>
                  </a:lnTo>
                  <a:lnTo>
                    <a:pt x="774" y="132"/>
                  </a:lnTo>
                  <a:lnTo>
                    <a:pt x="796" y="94"/>
                  </a:lnTo>
                  <a:lnTo>
                    <a:pt x="816" y="50"/>
                  </a:lnTo>
                  <a:lnTo>
                    <a:pt x="836" y="0"/>
                  </a:lnTo>
                  <a:lnTo>
                    <a:pt x="836" y="0"/>
                  </a:lnTo>
                  <a:close/>
                </a:path>
              </a:pathLst>
            </a:custGeom>
            <a:solidFill>
              <a:schemeClr val="bg1">
                <a:lumMod val="6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828" tIns="38415" rIns="76828" bIns="38415" numCol="1" anchor="t" anchorCtr="0" compatLnSpc="1">
              <a:prstTxWarp prst="textNoShape">
                <a:avLst/>
              </a:prstTxWarp>
            </a:bodyPr>
            <a:lstStyle/>
            <a:p>
              <a:endParaRPr lang="en-GB" sz="1680" baseline="-25000"/>
            </a:p>
          </p:txBody>
        </p:sp>
        <p:sp>
          <p:nvSpPr>
            <p:cNvPr id="167" name="Freeform 32">
              <a:extLst>
                <a:ext uri="{FF2B5EF4-FFF2-40B4-BE49-F238E27FC236}">
                  <a16:creationId xmlns:a16="http://schemas.microsoft.com/office/drawing/2014/main" id="{87C333EA-0FBB-4F76-BB2D-48A65140CDC9}"/>
                </a:ext>
              </a:extLst>
            </p:cNvPr>
            <p:cNvSpPr>
              <a:spLocks/>
            </p:cNvSpPr>
            <p:nvPr/>
          </p:nvSpPr>
          <p:spPr bwMode="auto">
            <a:xfrm flipH="1" flipV="1">
              <a:off x="2585554" y="1732132"/>
              <a:ext cx="854906" cy="286332"/>
            </a:xfrm>
            <a:custGeom>
              <a:avLst/>
              <a:gdLst>
                <a:gd name="T0" fmla="*/ 836 w 836"/>
                <a:gd name="T1" fmla="*/ 0 h 280"/>
                <a:gd name="T2" fmla="*/ 0 w 836"/>
                <a:gd name="T3" fmla="*/ 0 h 280"/>
                <a:gd name="T4" fmla="*/ 0 w 836"/>
                <a:gd name="T5" fmla="*/ 280 h 280"/>
                <a:gd name="T6" fmla="*/ 566 w 836"/>
                <a:gd name="T7" fmla="*/ 280 h 280"/>
                <a:gd name="T8" fmla="*/ 566 w 836"/>
                <a:gd name="T9" fmla="*/ 280 h 280"/>
                <a:gd name="T10" fmla="*/ 574 w 836"/>
                <a:gd name="T11" fmla="*/ 280 h 280"/>
                <a:gd name="T12" fmla="*/ 594 w 836"/>
                <a:gd name="T13" fmla="*/ 276 h 280"/>
                <a:gd name="T14" fmla="*/ 608 w 836"/>
                <a:gd name="T15" fmla="*/ 274 h 280"/>
                <a:gd name="T16" fmla="*/ 624 w 836"/>
                <a:gd name="T17" fmla="*/ 268 h 280"/>
                <a:gd name="T18" fmla="*/ 644 w 836"/>
                <a:gd name="T19" fmla="*/ 260 h 280"/>
                <a:gd name="T20" fmla="*/ 662 w 836"/>
                <a:gd name="T21" fmla="*/ 248 h 280"/>
                <a:gd name="T22" fmla="*/ 684 w 836"/>
                <a:gd name="T23" fmla="*/ 234 h 280"/>
                <a:gd name="T24" fmla="*/ 706 w 836"/>
                <a:gd name="T25" fmla="*/ 216 h 280"/>
                <a:gd name="T26" fmla="*/ 728 w 836"/>
                <a:gd name="T27" fmla="*/ 192 h 280"/>
                <a:gd name="T28" fmla="*/ 750 w 836"/>
                <a:gd name="T29" fmla="*/ 166 h 280"/>
                <a:gd name="T30" fmla="*/ 774 w 836"/>
                <a:gd name="T31" fmla="*/ 132 h 280"/>
                <a:gd name="T32" fmla="*/ 796 w 836"/>
                <a:gd name="T33" fmla="*/ 94 h 280"/>
                <a:gd name="T34" fmla="*/ 816 w 836"/>
                <a:gd name="T35" fmla="*/ 50 h 280"/>
                <a:gd name="T36" fmla="*/ 836 w 836"/>
                <a:gd name="T37" fmla="*/ 0 h 280"/>
                <a:gd name="T38" fmla="*/ 836 w 836"/>
                <a:gd name="T39" fmla="*/ 0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36" h="280">
                  <a:moveTo>
                    <a:pt x="836" y="0"/>
                  </a:moveTo>
                  <a:lnTo>
                    <a:pt x="0" y="0"/>
                  </a:lnTo>
                  <a:lnTo>
                    <a:pt x="0" y="280"/>
                  </a:lnTo>
                  <a:lnTo>
                    <a:pt x="566" y="280"/>
                  </a:lnTo>
                  <a:lnTo>
                    <a:pt x="566" y="280"/>
                  </a:lnTo>
                  <a:lnTo>
                    <a:pt x="574" y="280"/>
                  </a:lnTo>
                  <a:lnTo>
                    <a:pt x="594" y="276"/>
                  </a:lnTo>
                  <a:lnTo>
                    <a:pt x="608" y="274"/>
                  </a:lnTo>
                  <a:lnTo>
                    <a:pt x="624" y="268"/>
                  </a:lnTo>
                  <a:lnTo>
                    <a:pt x="644" y="260"/>
                  </a:lnTo>
                  <a:lnTo>
                    <a:pt x="662" y="248"/>
                  </a:lnTo>
                  <a:lnTo>
                    <a:pt x="684" y="234"/>
                  </a:lnTo>
                  <a:lnTo>
                    <a:pt x="706" y="216"/>
                  </a:lnTo>
                  <a:lnTo>
                    <a:pt x="728" y="192"/>
                  </a:lnTo>
                  <a:lnTo>
                    <a:pt x="750" y="166"/>
                  </a:lnTo>
                  <a:lnTo>
                    <a:pt x="774" y="132"/>
                  </a:lnTo>
                  <a:lnTo>
                    <a:pt x="796" y="94"/>
                  </a:lnTo>
                  <a:lnTo>
                    <a:pt x="816" y="50"/>
                  </a:lnTo>
                  <a:lnTo>
                    <a:pt x="836" y="0"/>
                  </a:lnTo>
                  <a:lnTo>
                    <a:pt x="836" y="0"/>
                  </a:lnTo>
                  <a:close/>
                </a:path>
              </a:pathLst>
            </a:custGeom>
            <a:solidFill>
              <a:schemeClr val="bg1">
                <a:lumMod val="65000"/>
              </a:schemeClr>
            </a:solidFill>
            <a:ln w="9525">
              <a:noFill/>
              <a:round/>
              <a:headEnd/>
              <a:tailEnd/>
            </a:ln>
          </p:spPr>
          <p:txBody>
            <a:bodyPr vert="horz" wrap="square" lIns="76828" tIns="38415" rIns="76828" bIns="38415" numCol="1" anchor="t" anchorCtr="0" compatLnSpc="1">
              <a:prstTxWarp prst="textNoShape">
                <a:avLst/>
              </a:prstTxWarp>
            </a:bodyPr>
            <a:lstStyle/>
            <a:p>
              <a:endParaRPr lang="en-GB" sz="1680" baseline="-25000"/>
            </a:p>
          </p:txBody>
        </p:sp>
        <p:sp>
          <p:nvSpPr>
            <p:cNvPr id="168" name="Rectangle 7">
              <a:extLst>
                <a:ext uri="{FF2B5EF4-FFF2-40B4-BE49-F238E27FC236}">
                  <a16:creationId xmlns:a16="http://schemas.microsoft.com/office/drawing/2014/main" id="{AB3A1F05-9907-419D-AD83-5AD52D71EE6B}"/>
                </a:ext>
              </a:extLst>
            </p:cNvPr>
            <p:cNvSpPr>
              <a:spLocks noChangeArrowheads="1"/>
            </p:cNvSpPr>
            <p:nvPr/>
          </p:nvSpPr>
          <p:spPr bwMode="auto">
            <a:xfrm>
              <a:off x="866130" y="2005529"/>
              <a:ext cx="7948468" cy="2936947"/>
            </a:xfrm>
            <a:prstGeom prst="rect">
              <a:avLst/>
            </a:prstGeom>
            <a:noFill/>
            <a:ln w="3175">
              <a:solidFill>
                <a:schemeClr val="bg1">
                  <a:lumMod val="65000"/>
                </a:schemeClr>
              </a:solidFill>
              <a:miter lim="800000"/>
              <a:headEnd/>
              <a:tailEnd/>
            </a:ln>
            <a:extLst>
              <a:ext uri="{909E8E84-426E-40DD-AFC4-6F175D3DCCD1}">
                <a14:hiddenFill xmlns:a14="http://schemas.microsoft.com/office/drawing/2010/main">
                  <a:solidFill>
                    <a:srgbClr val="FFFFFF"/>
                  </a:solidFill>
                </a14:hiddenFill>
              </a:ext>
            </a:extLst>
          </p:spPr>
          <p:txBody>
            <a:bodyPr vert="horz" wrap="square" lIns="76828" tIns="38415" rIns="76828" bIns="38415" numCol="1" anchor="t" anchorCtr="0" compatLnSpc="1">
              <a:prstTxWarp prst="textNoShape">
                <a:avLst/>
              </a:prstTxWarp>
            </a:bodyPr>
            <a:lstStyle/>
            <a:p>
              <a:endParaRPr lang="en-GB" sz="1680"/>
            </a:p>
          </p:txBody>
        </p:sp>
        <p:sp>
          <p:nvSpPr>
            <p:cNvPr id="169" name="Freeform 31">
              <a:extLst>
                <a:ext uri="{FF2B5EF4-FFF2-40B4-BE49-F238E27FC236}">
                  <a16:creationId xmlns:a16="http://schemas.microsoft.com/office/drawing/2014/main" id="{730366AE-0D9C-488F-BF72-44F98B893F7C}"/>
                </a:ext>
              </a:extLst>
            </p:cNvPr>
            <p:cNvSpPr>
              <a:spLocks/>
            </p:cNvSpPr>
            <p:nvPr/>
          </p:nvSpPr>
          <p:spPr bwMode="auto">
            <a:xfrm>
              <a:off x="2806282" y="1696698"/>
              <a:ext cx="2008414" cy="1233273"/>
            </a:xfrm>
            <a:custGeom>
              <a:avLst/>
              <a:gdLst>
                <a:gd name="T0" fmla="*/ 1962 w 1964"/>
                <a:gd name="T1" fmla="*/ 394 h 1206"/>
                <a:gd name="T2" fmla="*/ 1960 w 1964"/>
                <a:gd name="T3" fmla="*/ 384 h 1206"/>
                <a:gd name="T4" fmla="*/ 1954 w 1964"/>
                <a:gd name="T5" fmla="*/ 368 h 1206"/>
                <a:gd name="T6" fmla="*/ 1948 w 1964"/>
                <a:gd name="T7" fmla="*/ 362 h 1206"/>
                <a:gd name="T8" fmla="*/ 1932 w 1964"/>
                <a:gd name="T9" fmla="*/ 350 h 1206"/>
                <a:gd name="T10" fmla="*/ 1912 w 1964"/>
                <a:gd name="T11" fmla="*/ 346 h 1206"/>
                <a:gd name="T12" fmla="*/ 1894 w 1964"/>
                <a:gd name="T13" fmla="*/ 350 h 1206"/>
                <a:gd name="T14" fmla="*/ 1876 w 1964"/>
                <a:gd name="T15" fmla="*/ 360 h 1206"/>
                <a:gd name="T16" fmla="*/ 1738 w 1964"/>
                <a:gd name="T17" fmla="*/ 410 h 1206"/>
                <a:gd name="T18" fmla="*/ 1444 w 1964"/>
                <a:gd name="T19" fmla="*/ 116 h 1206"/>
                <a:gd name="T20" fmla="*/ 1402 w 1964"/>
                <a:gd name="T21" fmla="*/ 76 h 1206"/>
                <a:gd name="T22" fmla="*/ 1356 w 1964"/>
                <a:gd name="T23" fmla="*/ 40 h 1206"/>
                <a:gd name="T24" fmla="*/ 1310 w 1964"/>
                <a:gd name="T25" fmla="*/ 14 h 1206"/>
                <a:gd name="T26" fmla="*/ 1276 w 1964"/>
                <a:gd name="T27" fmla="*/ 4 h 1206"/>
                <a:gd name="T28" fmla="*/ 1264 w 1964"/>
                <a:gd name="T29" fmla="*/ 4 h 1206"/>
                <a:gd name="T30" fmla="*/ 334 w 1964"/>
                <a:gd name="T31" fmla="*/ 0 h 1206"/>
                <a:gd name="T32" fmla="*/ 138 w 1964"/>
                <a:gd name="T33" fmla="*/ 2 h 1206"/>
                <a:gd name="T34" fmla="*/ 114 w 1964"/>
                <a:gd name="T35" fmla="*/ 4 h 1206"/>
                <a:gd name="T36" fmla="*/ 74 w 1964"/>
                <a:gd name="T37" fmla="*/ 12 h 1206"/>
                <a:gd name="T38" fmla="*/ 42 w 1964"/>
                <a:gd name="T39" fmla="*/ 26 h 1206"/>
                <a:gd name="T40" fmla="*/ 0 w 1964"/>
                <a:gd name="T41" fmla="*/ 52 h 1206"/>
                <a:gd name="T42" fmla="*/ 16 w 1964"/>
                <a:gd name="T43" fmla="*/ 44 h 1206"/>
                <a:gd name="T44" fmla="*/ 54 w 1964"/>
                <a:gd name="T45" fmla="*/ 30 h 1206"/>
                <a:gd name="T46" fmla="*/ 92 w 1964"/>
                <a:gd name="T47" fmla="*/ 26 h 1206"/>
                <a:gd name="T48" fmla="*/ 132 w 1964"/>
                <a:gd name="T49" fmla="*/ 28 h 1206"/>
                <a:gd name="T50" fmla="*/ 172 w 1964"/>
                <a:gd name="T51" fmla="*/ 38 h 1206"/>
                <a:gd name="T52" fmla="*/ 214 w 1964"/>
                <a:gd name="T53" fmla="*/ 54 h 1206"/>
                <a:gd name="T54" fmla="*/ 256 w 1964"/>
                <a:gd name="T55" fmla="*/ 80 h 1206"/>
                <a:gd name="T56" fmla="*/ 298 w 1964"/>
                <a:gd name="T57" fmla="*/ 112 h 1206"/>
                <a:gd name="T58" fmla="*/ 1212 w 1964"/>
                <a:gd name="T59" fmla="*/ 1026 h 1206"/>
                <a:gd name="T60" fmla="*/ 1120 w 1964"/>
                <a:gd name="T61" fmla="*/ 1118 h 1206"/>
                <a:gd name="T62" fmla="*/ 1108 w 1964"/>
                <a:gd name="T63" fmla="*/ 1136 h 1206"/>
                <a:gd name="T64" fmla="*/ 1104 w 1964"/>
                <a:gd name="T65" fmla="*/ 1154 h 1206"/>
                <a:gd name="T66" fmla="*/ 1108 w 1964"/>
                <a:gd name="T67" fmla="*/ 1174 h 1206"/>
                <a:gd name="T68" fmla="*/ 1118 w 1964"/>
                <a:gd name="T69" fmla="*/ 1190 h 1206"/>
                <a:gd name="T70" fmla="*/ 1126 w 1964"/>
                <a:gd name="T71" fmla="*/ 1194 h 1206"/>
                <a:gd name="T72" fmla="*/ 1142 w 1964"/>
                <a:gd name="T73" fmla="*/ 1202 h 1206"/>
                <a:gd name="T74" fmla="*/ 1874 w 1964"/>
                <a:gd name="T75" fmla="*/ 1206 h 1206"/>
                <a:gd name="T76" fmla="*/ 1892 w 1964"/>
                <a:gd name="T77" fmla="*/ 1206 h 1206"/>
                <a:gd name="T78" fmla="*/ 1926 w 1964"/>
                <a:gd name="T79" fmla="*/ 1194 h 1206"/>
                <a:gd name="T80" fmla="*/ 1940 w 1964"/>
                <a:gd name="T81" fmla="*/ 1182 h 1206"/>
                <a:gd name="T82" fmla="*/ 1960 w 1964"/>
                <a:gd name="T83" fmla="*/ 1152 h 1206"/>
                <a:gd name="T84" fmla="*/ 1964 w 1964"/>
                <a:gd name="T85" fmla="*/ 1116 h 1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964" h="1206">
                  <a:moveTo>
                    <a:pt x="1964" y="1116"/>
                  </a:moveTo>
                  <a:lnTo>
                    <a:pt x="1962" y="394"/>
                  </a:lnTo>
                  <a:lnTo>
                    <a:pt x="1962" y="394"/>
                  </a:lnTo>
                  <a:lnTo>
                    <a:pt x="1960" y="384"/>
                  </a:lnTo>
                  <a:lnTo>
                    <a:pt x="1958" y="376"/>
                  </a:lnTo>
                  <a:lnTo>
                    <a:pt x="1954" y="368"/>
                  </a:lnTo>
                  <a:lnTo>
                    <a:pt x="1948" y="362"/>
                  </a:lnTo>
                  <a:lnTo>
                    <a:pt x="1948" y="362"/>
                  </a:lnTo>
                  <a:lnTo>
                    <a:pt x="1940" y="354"/>
                  </a:lnTo>
                  <a:lnTo>
                    <a:pt x="1932" y="350"/>
                  </a:lnTo>
                  <a:lnTo>
                    <a:pt x="1922" y="348"/>
                  </a:lnTo>
                  <a:lnTo>
                    <a:pt x="1912" y="346"/>
                  </a:lnTo>
                  <a:lnTo>
                    <a:pt x="1904" y="348"/>
                  </a:lnTo>
                  <a:lnTo>
                    <a:pt x="1894" y="350"/>
                  </a:lnTo>
                  <a:lnTo>
                    <a:pt x="1884" y="354"/>
                  </a:lnTo>
                  <a:lnTo>
                    <a:pt x="1876" y="360"/>
                  </a:lnTo>
                  <a:lnTo>
                    <a:pt x="1782" y="456"/>
                  </a:lnTo>
                  <a:lnTo>
                    <a:pt x="1738" y="410"/>
                  </a:lnTo>
                  <a:lnTo>
                    <a:pt x="1738" y="410"/>
                  </a:lnTo>
                  <a:lnTo>
                    <a:pt x="1444" y="116"/>
                  </a:lnTo>
                  <a:lnTo>
                    <a:pt x="1444" y="116"/>
                  </a:lnTo>
                  <a:lnTo>
                    <a:pt x="1402" y="76"/>
                  </a:lnTo>
                  <a:lnTo>
                    <a:pt x="1380" y="58"/>
                  </a:lnTo>
                  <a:lnTo>
                    <a:pt x="1356" y="40"/>
                  </a:lnTo>
                  <a:lnTo>
                    <a:pt x="1332" y="26"/>
                  </a:lnTo>
                  <a:lnTo>
                    <a:pt x="1310" y="14"/>
                  </a:lnTo>
                  <a:lnTo>
                    <a:pt x="1286" y="6"/>
                  </a:lnTo>
                  <a:lnTo>
                    <a:pt x="1276" y="4"/>
                  </a:lnTo>
                  <a:lnTo>
                    <a:pt x="1264" y="4"/>
                  </a:lnTo>
                  <a:lnTo>
                    <a:pt x="1264" y="4"/>
                  </a:lnTo>
                  <a:lnTo>
                    <a:pt x="716" y="2"/>
                  </a:lnTo>
                  <a:lnTo>
                    <a:pt x="334" y="0"/>
                  </a:lnTo>
                  <a:lnTo>
                    <a:pt x="200" y="0"/>
                  </a:lnTo>
                  <a:lnTo>
                    <a:pt x="138" y="2"/>
                  </a:lnTo>
                  <a:lnTo>
                    <a:pt x="138" y="2"/>
                  </a:lnTo>
                  <a:lnTo>
                    <a:pt x="114" y="4"/>
                  </a:lnTo>
                  <a:lnTo>
                    <a:pt x="92" y="8"/>
                  </a:lnTo>
                  <a:lnTo>
                    <a:pt x="74" y="12"/>
                  </a:lnTo>
                  <a:lnTo>
                    <a:pt x="58" y="18"/>
                  </a:lnTo>
                  <a:lnTo>
                    <a:pt x="42" y="26"/>
                  </a:lnTo>
                  <a:lnTo>
                    <a:pt x="28" y="34"/>
                  </a:lnTo>
                  <a:lnTo>
                    <a:pt x="0" y="52"/>
                  </a:lnTo>
                  <a:lnTo>
                    <a:pt x="0" y="52"/>
                  </a:lnTo>
                  <a:lnTo>
                    <a:pt x="16" y="44"/>
                  </a:lnTo>
                  <a:lnTo>
                    <a:pt x="36" y="36"/>
                  </a:lnTo>
                  <a:lnTo>
                    <a:pt x="54" y="30"/>
                  </a:lnTo>
                  <a:lnTo>
                    <a:pt x="74" y="28"/>
                  </a:lnTo>
                  <a:lnTo>
                    <a:pt x="92" y="26"/>
                  </a:lnTo>
                  <a:lnTo>
                    <a:pt x="112" y="26"/>
                  </a:lnTo>
                  <a:lnTo>
                    <a:pt x="132" y="28"/>
                  </a:lnTo>
                  <a:lnTo>
                    <a:pt x="152" y="32"/>
                  </a:lnTo>
                  <a:lnTo>
                    <a:pt x="172" y="38"/>
                  </a:lnTo>
                  <a:lnTo>
                    <a:pt x="194" y="44"/>
                  </a:lnTo>
                  <a:lnTo>
                    <a:pt x="214" y="54"/>
                  </a:lnTo>
                  <a:lnTo>
                    <a:pt x="234" y="66"/>
                  </a:lnTo>
                  <a:lnTo>
                    <a:pt x="256" y="80"/>
                  </a:lnTo>
                  <a:lnTo>
                    <a:pt x="276" y="94"/>
                  </a:lnTo>
                  <a:lnTo>
                    <a:pt x="298" y="112"/>
                  </a:lnTo>
                  <a:lnTo>
                    <a:pt x="318" y="132"/>
                  </a:lnTo>
                  <a:lnTo>
                    <a:pt x="1212" y="1026"/>
                  </a:lnTo>
                  <a:lnTo>
                    <a:pt x="1120" y="1118"/>
                  </a:lnTo>
                  <a:lnTo>
                    <a:pt x="1120" y="1118"/>
                  </a:lnTo>
                  <a:lnTo>
                    <a:pt x="1114" y="1126"/>
                  </a:lnTo>
                  <a:lnTo>
                    <a:pt x="1108" y="1136"/>
                  </a:lnTo>
                  <a:lnTo>
                    <a:pt x="1106" y="1146"/>
                  </a:lnTo>
                  <a:lnTo>
                    <a:pt x="1104" y="1154"/>
                  </a:lnTo>
                  <a:lnTo>
                    <a:pt x="1106" y="1164"/>
                  </a:lnTo>
                  <a:lnTo>
                    <a:pt x="1108" y="1174"/>
                  </a:lnTo>
                  <a:lnTo>
                    <a:pt x="1112" y="1182"/>
                  </a:lnTo>
                  <a:lnTo>
                    <a:pt x="1118" y="1190"/>
                  </a:lnTo>
                  <a:lnTo>
                    <a:pt x="1118" y="1190"/>
                  </a:lnTo>
                  <a:lnTo>
                    <a:pt x="1126" y="1194"/>
                  </a:lnTo>
                  <a:lnTo>
                    <a:pt x="1134" y="1200"/>
                  </a:lnTo>
                  <a:lnTo>
                    <a:pt x="1142" y="1202"/>
                  </a:lnTo>
                  <a:lnTo>
                    <a:pt x="1152" y="1204"/>
                  </a:lnTo>
                  <a:lnTo>
                    <a:pt x="1874" y="1206"/>
                  </a:lnTo>
                  <a:lnTo>
                    <a:pt x="1874" y="1206"/>
                  </a:lnTo>
                  <a:lnTo>
                    <a:pt x="1892" y="1206"/>
                  </a:lnTo>
                  <a:lnTo>
                    <a:pt x="1910" y="1202"/>
                  </a:lnTo>
                  <a:lnTo>
                    <a:pt x="1926" y="1194"/>
                  </a:lnTo>
                  <a:lnTo>
                    <a:pt x="1940" y="1182"/>
                  </a:lnTo>
                  <a:lnTo>
                    <a:pt x="1940" y="1182"/>
                  </a:lnTo>
                  <a:lnTo>
                    <a:pt x="1952" y="1168"/>
                  </a:lnTo>
                  <a:lnTo>
                    <a:pt x="1960" y="1152"/>
                  </a:lnTo>
                  <a:lnTo>
                    <a:pt x="1964" y="1134"/>
                  </a:lnTo>
                  <a:lnTo>
                    <a:pt x="1964" y="1116"/>
                  </a:lnTo>
                  <a:lnTo>
                    <a:pt x="1964" y="1116"/>
                  </a:lnTo>
                  <a:close/>
                </a:path>
              </a:pathLst>
            </a:custGeom>
            <a:solidFill>
              <a:schemeClr val="accent1">
                <a:lumMod val="20000"/>
                <a:lumOff val="8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828" tIns="38415" rIns="76828" bIns="38415" numCol="1" anchor="t" anchorCtr="0" compatLnSpc="1">
              <a:prstTxWarp prst="textNoShape">
                <a:avLst/>
              </a:prstTxWarp>
            </a:bodyPr>
            <a:lstStyle/>
            <a:p>
              <a:endParaRPr lang="en-GB" sz="1680"/>
            </a:p>
          </p:txBody>
        </p:sp>
        <p:sp>
          <p:nvSpPr>
            <p:cNvPr id="170" name="Rectangle 68">
              <a:extLst>
                <a:ext uri="{FF2B5EF4-FFF2-40B4-BE49-F238E27FC236}">
                  <a16:creationId xmlns:a16="http://schemas.microsoft.com/office/drawing/2014/main" id="{CAE875AA-B702-478A-810D-B59362C13A81}"/>
                </a:ext>
              </a:extLst>
            </p:cNvPr>
            <p:cNvSpPr/>
            <p:nvPr/>
          </p:nvSpPr>
          <p:spPr>
            <a:xfrm rot="2677252">
              <a:off x="3550041" y="2102911"/>
              <a:ext cx="1193774" cy="291615"/>
            </a:xfrm>
            <a:prstGeom prst="rect">
              <a:avLst/>
            </a:prstGeom>
            <a:noFill/>
          </p:spPr>
          <p:txBody>
            <a:bodyPr wrap="square">
              <a:spAutoFit/>
            </a:bodyPr>
            <a:lstStyle/>
            <a:p>
              <a:pPr algn="ctr"/>
              <a:r>
                <a:rPr lang="zh-CN" altLang="en-US" sz="1600" b="1" dirty="0">
                  <a:solidFill>
                    <a:srgbClr val="1A1918"/>
                  </a:solidFill>
                  <a:latin typeface="微软雅黑" panose="020B0503020204020204" pitchFamily="34" charset="-122"/>
                  <a:ea typeface="微软雅黑" panose="020B0503020204020204" pitchFamily="34" charset="-122"/>
                </a:rPr>
                <a:t>患者负担沉重</a:t>
              </a:r>
            </a:p>
          </p:txBody>
        </p:sp>
        <p:sp>
          <p:nvSpPr>
            <p:cNvPr id="171" name="Freeform 32">
              <a:extLst>
                <a:ext uri="{FF2B5EF4-FFF2-40B4-BE49-F238E27FC236}">
                  <a16:creationId xmlns:a16="http://schemas.microsoft.com/office/drawing/2014/main" id="{609DF2DA-9E19-46D4-8FE6-FEAADC644744}"/>
                </a:ext>
              </a:extLst>
            </p:cNvPr>
            <p:cNvSpPr>
              <a:spLocks/>
            </p:cNvSpPr>
            <p:nvPr/>
          </p:nvSpPr>
          <p:spPr bwMode="auto">
            <a:xfrm>
              <a:off x="6198460" y="4942475"/>
              <a:ext cx="854906" cy="286332"/>
            </a:xfrm>
            <a:custGeom>
              <a:avLst/>
              <a:gdLst>
                <a:gd name="T0" fmla="*/ 836 w 836"/>
                <a:gd name="T1" fmla="*/ 0 h 280"/>
                <a:gd name="T2" fmla="*/ 0 w 836"/>
                <a:gd name="T3" fmla="*/ 0 h 280"/>
                <a:gd name="T4" fmla="*/ 0 w 836"/>
                <a:gd name="T5" fmla="*/ 280 h 280"/>
                <a:gd name="T6" fmla="*/ 566 w 836"/>
                <a:gd name="T7" fmla="*/ 280 h 280"/>
                <a:gd name="T8" fmla="*/ 566 w 836"/>
                <a:gd name="T9" fmla="*/ 280 h 280"/>
                <a:gd name="T10" fmla="*/ 574 w 836"/>
                <a:gd name="T11" fmla="*/ 280 h 280"/>
                <a:gd name="T12" fmla="*/ 594 w 836"/>
                <a:gd name="T13" fmla="*/ 276 h 280"/>
                <a:gd name="T14" fmla="*/ 608 w 836"/>
                <a:gd name="T15" fmla="*/ 274 h 280"/>
                <a:gd name="T16" fmla="*/ 624 w 836"/>
                <a:gd name="T17" fmla="*/ 268 h 280"/>
                <a:gd name="T18" fmla="*/ 644 w 836"/>
                <a:gd name="T19" fmla="*/ 260 h 280"/>
                <a:gd name="T20" fmla="*/ 662 w 836"/>
                <a:gd name="T21" fmla="*/ 248 h 280"/>
                <a:gd name="T22" fmla="*/ 684 w 836"/>
                <a:gd name="T23" fmla="*/ 234 h 280"/>
                <a:gd name="T24" fmla="*/ 706 w 836"/>
                <a:gd name="T25" fmla="*/ 216 h 280"/>
                <a:gd name="T26" fmla="*/ 728 w 836"/>
                <a:gd name="T27" fmla="*/ 192 h 280"/>
                <a:gd name="T28" fmla="*/ 750 w 836"/>
                <a:gd name="T29" fmla="*/ 166 h 280"/>
                <a:gd name="T30" fmla="*/ 774 w 836"/>
                <a:gd name="T31" fmla="*/ 132 h 280"/>
                <a:gd name="T32" fmla="*/ 796 w 836"/>
                <a:gd name="T33" fmla="*/ 94 h 280"/>
                <a:gd name="T34" fmla="*/ 816 w 836"/>
                <a:gd name="T35" fmla="*/ 50 h 280"/>
                <a:gd name="T36" fmla="*/ 836 w 836"/>
                <a:gd name="T37" fmla="*/ 0 h 280"/>
                <a:gd name="T38" fmla="*/ 836 w 836"/>
                <a:gd name="T39" fmla="*/ 0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36" h="280">
                  <a:moveTo>
                    <a:pt x="836" y="0"/>
                  </a:moveTo>
                  <a:lnTo>
                    <a:pt x="0" y="0"/>
                  </a:lnTo>
                  <a:lnTo>
                    <a:pt x="0" y="280"/>
                  </a:lnTo>
                  <a:lnTo>
                    <a:pt x="566" y="280"/>
                  </a:lnTo>
                  <a:lnTo>
                    <a:pt x="566" y="280"/>
                  </a:lnTo>
                  <a:lnTo>
                    <a:pt x="574" y="280"/>
                  </a:lnTo>
                  <a:lnTo>
                    <a:pt x="594" y="276"/>
                  </a:lnTo>
                  <a:lnTo>
                    <a:pt x="608" y="274"/>
                  </a:lnTo>
                  <a:lnTo>
                    <a:pt x="624" y="268"/>
                  </a:lnTo>
                  <a:lnTo>
                    <a:pt x="644" y="260"/>
                  </a:lnTo>
                  <a:lnTo>
                    <a:pt x="662" y="248"/>
                  </a:lnTo>
                  <a:lnTo>
                    <a:pt x="684" y="234"/>
                  </a:lnTo>
                  <a:lnTo>
                    <a:pt x="706" y="216"/>
                  </a:lnTo>
                  <a:lnTo>
                    <a:pt x="728" y="192"/>
                  </a:lnTo>
                  <a:lnTo>
                    <a:pt x="750" y="166"/>
                  </a:lnTo>
                  <a:lnTo>
                    <a:pt x="774" y="132"/>
                  </a:lnTo>
                  <a:lnTo>
                    <a:pt x="796" y="94"/>
                  </a:lnTo>
                  <a:lnTo>
                    <a:pt x="816" y="50"/>
                  </a:lnTo>
                  <a:lnTo>
                    <a:pt x="836" y="0"/>
                  </a:lnTo>
                  <a:lnTo>
                    <a:pt x="836" y="0"/>
                  </a:lnTo>
                  <a:close/>
                </a:path>
              </a:pathLst>
            </a:custGeom>
            <a:solidFill>
              <a:schemeClr val="bg1">
                <a:lumMod val="6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828" tIns="38415" rIns="76828" bIns="38415" numCol="1" anchor="t" anchorCtr="0" compatLnSpc="1">
              <a:prstTxWarp prst="textNoShape">
                <a:avLst/>
              </a:prstTxWarp>
            </a:bodyPr>
            <a:lstStyle/>
            <a:p>
              <a:endParaRPr lang="en-GB" sz="1680"/>
            </a:p>
          </p:txBody>
        </p:sp>
        <p:sp>
          <p:nvSpPr>
            <p:cNvPr id="174" name="Freeform 35">
              <a:extLst>
                <a:ext uri="{FF2B5EF4-FFF2-40B4-BE49-F238E27FC236}">
                  <a16:creationId xmlns:a16="http://schemas.microsoft.com/office/drawing/2014/main" id="{D5E4A222-3525-4BDA-84DF-DCD600BE38F5}"/>
                </a:ext>
              </a:extLst>
            </p:cNvPr>
            <p:cNvSpPr>
              <a:spLocks/>
            </p:cNvSpPr>
            <p:nvPr/>
          </p:nvSpPr>
          <p:spPr bwMode="auto">
            <a:xfrm>
              <a:off x="4875198" y="4018032"/>
              <a:ext cx="2008415" cy="1233273"/>
            </a:xfrm>
            <a:custGeom>
              <a:avLst/>
              <a:gdLst>
                <a:gd name="T0" fmla="*/ 2 w 1964"/>
                <a:gd name="T1" fmla="*/ 812 h 1206"/>
                <a:gd name="T2" fmla="*/ 4 w 1964"/>
                <a:gd name="T3" fmla="*/ 820 h 1206"/>
                <a:gd name="T4" fmla="*/ 10 w 1964"/>
                <a:gd name="T5" fmla="*/ 838 h 1206"/>
                <a:gd name="T6" fmla="*/ 16 w 1964"/>
                <a:gd name="T7" fmla="*/ 844 h 1206"/>
                <a:gd name="T8" fmla="*/ 32 w 1964"/>
                <a:gd name="T9" fmla="*/ 854 h 1206"/>
                <a:gd name="T10" fmla="*/ 52 w 1964"/>
                <a:gd name="T11" fmla="*/ 858 h 1206"/>
                <a:gd name="T12" fmla="*/ 70 w 1964"/>
                <a:gd name="T13" fmla="*/ 854 h 1206"/>
                <a:gd name="T14" fmla="*/ 88 w 1964"/>
                <a:gd name="T15" fmla="*/ 844 h 1206"/>
                <a:gd name="T16" fmla="*/ 226 w 1964"/>
                <a:gd name="T17" fmla="*/ 794 h 1206"/>
                <a:gd name="T18" fmla="*/ 520 w 1964"/>
                <a:gd name="T19" fmla="*/ 1090 h 1206"/>
                <a:gd name="T20" fmla="*/ 562 w 1964"/>
                <a:gd name="T21" fmla="*/ 1128 h 1206"/>
                <a:gd name="T22" fmla="*/ 608 w 1964"/>
                <a:gd name="T23" fmla="*/ 1164 h 1206"/>
                <a:gd name="T24" fmla="*/ 654 w 1964"/>
                <a:gd name="T25" fmla="*/ 1190 h 1206"/>
                <a:gd name="T26" fmla="*/ 688 w 1964"/>
                <a:gd name="T27" fmla="*/ 1200 h 1206"/>
                <a:gd name="T28" fmla="*/ 700 w 1964"/>
                <a:gd name="T29" fmla="*/ 1202 h 1206"/>
                <a:gd name="T30" fmla="*/ 1630 w 1964"/>
                <a:gd name="T31" fmla="*/ 1206 h 1206"/>
                <a:gd name="T32" fmla="*/ 1826 w 1964"/>
                <a:gd name="T33" fmla="*/ 1204 h 1206"/>
                <a:gd name="T34" fmla="*/ 1850 w 1964"/>
                <a:gd name="T35" fmla="*/ 1202 h 1206"/>
                <a:gd name="T36" fmla="*/ 1890 w 1964"/>
                <a:gd name="T37" fmla="*/ 1192 h 1206"/>
                <a:gd name="T38" fmla="*/ 1922 w 1964"/>
                <a:gd name="T39" fmla="*/ 1180 h 1206"/>
                <a:gd name="T40" fmla="*/ 1964 w 1964"/>
                <a:gd name="T41" fmla="*/ 1154 h 1206"/>
                <a:gd name="T42" fmla="*/ 1946 w 1964"/>
                <a:gd name="T43" fmla="*/ 1162 h 1206"/>
                <a:gd name="T44" fmla="*/ 1910 w 1964"/>
                <a:gd name="T45" fmla="*/ 1174 h 1206"/>
                <a:gd name="T46" fmla="*/ 1872 w 1964"/>
                <a:gd name="T47" fmla="*/ 1180 h 1206"/>
                <a:gd name="T48" fmla="*/ 1832 w 1964"/>
                <a:gd name="T49" fmla="*/ 1178 h 1206"/>
                <a:gd name="T50" fmla="*/ 1792 w 1964"/>
                <a:gd name="T51" fmla="*/ 1168 h 1206"/>
                <a:gd name="T52" fmla="*/ 1750 w 1964"/>
                <a:gd name="T53" fmla="*/ 1150 h 1206"/>
                <a:gd name="T54" fmla="*/ 1708 w 1964"/>
                <a:gd name="T55" fmla="*/ 1126 h 1206"/>
                <a:gd name="T56" fmla="*/ 1666 w 1964"/>
                <a:gd name="T57" fmla="*/ 1092 h 1206"/>
                <a:gd name="T58" fmla="*/ 752 w 1964"/>
                <a:gd name="T59" fmla="*/ 178 h 1206"/>
                <a:gd name="T60" fmla="*/ 844 w 1964"/>
                <a:gd name="T61" fmla="*/ 86 h 1206"/>
                <a:gd name="T62" fmla="*/ 856 w 1964"/>
                <a:gd name="T63" fmla="*/ 70 h 1206"/>
                <a:gd name="T64" fmla="*/ 860 w 1964"/>
                <a:gd name="T65" fmla="*/ 50 h 1206"/>
                <a:gd name="T66" fmla="*/ 856 w 1964"/>
                <a:gd name="T67" fmla="*/ 32 h 1206"/>
                <a:gd name="T68" fmla="*/ 846 w 1964"/>
                <a:gd name="T69" fmla="*/ 16 h 1206"/>
                <a:gd name="T70" fmla="*/ 838 w 1964"/>
                <a:gd name="T71" fmla="*/ 10 h 1206"/>
                <a:gd name="T72" fmla="*/ 822 w 1964"/>
                <a:gd name="T73" fmla="*/ 2 h 1206"/>
                <a:gd name="T74" fmla="*/ 90 w 1964"/>
                <a:gd name="T75" fmla="*/ 0 h 1206"/>
                <a:gd name="T76" fmla="*/ 72 w 1964"/>
                <a:gd name="T77" fmla="*/ 0 h 1206"/>
                <a:gd name="T78" fmla="*/ 38 w 1964"/>
                <a:gd name="T79" fmla="*/ 12 h 1206"/>
                <a:gd name="T80" fmla="*/ 24 w 1964"/>
                <a:gd name="T81" fmla="*/ 22 h 1206"/>
                <a:gd name="T82" fmla="*/ 4 w 1964"/>
                <a:gd name="T83" fmla="*/ 52 h 1206"/>
                <a:gd name="T84" fmla="*/ 0 w 1964"/>
                <a:gd name="T85" fmla="*/ 90 h 1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964" h="1206">
                  <a:moveTo>
                    <a:pt x="0" y="90"/>
                  </a:moveTo>
                  <a:lnTo>
                    <a:pt x="2" y="812"/>
                  </a:lnTo>
                  <a:lnTo>
                    <a:pt x="2" y="812"/>
                  </a:lnTo>
                  <a:lnTo>
                    <a:pt x="4" y="820"/>
                  </a:lnTo>
                  <a:lnTo>
                    <a:pt x="6" y="830"/>
                  </a:lnTo>
                  <a:lnTo>
                    <a:pt x="10" y="838"/>
                  </a:lnTo>
                  <a:lnTo>
                    <a:pt x="16" y="844"/>
                  </a:lnTo>
                  <a:lnTo>
                    <a:pt x="16" y="844"/>
                  </a:lnTo>
                  <a:lnTo>
                    <a:pt x="24" y="850"/>
                  </a:lnTo>
                  <a:lnTo>
                    <a:pt x="32" y="854"/>
                  </a:lnTo>
                  <a:lnTo>
                    <a:pt x="42" y="858"/>
                  </a:lnTo>
                  <a:lnTo>
                    <a:pt x="52" y="858"/>
                  </a:lnTo>
                  <a:lnTo>
                    <a:pt x="60" y="858"/>
                  </a:lnTo>
                  <a:lnTo>
                    <a:pt x="70" y="854"/>
                  </a:lnTo>
                  <a:lnTo>
                    <a:pt x="80" y="850"/>
                  </a:lnTo>
                  <a:lnTo>
                    <a:pt x="88" y="844"/>
                  </a:lnTo>
                  <a:lnTo>
                    <a:pt x="180" y="750"/>
                  </a:lnTo>
                  <a:lnTo>
                    <a:pt x="226" y="794"/>
                  </a:lnTo>
                  <a:lnTo>
                    <a:pt x="226" y="794"/>
                  </a:lnTo>
                  <a:lnTo>
                    <a:pt x="520" y="1090"/>
                  </a:lnTo>
                  <a:lnTo>
                    <a:pt x="520" y="1090"/>
                  </a:lnTo>
                  <a:lnTo>
                    <a:pt x="562" y="1128"/>
                  </a:lnTo>
                  <a:lnTo>
                    <a:pt x="584" y="1148"/>
                  </a:lnTo>
                  <a:lnTo>
                    <a:pt x="608" y="1164"/>
                  </a:lnTo>
                  <a:lnTo>
                    <a:pt x="632" y="1180"/>
                  </a:lnTo>
                  <a:lnTo>
                    <a:pt x="654" y="1190"/>
                  </a:lnTo>
                  <a:lnTo>
                    <a:pt x="678" y="1198"/>
                  </a:lnTo>
                  <a:lnTo>
                    <a:pt x="688" y="1200"/>
                  </a:lnTo>
                  <a:lnTo>
                    <a:pt x="700" y="1202"/>
                  </a:lnTo>
                  <a:lnTo>
                    <a:pt x="700" y="1202"/>
                  </a:lnTo>
                  <a:lnTo>
                    <a:pt x="1248" y="1204"/>
                  </a:lnTo>
                  <a:lnTo>
                    <a:pt x="1630" y="1206"/>
                  </a:lnTo>
                  <a:lnTo>
                    <a:pt x="1764" y="1204"/>
                  </a:lnTo>
                  <a:lnTo>
                    <a:pt x="1826" y="1204"/>
                  </a:lnTo>
                  <a:lnTo>
                    <a:pt x="1826" y="1204"/>
                  </a:lnTo>
                  <a:lnTo>
                    <a:pt x="1850" y="1202"/>
                  </a:lnTo>
                  <a:lnTo>
                    <a:pt x="1872" y="1198"/>
                  </a:lnTo>
                  <a:lnTo>
                    <a:pt x="1890" y="1192"/>
                  </a:lnTo>
                  <a:lnTo>
                    <a:pt x="1906" y="1186"/>
                  </a:lnTo>
                  <a:lnTo>
                    <a:pt x="1922" y="1180"/>
                  </a:lnTo>
                  <a:lnTo>
                    <a:pt x="1936" y="1172"/>
                  </a:lnTo>
                  <a:lnTo>
                    <a:pt x="1964" y="1154"/>
                  </a:lnTo>
                  <a:lnTo>
                    <a:pt x="1964" y="1154"/>
                  </a:lnTo>
                  <a:lnTo>
                    <a:pt x="1946" y="1162"/>
                  </a:lnTo>
                  <a:lnTo>
                    <a:pt x="1928" y="1168"/>
                  </a:lnTo>
                  <a:lnTo>
                    <a:pt x="1910" y="1174"/>
                  </a:lnTo>
                  <a:lnTo>
                    <a:pt x="1890" y="1178"/>
                  </a:lnTo>
                  <a:lnTo>
                    <a:pt x="1872" y="1180"/>
                  </a:lnTo>
                  <a:lnTo>
                    <a:pt x="1852" y="1180"/>
                  </a:lnTo>
                  <a:lnTo>
                    <a:pt x="1832" y="1178"/>
                  </a:lnTo>
                  <a:lnTo>
                    <a:pt x="1812" y="1174"/>
                  </a:lnTo>
                  <a:lnTo>
                    <a:pt x="1792" y="1168"/>
                  </a:lnTo>
                  <a:lnTo>
                    <a:pt x="1770" y="1160"/>
                  </a:lnTo>
                  <a:lnTo>
                    <a:pt x="1750" y="1150"/>
                  </a:lnTo>
                  <a:lnTo>
                    <a:pt x="1730" y="1140"/>
                  </a:lnTo>
                  <a:lnTo>
                    <a:pt x="1708" y="1126"/>
                  </a:lnTo>
                  <a:lnTo>
                    <a:pt x="1688" y="1110"/>
                  </a:lnTo>
                  <a:lnTo>
                    <a:pt x="1666" y="1092"/>
                  </a:lnTo>
                  <a:lnTo>
                    <a:pt x="1646" y="1074"/>
                  </a:lnTo>
                  <a:lnTo>
                    <a:pt x="752" y="178"/>
                  </a:lnTo>
                  <a:lnTo>
                    <a:pt x="844" y="86"/>
                  </a:lnTo>
                  <a:lnTo>
                    <a:pt x="844" y="86"/>
                  </a:lnTo>
                  <a:lnTo>
                    <a:pt x="850" y="78"/>
                  </a:lnTo>
                  <a:lnTo>
                    <a:pt x="856" y="70"/>
                  </a:lnTo>
                  <a:lnTo>
                    <a:pt x="858" y="60"/>
                  </a:lnTo>
                  <a:lnTo>
                    <a:pt x="860" y="50"/>
                  </a:lnTo>
                  <a:lnTo>
                    <a:pt x="858" y="42"/>
                  </a:lnTo>
                  <a:lnTo>
                    <a:pt x="856" y="32"/>
                  </a:lnTo>
                  <a:lnTo>
                    <a:pt x="852" y="24"/>
                  </a:lnTo>
                  <a:lnTo>
                    <a:pt x="846" y="16"/>
                  </a:lnTo>
                  <a:lnTo>
                    <a:pt x="846" y="16"/>
                  </a:lnTo>
                  <a:lnTo>
                    <a:pt x="838" y="10"/>
                  </a:lnTo>
                  <a:lnTo>
                    <a:pt x="830" y="6"/>
                  </a:lnTo>
                  <a:lnTo>
                    <a:pt x="822" y="2"/>
                  </a:lnTo>
                  <a:lnTo>
                    <a:pt x="812" y="2"/>
                  </a:lnTo>
                  <a:lnTo>
                    <a:pt x="90" y="0"/>
                  </a:lnTo>
                  <a:lnTo>
                    <a:pt x="90" y="0"/>
                  </a:lnTo>
                  <a:lnTo>
                    <a:pt x="72" y="0"/>
                  </a:lnTo>
                  <a:lnTo>
                    <a:pt x="54" y="4"/>
                  </a:lnTo>
                  <a:lnTo>
                    <a:pt x="38" y="12"/>
                  </a:lnTo>
                  <a:lnTo>
                    <a:pt x="24" y="22"/>
                  </a:lnTo>
                  <a:lnTo>
                    <a:pt x="24" y="22"/>
                  </a:lnTo>
                  <a:lnTo>
                    <a:pt x="12" y="36"/>
                  </a:lnTo>
                  <a:lnTo>
                    <a:pt x="4" y="52"/>
                  </a:lnTo>
                  <a:lnTo>
                    <a:pt x="0" y="70"/>
                  </a:lnTo>
                  <a:lnTo>
                    <a:pt x="0" y="90"/>
                  </a:lnTo>
                  <a:lnTo>
                    <a:pt x="0" y="90"/>
                  </a:lnTo>
                  <a:close/>
                </a:path>
              </a:pathLst>
            </a:custGeom>
            <a:solidFill>
              <a:schemeClr val="accent1">
                <a:lumMod val="20000"/>
                <a:lumOff val="8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828" tIns="38415" rIns="76828" bIns="38415" numCol="1" anchor="t" anchorCtr="0" compatLnSpc="1">
              <a:prstTxWarp prst="textNoShape">
                <a:avLst/>
              </a:prstTxWarp>
            </a:bodyPr>
            <a:lstStyle/>
            <a:p>
              <a:endParaRPr lang="en-GB" sz="1680"/>
            </a:p>
          </p:txBody>
        </p:sp>
        <p:sp>
          <p:nvSpPr>
            <p:cNvPr id="193" name="Rectangle 72">
              <a:extLst>
                <a:ext uri="{FF2B5EF4-FFF2-40B4-BE49-F238E27FC236}">
                  <a16:creationId xmlns:a16="http://schemas.microsoft.com/office/drawing/2014/main" id="{9EC49405-2F30-4546-A8F4-BCB6F62EEE18}"/>
                </a:ext>
              </a:extLst>
            </p:cNvPr>
            <p:cNvSpPr/>
            <p:nvPr/>
          </p:nvSpPr>
          <p:spPr>
            <a:xfrm rot="2623787">
              <a:off x="4988676" y="4380025"/>
              <a:ext cx="1011284" cy="503699"/>
            </a:xfrm>
            <a:prstGeom prst="rect">
              <a:avLst/>
            </a:prstGeom>
            <a:noFill/>
          </p:spPr>
          <p:txBody>
            <a:bodyPr wrap="square">
              <a:spAutoFit/>
            </a:bodyPr>
            <a:lstStyle/>
            <a:p>
              <a:pPr algn="ctr"/>
              <a:r>
                <a:rPr lang="zh-CN" altLang="en-US" sz="1600" b="1" dirty="0">
                  <a:solidFill>
                    <a:srgbClr val="1A1918"/>
                  </a:solidFill>
                  <a:latin typeface="微软雅黑" panose="020B0503020204020204" pitchFamily="34" charset="-122"/>
                  <a:ea typeface="微软雅黑" panose="020B0503020204020204" pitchFamily="34" charset="-122"/>
                </a:rPr>
                <a:t>临床管理难度低</a:t>
              </a:r>
              <a:endParaRPr lang="en-GB" sz="1600" b="1" dirty="0">
                <a:solidFill>
                  <a:srgbClr val="1A1918"/>
                </a:solidFill>
                <a:latin typeface="微软雅黑" panose="020B0503020204020204" pitchFamily="34" charset="-122"/>
                <a:ea typeface="微软雅黑" panose="020B0503020204020204" pitchFamily="34" charset="-122"/>
              </a:endParaRPr>
            </a:p>
          </p:txBody>
        </p:sp>
        <p:sp>
          <p:nvSpPr>
            <p:cNvPr id="194" name="Freeform 31">
              <a:extLst>
                <a:ext uri="{FF2B5EF4-FFF2-40B4-BE49-F238E27FC236}">
                  <a16:creationId xmlns:a16="http://schemas.microsoft.com/office/drawing/2014/main" id="{BFF73F86-6230-468A-A3FF-DD4187C96FA3}"/>
                </a:ext>
              </a:extLst>
            </p:cNvPr>
            <p:cNvSpPr>
              <a:spLocks/>
            </p:cNvSpPr>
            <p:nvPr/>
          </p:nvSpPr>
          <p:spPr bwMode="auto">
            <a:xfrm flipH="1">
              <a:off x="4875198" y="1698340"/>
              <a:ext cx="2008414" cy="1233273"/>
            </a:xfrm>
            <a:custGeom>
              <a:avLst/>
              <a:gdLst>
                <a:gd name="T0" fmla="*/ 1962 w 1964"/>
                <a:gd name="T1" fmla="*/ 394 h 1206"/>
                <a:gd name="T2" fmla="*/ 1960 w 1964"/>
                <a:gd name="T3" fmla="*/ 384 h 1206"/>
                <a:gd name="T4" fmla="*/ 1954 w 1964"/>
                <a:gd name="T5" fmla="*/ 368 h 1206"/>
                <a:gd name="T6" fmla="*/ 1948 w 1964"/>
                <a:gd name="T7" fmla="*/ 362 h 1206"/>
                <a:gd name="T8" fmla="*/ 1932 w 1964"/>
                <a:gd name="T9" fmla="*/ 350 h 1206"/>
                <a:gd name="T10" fmla="*/ 1912 w 1964"/>
                <a:gd name="T11" fmla="*/ 346 h 1206"/>
                <a:gd name="T12" fmla="*/ 1894 w 1964"/>
                <a:gd name="T13" fmla="*/ 350 h 1206"/>
                <a:gd name="T14" fmla="*/ 1876 w 1964"/>
                <a:gd name="T15" fmla="*/ 360 h 1206"/>
                <a:gd name="T16" fmla="*/ 1738 w 1964"/>
                <a:gd name="T17" fmla="*/ 410 h 1206"/>
                <a:gd name="T18" fmla="*/ 1444 w 1964"/>
                <a:gd name="T19" fmla="*/ 116 h 1206"/>
                <a:gd name="T20" fmla="*/ 1402 w 1964"/>
                <a:gd name="T21" fmla="*/ 76 h 1206"/>
                <a:gd name="T22" fmla="*/ 1356 w 1964"/>
                <a:gd name="T23" fmla="*/ 40 h 1206"/>
                <a:gd name="T24" fmla="*/ 1310 w 1964"/>
                <a:gd name="T25" fmla="*/ 14 h 1206"/>
                <a:gd name="T26" fmla="*/ 1276 w 1964"/>
                <a:gd name="T27" fmla="*/ 4 h 1206"/>
                <a:gd name="T28" fmla="*/ 1264 w 1964"/>
                <a:gd name="T29" fmla="*/ 4 h 1206"/>
                <a:gd name="T30" fmla="*/ 334 w 1964"/>
                <a:gd name="T31" fmla="*/ 0 h 1206"/>
                <a:gd name="T32" fmla="*/ 138 w 1964"/>
                <a:gd name="T33" fmla="*/ 2 h 1206"/>
                <a:gd name="T34" fmla="*/ 114 w 1964"/>
                <a:gd name="T35" fmla="*/ 4 h 1206"/>
                <a:gd name="T36" fmla="*/ 74 w 1964"/>
                <a:gd name="T37" fmla="*/ 12 h 1206"/>
                <a:gd name="T38" fmla="*/ 42 w 1964"/>
                <a:gd name="T39" fmla="*/ 26 h 1206"/>
                <a:gd name="T40" fmla="*/ 0 w 1964"/>
                <a:gd name="T41" fmla="*/ 52 h 1206"/>
                <a:gd name="T42" fmla="*/ 16 w 1964"/>
                <a:gd name="T43" fmla="*/ 44 h 1206"/>
                <a:gd name="T44" fmla="*/ 54 w 1964"/>
                <a:gd name="T45" fmla="*/ 30 h 1206"/>
                <a:gd name="T46" fmla="*/ 92 w 1964"/>
                <a:gd name="T47" fmla="*/ 26 h 1206"/>
                <a:gd name="T48" fmla="*/ 132 w 1964"/>
                <a:gd name="T49" fmla="*/ 28 h 1206"/>
                <a:gd name="T50" fmla="*/ 172 w 1964"/>
                <a:gd name="T51" fmla="*/ 38 h 1206"/>
                <a:gd name="T52" fmla="*/ 214 w 1964"/>
                <a:gd name="T53" fmla="*/ 54 h 1206"/>
                <a:gd name="T54" fmla="*/ 256 w 1964"/>
                <a:gd name="T55" fmla="*/ 80 h 1206"/>
                <a:gd name="T56" fmla="*/ 298 w 1964"/>
                <a:gd name="T57" fmla="*/ 112 h 1206"/>
                <a:gd name="T58" fmla="*/ 1212 w 1964"/>
                <a:gd name="T59" fmla="*/ 1026 h 1206"/>
                <a:gd name="T60" fmla="*/ 1120 w 1964"/>
                <a:gd name="T61" fmla="*/ 1118 h 1206"/>
                <a:gd name="T62" fmla="*/ 1108 w 1964"/>
                <a:gd name="T63" fmla="*/ 1136 h 1206"/>
                <a:gd name="T64" fmla="*/ 1104 w 1964"/>
                <a:gd name="T65" fmla="*/ 1154 h 1206"/>
                <a:gd name="T66" fmla="*/ 1108 w 1964"/>
                <a:gd name="T67" fmla="*/ 1174 h 1206"/>
                <a:gd name="T68" fmla="*/ 1118 w 1964"/>
                <a:gd name="T69" fmla="*/ 1190 h 1206"/>
                <a:gd name="T70" fmla="*/ 1126 w 1964"/>
                <a:gd name="T71" fmla="*/ 1194 h 1206"/>
                <a:gd name="T72" fmla="*/ 1142 w 1964"/>
                <a:gd name="T73" fmla="*/ 1202 h 1206"/>
                <a:gd name="T74" fmla="*/ 1874 w 1964"/>
                <a:gd name="T75" fmla="*/ 1206 h 1206"/>
                <a:gd name="T76" fmla="*/ 1892 w 1964"/>
                <a:gd name="T77" fmla="*/ 1206 h 1206"/>
                <a:gd name="T78" fmla="*/ 1926 w 1964"/>
                <a:gd name="T79" fmla="*/ 1194 h 1206"/>
                <a:gd name="T80" fmla="*/ 1940 w 1964"/>
                <a:gd name="T81" fmla="*/ 1182 h 1206"/>
                <a:gd name="T82" fmla="*/ 1960 w 1964"/>
                <a:gd name="T83" fmla="*/ 1152 h 1206"/>
                <a:gd name="T84" fmla="*/ 1964 w 1964"/>
                <a:gd name="T85" fmla="*/ 1116 h 1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964" h="1206">
                  <a:moveTo>
                    <a:pt x="1964" y="1116"/>
                  </a:moveTo>
                  <a:lnTo>
                    <a:pt x="1962" y="394"/>
                  </a:lnTo>
                  <a:lnTo>
                    <a:pt x="1962" y="394"/>
                  </a:lnTo>
                  <a:lnTo>
                    <a:pt x="1960" y="384"/>
                  </a:lnTo>
                  <a:lnTo>
                    <a:pt x="1958" y="376"/>
                  </a:lnTo>
                  <a:lnTo>
                    <a:pt x="1954" y="368"/>
                  </a:lnTo>
                  <a:lnTo>
                    <a:pt x="1948" y="362"/>
                  </a:lnTo>
                  <a:lnTo>
                    <a:pt x="1948" y="362"/>
                  </a:lnTo>
                  <a:lnTo>
                    <a:pt x="1940" y="354"/>
                  </a:lnTo>
                  <a:lnTo>
                    <a:pt x="1932" y="350"/>
                  </a:lnTo>
                  <a:lnTo>
                    <a:pt x="1922" y="348"/>
                  </a:lnTo>
                  <a:lnTo>
                    <a:pt x="1912" y="346"/>
                  </a:lnTo>
                  <a:lnTo>
                    <a:pt x="1904" y="348"/>
                  </a:lnTo>
                  <a:lnTo>
                    <a:pt x="1894" y="350"/>
                  </a:lnTo>
                  <a:lnTo>
                    <a:pt x="1884" y="354"/>
                  </a:lnTo>
                  <a:lnTo>
                    <a:pt x="1876" y="360"/>
                  </a:lnTo>
                  <a:lnTo>
                    <a:pt x="1782" y="456"/>
                  </a:lnTo>
                  <a:lnTo>
                    <a:pt x="1738" y="410"/>
                  </a:lnTo>
                  <a:lnTo>
                    <a:pt x="1738" y="410"/>
                  </a:lnTo>
                  <a:lnTo>
                    <a:pt x="1444" y="116"/>
                  </a:lnTo>
                  <a:lnTo>
                    <a:pt x="1444" y="116"/>
                  </a:lnTo>
                  <a:lnTo>
                    <a:pt x="1402" y="76"/>
                  </a:lnTo>
                  <a:lnTo>
                    <a:pt x="1380" y="58"/>
                  </a:lnTo>
                  <a:lnTo>
                    <a:pt x="1356" y="40"/>
                  </a:lnTo>
                  <a:lnTo>
                    <a:pt x="1332" y="26"/>
                  </a:lnTo>
                  <a:lnTo>
                    <a:pt x="1310" y="14"/>
                  </a:lnTo>
                  <a:lnTo>
                    <a:pt x="1286" y="6"/>
                  </a:lnTo>
                  <a:lnTo>
                    <a:pt x="1276" y="4"/>
                  </a:lnTo>
                  <a:lnTo>
                    <a:pt x="1264" y="4"/>
                  </a:lnTo>
                  <a:lnTo>
                    <a:pt x="1264" y="4"/>
                  </a:lnTo>
                  <a:lnTo>
                    <a:pt x="716" y="2"/>
                  </a:lnTo>
                  <a:lnTo>
                    <a:pt x="334" y="0"/>
                  </a:lnTo>
                  <a:lnTo>
                    <a:pt x="200" y="0"/>
                  </a:lnTo>
                  <a:lnTo>
                    <a:pt x="138" y="2"/>
                  </a:lnTo>
                  <a:lnTo>
                    <a:pt x="138" y="2"/>
                  </a:lnTo>
                  <a:lnTo>
                    <a:pt x="114" y="4"/>
                  </a:lnTo>
                  <a:lnTo>
                    <a:pt x="92" y="8"/>
                  </a:lnTo>
                  <a:lnTo>
                    <a:pt x="74" y="12"/>
                  </a:lnTo>
                  <a:lnTo>
                    <a:pt x="58" y="18"/>
                  </a:lnTo>
                  <a:lnTo>
                    <a:pt x="42" y="26"/>
                  </a:lnTo>
                  <a:lnTo>
                    <a:pt x="28" y="34"/>
                  </a:lnTo>
                  <a:lnTo>
                    <a:pt x="0" y="52"/>
                  </a:lnTo>
                  <a:lnTo>
                    <a:pt x="0" y="52"/>
                  </a:lnTo>
                  <a:lnTo>
                    <a:pt x="16" y="44"/>
                  </a:lnTo>
                  <a:lnTo>
                    <a:pt x="36" y="36"/>
                  </a:lnTo>
                  <a:lnTo>
                    <a:pt x="54" y="30"/>
                  </a:lnTo>
                  <a:lnTo>
                    <a:pt x="74" y="28"/>
                  </a:lnTo>
                  <a:lnTo>
                    <a:pt x="92" y="26"/>
                  </a:lnTo>
                  <a:lnTo>
                    <a:pt x="112" y="26"/>
                  </a:lnTo>
                  <a:lnTo>
                    <a:pt x="132" y="28"/>
                  </a:lnTo>
                  <a:lnTo>
                    <a:pt x="152" y="32"/>
                  </a:lnTo>
                  <a:lnTo>
                    <a:pt x="172" y="38"/>
                  </a:lnTo>
                  <a:lnTo>
                    <a:pt x="194" y="44"/>
                  </a:lnTo>
                  <a:lnTo>
                    <a:pt x="214" y="54"/>
                  </a:lnTo>
                  <a:lnTo>
                    <a:pt x="234" y="66"/>
                  </a:lnTo>
                  <a:lnTo>
                    <a:pt x="256" y="80"/>
                  </a:lnTo>
                  <a:lnTo>
                    <a:pt x="276" y="94"/>
                  </a:lnTo>
                  <a:lnTo>
                    <a:pt x="298" y="112"/>
                  </a:lnTo>
                  <a:lnTo>
                    <a:pt x="318" y="132"/>
                  </a:lnTo>
                  <a:lnTo>
                    <a:pt x="1212" y="1026"/>
                  </a:lnTo>
                  <a:lnTo>
                    <a:pt x="1120" y="1118"/>
                  </a:lnTo>
                  <a:lnTo>
                    <a:pt x="1120" y="1118"/>
                  </a:lnTo>
                  <a:lnTo>
                    <a:pt x="1114" y="1126"/>
                  </a:lnTo>
                  <a:lnTo>
                    <a:pt x="1108" y="1136"/>
                  </a:lnTo>
                  <a:lnTo>
                    <a:pt x="1106" y="1146"/>
                  </a:lnTo>
                  <a:lnTo>
                    <a:pt x="1104" y="1154"/>
                  </a:lnTo>
                  <a:lnTo>
                    <a:pt x="1106" y="1164"/>
                  </a:lnTo>
                  <a:lnTo>
                    <a:pt x="1108" y="1174"/>
                  </a:lnTo>
                  <a:lnTo>
                    <a:pt x="1112" y="1182"/>
                  </a:lnTo>
                  <a:lnTo>
                    <a:pt x="1118" y="1190"/>
                  </a:lnTo>
                  <a:lnTo>
                    <a:pt x="1118" y="1190"/>
                  </a:lnTo>
                  <a:lnTo>
                    <a:pt x="1126" y="1194"/>
                  </a:lnTo>
                  <a:lnTo>
                    <a:pt x="1134" y="1200"/>
                  </a:lnTo>
                  <a:lnTo>
                    <a:pt x="1142" y="1202"/>
                  </a:lnTo>
                  <a:lnTo>
                    <a:pt x="1152" y="1204"/>
                  </a:lnTo>
                  <a:lnTo>
                    <a:pt x="1874" y="1206"/>
                  </a:lnTo>
                  <a:lnTo>
                    <a:pt x="1874" y="1206"/>
                  </a:lnTo>
                  <a:lnTo>
                    <a:pt x="1892" y="1206"/>
                  </a:lnTo>
                  <a:lnTo>
                    <a:pt x="1910" y="1202"/>
                  </a:lnTo>
                  <a:lnTo>
                    <a:pt x="1926" y="1194"/>
                  </a:lnTo>
                  <a:lnTo>
                    <a:pt x="1940" y="1182"/>
                  </a:lnTo>
                  <a:lnTo>
                    <a:pt x="1940" y="1182"/>
                  </a:lnTo>
                  <a:lnTo>
                    <a:pt x="1952" y="1168"/>
                  </a:lnTo>
                  <a:lnTo>
                    <a:pt x="1960" y="1152"/>
                  </a:lnTo>
                  <a:lnTo>
                    <a:pt x="1964" y="1134"/>
                  </a:lnTo>
                  <a:lnTo>
                    <a:pt x="1964" y="1116"/>
                  </a:lnTo>
                  <a:lnTo>
                    <a:pt x="1964" y="1116"/>
                  </a:lnTo>
                  <a:close/>
                </a:path>
              </a:pathLst>
            </a:custGeom>
            <a:solidFill>
              <a:schemeClr val="accent1">
                <a:lumMod val="20000"/>
                <a:lumOff val="8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828" tIns="38415" rIns="76828" bIns="38415" numCol="1" anchor="t" anchorCtr="0" compatLnSpc="1">
              <a:prstTxWarp prst="textNoShape">
                <a:avLst/>
              </a:prstTxWarp>
            </a:bodyPr>
            <a:lstStyle/>
            <a:p>
              <a:endParaRPr lang="en-GB" sz="1680"/>
            </a:p>
          </p:txBody>
        </p:sp>
        <p:sp>
          <p:nvSpPr>
            <p:cNvPr id="195" name="Rectangle 76">
              <a:extLst>
                <a:ext uri="{FF2B5EF4-FFF2-40B4-BE49-F238E27FC236}">
                  <a16:creationId xmlns:a16="http://schemas.microsoft.com/office/drawing/2014/main" id="{04EB5D41-4057-4520-9908-3AAED05F7C5C}"/>
                </a:ext>
              </a:extLst>
            </p:cNvPr>
            <p:cNvSpPr/>
            <p:nvPr/>
          </p:nvSpPr>
          <p:spPr>
            <a:xfrm rot="18922748" flipH="1">
              <a:off x="4974685" y="1999813"/>
              <a:ext cx="1150576" cy="503699"/>
            </a:xfrm>
            <a:prstGeom prst="rect">
              <a:avLst/>
            </a:prstGeom>
            <a:noFill/>
          </p:spPr>
          <p:txBody>
            <a:bodyPr wrap="square">
              <a:spAutoFit/>
            </a:bodyPr>
            <a:lstStyle/>
            <a:p>
              <a:pPr algn="ctr"/>
              <a:r>
                <a:rPr lang="zh-CN" altLang="en-US" sz="1600" b="1" dirty="0">
                  <a:solidFill>
                    <a:srgbClr val="1A1918"/>
                  </a:solidFill>
                  <a:latin typeface="微软雅黑" panose="020B0503020204020204" pitchFamily="34" charset="-122"/>
                  <a:ea typeface="微软雅黑" panose="020B0503020204020204" pitchFamily="34" charset="-122"/>
                </a:rPr>
                <a:t>符合“保基本”原则</a:t>
              </a:r>
            </a:p>
          </p:txBody>
        </p:sp>
        <p:sp>
          <p:nvSpPr>
            <p:cNvPr id="196" name="Freeform 32">
              <a:extLst>
                <a:ext uri="{FF2B5EF4-FFF2-40B4-BE49-F238E27FC236}">
                  <a16:creationId xmlns:a16="http://schemas.microsoft.com/office/drawing/2014/main" id="{276D0DC7-4809-470E-8CAC-A7BBDF1B5F05}"/>
                </a:ext>
              </a:extLst>
            </p:cNvPr>
            <p:cNvSpPr>
              <a:spLocks/>
            </p:cNvSpPr>
            <p:nvPr/>
          </p:nvSpPr>
          <p:spPr bwMode="auto">
            <a:xfrm flipH="1">
              <a:off x="2636529" y="4942475"/>
              <a:ext cx="854906" cy="286332"/>
            </a:xfrm>
            <a:custGeom>
              <a:avLst/>
              <a:gdLst>
                <a:gd name="T0" fmla="*/ 836 w 836"/>
                <a:gd name="T1" fmla="*/ 0 h 280"/>
                <a:gd name="T2" fmla="*/ 0 w 836"/>
                <a:gd name="T3" fmla="*/ 0 h 280"/>
                <a:gd name="T4" fmla="*/ 0 w 836"/>
                <a:gd name="T5" fmla="*/ 280 h 280"/>
                <a:gd name="T6" fmla="*/ 566 w 836"/>
                <a:gd name="T7" fmla="*/ 280 h 280"/>
                <a:gd name="T8" fmla="*/ 566 w 836"/>
                <a:gd name="T9" fmla="*/ 280 h 280"/>
                <a:gd name="T10" fmla="*/ 574 w 836"/>
                <a:gd name="T11" fmla="*/ 280 h 280"/>
                <a:gd name="T12" fmla="*/ 594 w 836"/>
                <a:gd name="T13" fmla="*/ 276 h 280"/>
                <a:gd name="T14" fmla="*/ 608 w 836"/>
                <a:gd name="T15" fmla="*/ 274 h 280"/>
                <a:gd name="T16" fmla="*/ 624 w 836"/>
                <a:gd name="T17" fmla="*/ 268 h 280"/>
                <a:gd name="T18" fmla="*/ 644 w 836"/>
                <a:gd name="T19" fmla="*/ 260 h 280"/>
                <a:gd name="T20" fmla="*/ 662 w 836"/>
                <a:gd name="T21" fmla="*/ 248 h 280"/>
                <a:gd name="T22" fmla="*/ 684 w 836"/>
                <a:gd name="T23" fmla="*/ 234 h 280"/>
                <a:gd name="T24" fmla="*/ 706 w 836"/>
                <a:gd name="T25" fmla="*/ 216 h 280"/>
                <a:gd name="T26" fmla="*/ 728 w 836"/>
                <a:gd name="T27" fmla="*/ 192 h 280"/>
                <a:gd name="T28" fmla="*/ 750 w 836"/>
                <a:gd name="T29" fmla="*/ 166 h 280"/>
                <a:gd name="T30" fmla="*/ 774 w 836"/>
                <a:gd name="T31" fmla="*/ 132 h 280"/>
                <a:gd name="T32" fmla="*/ 796 w 836"/>
                <a:gd name="T33" fmla="*/ 94 h 280"/>
                <a:gd name="T34" fmla="*/ 816 w 836"/>
                <a:gd name="T35" fmla="*/ 50 h 280"/>
                <a:gd name="T36" fmla="*/ 836 w 836"/>
                <a:gd name="T37" fmla="*/ 0 h 280"/>
                <a:gd name="T38" fmla="*/ 836 w 836"/>
                <a:gd name="T39" fmla="*/ 0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36" h="280">
                  <a:moveTo>
                    <a:pt x="836" y="0"/>
                  </a:moveTo>
                  <a:lnTo>
                    <a:pt x="0" y="0"/>
                  </a:lnTo>
                  <a:lnTo>
                    <a:pt x="0" y="280"/>
                  </a:lnTo>
                  <a:lnTo>
                    <a:pt x="566" y="280"/>
                  </a:lnTo>
                  <a:lnTo>
                    <a:pt x="566" y="280"/>
                  </a:lnTo>
                  <a:lnTo>
                    <a:pt x="574" y="280"/>
                  </a:lnTo>
                  <a:lnTo>
                    <a:pt x="594" y="276"/>
                  </a:lnTo>
                  <a:lnTo>
                    <a:pt x="608" y="274"/>
                  </a:lnTo>
                  <a:lnTo>
                    <a:pt x="624" y="268"/>
                  </a:lnTo>
                  <a:lnTo>
                    <a:pt x="644" y="260"/>
                  </a:lnTo>
                  <a:lnTo>
                    <a:pt x="662" y="248"/>
                  </a:lnTo>
                  <a:lnTo>
                    <a:pt x="684" y="234"/>
                  </a:lnTo>
                  <a:lnTo>
                    <a:pt x="706" y="216"/>
                  </a:lnTo>
                  <a:lnTo>
                    <a:pt x="728" y="192"/>
                  </a:lnTo>
                  <a:lnTo>
                    <a:pt x="750" y="166"/>
                  </a:lnTo>
                  <a:lnTo>
                    <a:pt x="774" y="132"/>
                  </a:lnTo>
                  <a:lnTo>
                    <a:pt x="796" y="94"/>
                  </a:lnTo>
                  <a:lnTo>
                    <a:pt x="816" y="50"/>
                  </a:lnTo>
                  <a:lnTo>
                    <a:pt x="836" y="0"/>
                  </a:lnTo>
                  <a:lnTo>
                    <a:pt x="836" y="0"/>
                  </a:lnTo>
                  <a:close/>
                </a:path>
              </a:pathLst>
            </a:custGeom>
            <a:solidFill>
              <a:schemeClr val="bg1">
                <a:lumMod val="6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828" tIns="38415" rIns="76828" bIns="38415" numCol="1" anchor="t" anchorCtr="0" compatLnSpc="1">
              <a:prstTxWarp prst="textNoShape">
                <a:avLst/>
              </a:prstTxWarp>
            </a:bodyPr>
            <a:lstStyle/>
            <a:p>
              <a:endParaRPr lang="en-GB" sz="1680"/>
            </a:p>
          </p:txBody>
        </p:sp>
        <p:sp>
          <p:nvSpPr>
            <p:cNvPr id="197" name="Freeform 35">
              <a:extLst>
                <a:ext uri="{FF2B5EF4-FFF2-40B4-BE49-F238E27FC236}">
                  <a16:creationId xmlns:a16="http://schemas.microsoft.com/office/drawing/2014/main" id="{46D9962E-7549-4C0C-98E7-227850F972BB}"/>
                </a:ext>
              </a:extLst>
            </p:cNvPr>
            <p:cNvSpPr>
              <a:spLocks/>
            </p:cNvSpPr>
            <p:nvPr/>
          </p:nvSpPr>
          <p:spPr bwMode="auto">
            <a:xfrm flipH="1">
              <a:off x="2806282" y="4018032"/>
              <a:ext cx="2008415" cy="1233273"/>
            </a:xfrm>
            <a:custGeom>
              <a:avLst/>
              <a:gdLst>
                <a:gd name="T0" fmla="*/ 2 w 1964"/>
                <a:gd name="T1" fmla="*/ 812 h 1206"/>
                <a:gd name="T2" fmla="*/ 4 w 1964"/>
                <a:gd name="T3" fmla="*/ 820 h 1206"/>
                <a:gd name="T4" fmla="*/ 10 w 1964"/>
                <a:gd name="T5" fmla="*/ 838 h 1206"/>
                <a:gd name="T6" fmla="*/ 16 w 1964"/>
                <a:gd name="T7" fmla="*/ 844 h 1206"/>
                <a:gd name="T8" fmla="*/ 32 w 1964"/>
                <a:gd name="T9" fmla="*/ 854 h 1206"/>
                <a:gd name="T10" fmla="*/ 52 w 1964"/>
                <a:gd name="T11" fmla="*/ 858 h 1206"/>
                <a:gd name="T12" fmla="*/ 70 w 1964"/>
                <a:gd name="T13" fmla="*/ 854 h 1206"/>
                <a:gd name="T14" fmla="*/ 88 w 1964"/>
                <a:gd name="T15" fmla="*/ 844 h 1206"/>
                <a:gd name="T16" fmla="*/ 226 w 1964"/>
                <a:gd name="T17" fmla="*/ 794 h 1206"/>
                <a:gd name="T18" fmla="*/ 520 w 1964"/>
                <a:gd name="T19" fmla="*/ 1090 h 1206"/>
                <a:gd name="T20" fmla="*/ 562 w 1964"/>
                <a:gd name="T21" fmla="*/ 1128 h 1206"/>
                <a:gd name="T22" fmla="*/ 608 w 1964"/>
                <a:gd name="T23" fmla="*/ 1164 h 1206"/>
                <a:gd name="T24" fmla="*/ 654 w 1964"/>
                <a:gd name="T25" fmla="*/ 1190 h 1206"/>
                <a:gd name="T26" fmla="*/ 688 w 1964"/>
                <a:gd name="T27" fmla="*/ 1200 h 1206"/>
                <a:gd name="T28" fmla="*/ 700 w 1964"/>
                <a:gd name="T29" fmla="*/ 1202 h 1206"/>
                <a:gd name="T30" fmla="*/ 1630 w 1964"/>
                <a:gd name="T31" fmla="*/ 1206 h 1206"/>
                <a:gd name="T32" fmla="*/ 1826 w 1964"/>
                <a:gd name="T33" fmla="*/ 1204 h 1206"/>
                <a:gd name="T34" fmla="*/ 1850 w 1964"/>
                <a:gd name="T35" fmla="*/ 1202 h 1206"/>
                <a:gd name="T36" fmla="*/ 1890 w 1964"/>
                <a:gd name="T37" fmla="*/ 1192 h 1206"/>
                <a:gd name="T38" fmla="*/ 1922 w 1964"/>
                <a:gd name="T39" fmla="*/ 1180 h 1206"/>
                <a:gd name="T40" fmla="*/ 1964 w 1964"/>
                <a:gd name="T41" fmla="*/ 1154 h 1206"/>
                <a:gd name="T42" fmla="*/ 1946 w 1964"/>
                <a:gd name="T43" fmla="*/ 1162 h 1206"/>
                <a:gd name="T44" fmla="*/ 1910 w 1964"/>
                <a:gd name="T45" fmla="*/ 1174 h 1206"/>
                <a:gd name="T46" fmla="*/ 1872 w 1964"/>
                <a:gd name="T47" fmla="*/ 1180 h 1206"/>
                <a:gd name="T48" fmla="*/ 1832 w 1964"/>
                <a:gd name="T49" fmla="*/ 1178 h 1206"/>
                <a:gd name="T50" fmla="*/ 1792 w 1964"/>
                <a:gd name="T51" fmla="*/ 1168 h 1206"/>
                <a:gd name="T52" fmla="*/ 1750 w 1964"/>
                <a:gd name="T53" fmla="*/ 1150 h 1206"/>
                <a:gd name="T54" fmla="*/ 1708 w 1964"/>
                <a:gd name="T55" fmla="*/ 1126 h 1206"/>
                <a:gd name="T56" fmla="*/ 1666 w 1964"/>
                <a:gd name="T57" fmla="*/ 1092 h 1206"/>
                <a:gd name="T58" fmla="*/ 752 w 1964"/>
                <a:gd name="T59" fmla="*/ 178 h 1206"/>
                <a:gd name="T60" fmla="*/ 844 w 1964"/>
                <a:gd name="T61" fmla="*/ 86 h 1206"/>
                <a:gd name="T62" fmla="*/ 856 w 1964"/>
                <a:gd name="T63" fmla="*/ 70 h 1206"/>
                <a:gd name="T64" fmla="*/ 860 w 1964"/>
                <a:gd name="T65" fmla="*/ 50 h 1206"/>
                <a:gd name="T66" fmla="*/ 856 w 1964"/>
                <a:gd name="T67" fmla="*/ 32 h 1206"/>
                <a:gd name="T68" fmla="*/ 846 w 1964"/>
                <a:gd name="T69" fmla="*/ 16 h 1206"/>
                <a:gd name="T70" fmla="*/ 838 w 1964"/>
                <a:gd name="T71" fmla="*/ 10 h 1206"/>
                <a:gd name="T72" fmla="*/ 822 w 1964"/>
                <a:gd name="T73" fmla="*/ 2 h 1206"/>
                <a:gd name="T74" fmla="*/ 90 w 1964"/>
                <a:gd name="T75" fmla="*/ 0 h 1206"/>
                <a:gd name="T76" fmla="*/ 72 w 1964"/>
                <a:gd name="T77" fmla="*/ 0 h 1206"/>
                <a:gd name="T78" fmla="*/ 38 w 1964"/>
                <a:gd name="T79" fmla="*/ 12 h 1206"/>
                <a:gd name="T80" fmla="*/ 24 w 1964"/>
                <a:gd name="T81" fmla="*/ 22 h 1206"/>
                <a:gd name="T82" fmla="*/ 4 w 1964"/>
                <a:gd name="T83" fmla="*/ 52 h 1206"/>
                <a:gd name="T84" fmla="*/ 0 w 1964"/>
                <a:gd name="T85" fmla="*/ 90 h 1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964" h="1206">
                  <a:moveTo>
                    <a:pt x="0" y="90"/>
                  </a:moveTo>
                  <a:lnTo>
                    <a:pt x="2" y="812"/>
                  </a:lnTo>
                  <a:lnTo>
                    <a:pt x="2" y="812"/>
                  </a:lnTo>
                  <a:lnTo>
                    <a:pt x="4" y="820"/>
                  </a:lnTo>
                  <a:lnTo>
                    <a:pt x="6" y="830"/>
                  </a:lnTo>
                  <a:lnTo>
                    <a:pt x="10" y="838"/>
                  </a:lnTo>
                  <a:lnTo>
                    <a:pt x="16" y="844"/>
                  </a:lnTo>
                  <a:lnTo>
                    <a:pt x="16" y="844"/>
                  </a:lnTo>
                  <a:lnTo>
                    <a:pt x="24" y="850"/>
                  </a:lnTo>
                  <a:lnTo>
                    <a:pt x="32" y="854"/>
                  </a:lnTo>
                  <a:lnTo>
                    <a:pt x="42" y="858"/>
                  </a:lnTo>
                  <a:lnTo>
                    <a:pt x="52" y="858"/>
                  </a:lnTo>
                  <a:lnTo>
                    <a:pt x="60" y="858"/>
                  </a:lnTo>
                  <a:lnTo>
                    <a:pt x="70" y="854"/>
                  </a:lnTo>
                  <a:lnTo>
                    <a:pt x="80" y="850"/>
                  </a:lnTo>
                  <a:lnTo>
                    <a:pt x="88" y="844"/>
                  </a:lnTo>
                  <a:lnTo>
                    <a:pt x="180" y="750"/>
                  </a:lnTo>
                  <a:lnTo>
                    <a:pt x="226" y="794"/>
                  </a:lnTo>
                  <a:lnTo>
                    <a:pt x="226" y="794"/>
                  </a:lnTo>
                  <a:lnTo>
                    <a:pt x="520" y="1090"/>
                  </a:lnTo>
                  <a:lnTo>
                    <a:pt x="520" y="1090"/>
                  </a:lnTo>
                  <a:lnTo>
                    <a:pt x="562" y="1128"/>
                  </a:lnTo>
                  <a:lnTo>
                    <a:pt x="584" y="1148"/>
                  </a:lnTo>
                  <a:lnTo>
                    <a:pt x="608" y="1164"/>
                  </a:lnTo>
                  <a:lnTo>
                    <a:pt x="632" y="1180"/>
                  </a:lnTo>
                  <a:lnTo>
                    <a:pt x="654" y="1190"/>
                  </a:lnTo>
                  <a:lnTo>
                    <a:pt x="678" y="1198"/>
                  </a:lnTo>
                  <a:lnTo>
                    <a:pt x="688" y="1200"/>
                  </a:lnTo>
                  <a:lnTo>
                    <a:pt x="700" y="1202"/>
                  </a:lnTo>
                  <a:lnTo>
                    <a:pt x="700" y="1202"/>
                  </a:lnTo>
                  <a:lnTo>
                    <a:pt x="1248" y="1204"/>
                  </a:lnTo>
                  <a:lnTo>
                    <a:pt x="1630" y="1206"/>
                  </a:lnTo>
                  <a:lnTo>
                    <a:pt x="1764" y="1204"/>
                  </a:lnTo>
                  <a:lnTo>
                    <a:pt x="1826" y="1204"/>
                  </a:lnTo>
                  <a:lnTo>
                    <a:pt x="1826" y="1204"/>
                  </a:lnTo>
                  <a:lnTo>
                    <a:pt x="1850" y="1202"/>
                  </a:lnTo>
                  <a:lnTo>
                    <a:pt x="1872" y="1198"/>
                  </a:lnTo>
                  <a:lnTo>
                    <a:pt x="1890" y="1192"/>
                  </a:lnTo>
                  <a:lnTo>
                    <a:pt x="1906" y="1186"/>
                  </a:lnTo>
                  <a:lnTo>
                    <a:pt x="1922" y="1180"/>
                  </a:lnTo>
                  <a:lnTo>
                    <a:pt x="1936" y="1172"/>
                  </a:lnTo>
                  <a:lnTo>
                    <a:pt x="1964" y="1154"/>
                  </a:lnTo>
                  <a:lnTo>
                    <a:pt x="1964" y="1154"/>
                  </a:lnTo>
                  <a:lnTo>
                    <a:pt x="1946" y="1162"/>
                  </a:lnTo>
                  <a:lnTo>
                    <a:pt x="1928" y="1168"/>
                  </a:lnTo>
                  <a:lnTo>
                    <a:pt x="1910" y="1174"/>
                  </a:lnTo>
                  <a:lnTo>
                    <a:pt x="1890" y="1178"/>
                  </a:lnTo>
                  <a:lnTo>
                    <a:pt x="1872" y="1180"/>
                  </a:lnTo>
                  <a:lnTo>
                    <a:pt x="1852" y="1180"/>
                  </a:lnTo>
                  <a:lnTo>
                    <a:pt x="1832" y="1178"/>
                  </a:lnTo>
                  <a:lnTo>
                    <a:pt x="1812" y="1174"/>
                  </a:lnTo>
                  <a:lnTo>
                    <a:pt x="1792" y="1168"/>
                  </a:lnTo>
                  <a:lnTo>
                    <a:pt x="1770" y="1160"/>
                  </a:lnTo>
                  <a:lnTo>
                    <a:pt x="1750" y="1150"/>
                  </a:lnTo>
                  <a:lnTo>
                    <a:pt x="1730" y="1140"/>
                  </a:lnTo>
                  <a:lnTo>
                    <a:pt x="1708" y="1126"/>
                  </a:lnTo>
                  <a:lnTo>
                    <a:pt x="1688" y="1110"/>
                  </a:lnTo>
                  <a:lnTo>
                    <a:pt x="1666" y="1092"/>
                  </a:lnTo>
                  <a:lnTo>
                    <a:pt x="1646" y="1074"/>
                  </a:lnTo>
                  <a:lnTo>
                    <a:pt x="752" y="178"/>
                  </a:lnTo>
                  <a:lnTo>
                    <a:pt x="844" y="86"/>
                  </a:lnTo>
                  <a:lnTo>
                    <a:pt x="844" y="86"/>
                  </a:lnTo>
                  <a:lnTo>
                    <a:pt x="850" y="78"/>
                  </a:lnTo>
                  <a:lnTo>
                    <a:pt x="856" y="70"/>
                  </a:lnTo>
                  <a:lnTo>
                    <a:pt x="858" y="60"/>
                  </a:lnTo>
                  <a:lnTo>
                    <a:pt x="860" y="50"/>
                  </a:lnTo>
                  <a:lnTo>
                    <a:pt x="858" y="42"/>
                  </a:lnTo>
                  <a:lnTo>
                    <a:pt x="856" y="32"/>
                  </a:lnTo>
                  <a:lnTo>
                    <a:pt x="852" y="24"/>
                  </a:lnTo>
                  <a:lnTo>
                    <a:pt x="846" y="16"/>
                  </a:lnTo>
                  <a:lnTo>
                    <a:pt x="846" y="16"/>
                  </a:lnTo>
                  <a:lnTo>
                    <a:pt x="838" y="10"/>
                  </a:lnTo>
                  <a:lnTo>
                    <a:pt x="830" y="6"/>
                  </a:lnTo>
                  <a:lnTo>
                    <a:pt x="822" y="2"/>
                  </a:lnTo>
                  <a:lnTo>
                    <a:pt x="812" y="2"/>
                  </a:lnTo>
                  <a:lnTo>
                    <a:pt x="90" y="0"/>
                  </a:lnTo>
                  <a:lnTo>
                    <a:pt x="90" y="0"/>
                  </a:lnTo>
                  <a:lnTo>
                    <a:pt x="72" y="0"/>
                  </a:lnTo>
                  <a:lnTo>
                    <a:pt x="54" y="4"/>
                  </a:lnTo>
                  <a:lnTo>
                    <a:pt x="38" y="12"/>
                  </a:lnTo>
                  <a:lnTo>
                    <a:pt x="24" y="22"/>
                  </a:lnTo>
                  <a:lnTo>
                    <a:pt x="24" y="22"/>
                  </a:lnTo>
                  <a:lnTo>
                    <a:pt x="12" y="36"/>
                  </a:lnTo>
                  <a:lnTo>
                    <a:pt x="4" y="52"/>
                  </a:lnTo>
                  <a:lnTo>
                    <a:pt x="0" y="70"/>
                  </a:lnTo>
                  <a:lnTo>
                    <a:pt x="0" y="90"/>
                  </a:lnTo>
                  <a:lnTo>
                    <a:pt x="0" y="90"/>
                  </a:lnTo>
                  <a:close/>
                </a:path>
              </a:pathLst>
            </a:custGeom>
            <a:solidFill>
              <a:schemeClr val="accent1">
                <a:lumMod val="20000"/>
                <a:lumOff val="8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828" tIns="38415" rIns="76828" bIns="38415" numCol="1" anchor="t" anchorCtr="0" compatLnSpc="1">
              <a:prstTxWarp prst="textNoShape">
                <a:avLst/>
              </a:prstTxWarp>
            </a:bodyPr>
            <a:lstStyle/>
            <a:p>
              <a:endParaRPr lang="en-GB" sz="1680"/>
            </a:p>
          </p:txBody>
        </p:sp>
        <p:sp>
          <p:nvSpPr>
            <p:cNvPr id="198" name="Rectangle 80">
              <a:extLst>
                <a:ext uri="{FF2B5EF4-FFF2-40B4-BE49-F238E27FC236}">
                  <a16:creationId xmlns:a16="http://schemas.microsoft.com/office/drawing/2014/main" id="{6A3E3E9C-89BB-4949-8ACB-AB419C72A8D2}"/>
                </a:ext>
              </a:extLst>
            </p:cNvPr>
            <p:cNvSpPr/>
            <p:nvPr/>
          </p:nvSpPr>
          <p:spPr>
            <a:xfrm rot="18976213" flipH="1">
              <a:off x="3625694" y="4429604"/>
              <a:ext cx="1214496" cy="524592"/>
            </a:xfrm>
            <a:prstGeom prst="rect">
              <a:avLst/>
            </a:prstGeom>
            <a:noFill/>
          </p:spPr>
          <p:txBody>
            <a:bodyPr wrap="square">
              <a:spAutoFit/>
            </a:bodyPr>
            <a:lstStyle/>
            <a:p>
              <a:pPr algn="ctr"/>
              <a:r>
                <a:rPr lang="zh-CN" altLang="en-US" sz="1600" b="1" dirty="0">
                  <a:solidFill>
                    <a:srgbClr val="1A1918"/>
                  </a:solidFill>
                  <a:latin typeface="微软雅黑" panose="020B0503020204020204" pitchFamily="34" charset="-122"/>
                  <a:ea typeface="微软雅黑" panose="020B0503020204020204" pitchFamily="34" charset="-122"/>
                </a:rPr>
                <a:t>弥补目录短板</a:t>
              </a:r>
              <a:endParaRPr lang="en-GB" sz="1600" b="1" dirty="0">
                <a:solidFill>
                  <a:srgbClr val="1A1918"/>
                </a:solidFill>
                <a:latin typeface="微软雅黑" panose="020B0503020204020204" pitchFamily="34" charset="-122"/>
                <a:ea typeface="微软雅黑" panose="020B0503020204020204" pitchFamily="34" charset="-122"/>
              </a:endParaRPr>
            </a:p>
          </p:txBody>
        </p:sp>
        <p:cxnSp>
          <p:nvCxnSpPr>
            <p:cNvPr id="199" name="Straight Connector 82">
              <a:extLst>
                <a:ext uri="{FF2B5EF4-FFF2-40B4-BE49-F238E27FC236}">
                  <a16:creationId xmlns:a16="http://schemas.microsoft.com/office/drawing/2014/main" id="{95A8CC7D-9C77-4C00-8922-A7616D89EBCE}"/>
                </a:ext>
              </a:extLst>
            </p:cNvPr>
            <p:cNvCxnSpPr/>
            <p:nvPr/>
          </p:nvCxnSpPr>
          <p:spPr>
            <a:xfrm flipV="1">
              <a:off x="6387737" y="2135727"/>
              <a:ext cx="0" cy="786433"/>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200" name="Straight Connector 86">
              <a:extLst>
                <a:ext uri="{FF2B5EF4-FFF2-40B4-BE49-F238E27FC236}">
                  <a16:creationId xmlns:a16="http://schemas.microsoft.com/office/drawing/2014/main" id="{7F948215-F526-400E-816D-6A3D080EF18F}"/>
                </a:ext>
              </a:extLst>
            </p:cNvPr>
            <p:cNvCxnSpPr/>
            <p:nvPr/>
          </p:nvCxnSpPr>
          <p:spPr>
            <a:xfrm flipV="1">
              <a:off x="6387737" y="4025842"/>
              <a:ext cx="0" cy="786433"/>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201" name="Rectangle 10">
              <a:extLst>
                <a:ext uri="{FF2B5EF4-FFF2-40B4-BE49-F238E27FC236}">
                  <a16:creationId xmlns:a16="http://schemas.microsoft.com/office/drawing/2014/main" id="{56D8978F-2B64-47FA-A5D4-6C8C50BB3DA3}"/>
                </a:ext>
              </a:extLst>
            </p:cNvPr>
            <p:cNvSpPr>
              <a:spLocks noChangeArrowheads="1"/>
            </p:cNvSpPr>
            <p:nvPr/>
          </p:nvSpPr>
          <p:spPr bwMode="auto">
            <a:xfrm>
              <a:off x="4106388" y="3204178"/>
              <a:ext cx="1504254" cy="636253"/>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algn="ctr" defTabSz="670946" eaLnBrk="0" hangingPunct="0">
                <a:spcAft>
                  <a:spcPts val="168"/>
                </a:spcAft>
                <a:defRPr/>
              </a:pPr>
              <a:r>
                <a:rPr lang="zh-CN" altLang="en-US" sz="2400" b="1" kern="0" dirty="0">
                  <a:latin typeface="微软雅黑" panose="020B0503020204020204" pitchFamily="34" charset="-122"/>
                  <a:ea typeface="微软雅黑" panose="020B0503020204020204" pitchFamily="34" charset="-122"/>
                  <a:cs typeface="Arial" charset="0"/>
                </a:rPr>
                <a:t>体现公平性要求</a:t>
              </a:r>
              <a:endParaRPr lang="en-GB" sz="2400" kern="0" dirty="0">
                <a:latin typeface="微软雅黑" panose="020B0503020204020204" pitchFamily="34" charset="-122"/>
                <a:ea typeface="微软雅黑" panose="020B0503020204020204" pitchFamily="34" charset="-122"/>
                <a:cs typeface="Arial" charset="0"/>
              </a:endParaRPr>
            </a:p>
          </p:txBody>
        </p:sp>
        <p:cxnSp>
          <p:nvCxnSpPr>
            <p:cNvPr id="202" name="Straight Connector 90">
              <a:extLst>
                <a:ext uri="{FF2B5EF4-FFF2-40B4-BE49-F238E27FC236}">
                  <a16:creationId xmlns:a16="http://schemas.microsoft.com/office/drawing/2014/main" id="{7505A278-4795-406A-BFEA-94148BA59844}"/>
                </a:ext>
              </a:extLst>
            </p:cNvPr>
            <p:cNvCxnSpPr/>
            <p:nvPr/>
          </p:nvCxnSpPr>
          <p:spPr>
            <a:xfrm flipV="1">
              <a:off x="3314225" y="2135727"/>
              <a:ext cx="0" cy="786433"/>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203" name="Straight Connector 94">
              <a:extLst>
                <a:ext uri="{FF2B5EF4-FFF2-40B4-BE49-F238E27FC236}">
                  <a16:creationId xmlns:a16="http://schemas.microsoft.com/office/drawing/2014/main" id="{8DDA973D-D4BA-4224-96B2-72124BC25DCB}"/>
                </a:ext>
              </a:extLst>
            </p:cNvPr>
            <p:cNvCxnSpPr/>
            <p:nvPr/>
          </p:nvCxnSpPr>
          <p:spPr>
            <a:xfrm flipV="1">
              <a:off x="3314225" y="4025842"/>
              <a:ext cx="0" cy="786433"/>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grpSp>
      <p:sp>
        <p:nvSpPr>
          <p:cNvPr id="204" name="矩形: 圆角 203">
            <a:extLst>
              <a:ext uri="{FF2B5EF4-FFF2-40B4-BE49-F238E27FC236}">
                <a16:creationId xmlns:a16="http://schemas.microsoft.com/office/drawing/2014/main" id="{FB28F259-EF60-47DF-9F59-B1E55D9FEA79}"/>
              </a:ext>
            </a:extLst>
          </p:cNvPr>
          <p:cNvSpPr/>
          <p:nvPr/>
        </p:nvSpPr>
        <p:spPr>
          <a:xfrm>
            <a:off x="1304510" y="2083393"/>
            <a:ext cx="3118235" cy="2009061"/>
          </a:xfrm>
          <a:prstGeom prst="roundRect">
            <a:avLst/>
          </a:prstGeom>
          <a:noFill/>
        </p:spPr>
        <p:txBody>
          <a:bodyPr wrap="square">
            <a:spAutoFit/>
          </a:bodyPr>
          <a:lstStyle/>
          <a:p>
            <a:pPr marL="171450" indent="-171450">
              <a:buFont typeface="Arial" panose="020B0604020202020204" pitchFamily="34" charset="0"/>
              <a:buChar char="•"/>
            </a:pPr>
            <a:r>
              <a:rPr lang="zh-CN" altLang="en-US" sz="1400" b="1" dirty="0">
                <a:latin typeface="Arial" panose="020B0604020202020204" pitchFamily="34" charset="0"/>
                <a:ea typeface="微软雅黑" panose="020B0503020204020204" pitchFamily="34" charset="-122"/>
              </a:rPr>
              <a:t>约</a:t>
            </a:r>
            <a:r>
              <a:rPr lang="en-US" altLang="zh-CN" sz="1400" b="1" dirty="0">
                <a:latin typeface="Arial" panose="020B0604020202020204" pitchFamily="34" charset="0"/>
                <a:ea typeface="微软雅黑" panose="020B0503020204020204" pitchFamily="34" charset="-122"/>
              </a:rPr>
              <a:t>2/3</a:t>
            </a:r>
            <a:r>
              <a:rPr lang="zh-CN" altLang="en-US" sz="1400" b="1" dirty="0">
                <a:latin typeface="Arial" panose="020B0604020202020204" pitchFamily="34" charset="0"/>
                <a:ea typeface="微软雅黑" panose="020B0503020204020204" pitchFamily="34" charset="-122"/>
              </a:rPr>
              <a:t>的患者在儿童期发病，儿童患者受累较成人更重</a:t>
            </a:r>
            <a:r>
              <a:rPr lang="zh-CN" altLang="en-US" sz="1400" b="1" dirty="0">
                <a:solidFill>
                  <a:srgbClr val="1A1918"/>
                </a:solidFill>
                <a:latin typeface="Arial" panose="020B0604020202020204" pitchFamily="34" charset="0"/>
                <a:ea typeface="微软雅黑" panose="020B0503020204020204" pitchFamily="34" charset="-122"/>
              </a:rPr>
              <a:t>；</a:t>
            </a:r>
            <a:r>
              <a:rPr lang="zh-CN" altLang="en-US" sz="1400" dirty="0">
                <a:latin typeface="Arial" panose="020B0604020202020204" pitchFamily="34" charset="0"/>
                <a:ea typeface="微软雅黑" panose="020B0503020204020204" pitchFamily="34" charset="-122"/>
              </a:rPr>
              <a:t>若无恰当治疗，将致残致死</a:t>
            </a:r>
            <a:endParaRPr lang="en-US" altLang="zh-CN" sz="1400" dirty="0">
              <a:latin typeface="Arial" panose="020B0604020202020204" pitchFamily="34" charset="0"/>
              <a:ea typeface="微软雅黑" panose="020B0503020204020204" pitchFamily="34" charset="-122"/>
            </a:endParaRPr>
          </a:p>
          <a:p>
            <a:pPr marL="171450" indent="-171450">
              <a:buFont typeface="Arial" panose="020B0604020202020204" pitchFamily="34" charset="0"/>
              <a:buChar char="•"/>
            </a:pPr>
            <a:r>
              <a:rPr lang="zh-CN" altLang="en-US" sz="1400" b="1" dirty="0">
                <a:solidFill>
                  <a:srgbClr val="1A1918"/>
                </a:solidFill>
                <a:latin typeface="Arial" panose="020B0604020202020204" pitchFamily="34" charset="0"/>
                <a:ea typeface="微软雅黑" panose="020B0503020204020204" pitchFamily="34" charset="-122"/>
              </a:rPr>
              <a:t>患者临床需求迫切，维拉苷酶</a:t>
            </a:r>
            <a:r>
              <a:rPr lang="en-US" altLang="zh-CN" sz="1400" b="1" dirty="0">
                <a:solidFill>
                  <a:srgbClr val="1A1918"/>
                </a:solidFill>
                <a:latin typeface="Arial" panose="020B0604020202020204" pitchFamily="34" charset="0"/>
                <a:ea typeface="微软雅黑" panose="020B0503020204020204" pitchFamily="34" charset="-122"/>
              </a:rPr>
              <a:t>α</a:t>
            </a:r>
            <a:r>
              <a:rPr lang="zh-CN" altLang="en-US" sz="1400" b="1" dirty="0">
                <a:solidFill>
                  <a:srgbClr val="1A1918"/>
                </a:solidFill>
                <a:latin typeface="Arial" panose="020B0604020202020204" pitchFamily="34" charset="0"/>
                <a:ea typeface="微软雅黑" panose="020B0503020204020204" pitchFamily="34" charset="-122"/>
              </a:rPr>
              <a:t>被纳入</a:t>
            </a:r>
            <a:r>
              <a:rPr lang="en-US" altLang="zh-CN" sz="1400" b="1" dirty="0">
                <a:solidFill>
                  <a:srgbClr val="C00000"/>
                </a:solidFill>
                <a:latin typeface="Arial" panose="020B0604020202020204" pitchFamily="34" charset="0"/>
                <a:ea typeface="微软雅黑" panose="020B0503020204020204" pitchFamily="34" charset="-122"/>
              </a:rPr>
              <a:t>《</a:t>
            </a:r>
            <a:r>
              <a:rPr lang="zh-CN" altLang="en-US" sz="1400" b="1" dirty="0">
                <a:solidFill>
                  <a:srgbClr val="C00000"/>
                </a:solidFill>
                <a:latin typeface="Arial" panose="020B0604020202020204" pitchFamily="34" charset="0"/>
                <a:ea typeface="微软雅黑" panose="020B0503020204020204" pitchFamily="34" charset="-122"/>
              </a:rPr>
              <a:t>第一批临床急需境外新药名单</a:t>
            </a:r>
            <a:r>
              <a:rPr lang="en-US" altLang="zh-CN" sz="1400" b="1" dirty="0">
                <a:solidFill>
                  <a:srgbClr val="C00000"/>
                </a:solidFill>
                <a:latin typeface="Arial" panose="020B0604020202020204" pitchFamily="34" charset="0"/>
                <a:ea typeface="微软雅黑" panose="020B0503020204020204" pitchFamily="34" charset="-122"/>
              </a:rPr>
              <a:t>》</a:t>
            </a:r>
            <a:endParaRPr lang="zh-CN" altLang="en-US" sz="1400" b="1" dirty="0">
              <a:solidFill>
                <a:srgbClr val="C00000"/>
              </a:solidFill>
              <a:latin typeface="Arial" panose="020B0604020202020204" pitchFamily="34" charset="0"/>
              <a:ea typeface="微软雅黑" panose="020B0503020204020204" pitchFamily="34" charset="-122"/>
            </a:endParaRPr>
          </a:p>
          <a:p>
            <a:pPr marL="171450" indent="-171450">
              <a:buFont typeface="Arial" panose="020B0604020202020204" pitchFamily="34" charset="0"/>
              <a:buChar char="•"/>
            </a:pPr>
            <a:endParaRPr lang="en-US" altLang="zh-CN" sz="1400" dirty="0">
              <a:latin typeface="Arial" panose="020B0604020202020204" pitchFamily="34" charset="0"/>
              <a:ea typeface="微软雅黑" panose="020B0503020204020204" pitchFamily="34" charset="-122"/>
            </a:endParaRPr>
          </a:p>
          <a:p>
            <a:pPr marL="171450" indent="-171450">
              <a:buFont typeface="Arial" panose="020B0604020202020204" pitchFamily="34" charset="0"/>
              <a:buChar char="•"/>
            </a:pPr>
            <a:endParaRPr lang="zh-CN" altLang="en-US" sz="1400" dirty="0">
              <a:latin typeface="Arial" panose="020B0604020202020204" pitchFamily="34" charset="0"/>
              <a:ea typeface="微软雅黑" panose="020B0503020204020204" pitchFamily="34" charset="-122"/>
            </a:endParaRPr>
          </a:p>
        </p:txBody>
      </p:sp>
      <p:sp>
        <p:nvSpPr>
          <p:cNvPr id="205" name="矩形: 圆角 204">
            <a:extLst>
              <a:ext uri="{FF2B5EF4-FFF2-40B4-BE49-F238E27FC236}">
                <a16:creationId xmlns:a16="http://schemas.microsoft.com/office/drawing/2014/main" id="{796FC306-9CEA-41A9-9737-DED3A7CAF520}"/>
              </a:ext>
            </a:extLst>
          </p:cNvPr>
          <p:cNvSpPr/>
          <p:nvPr/>
        </p:nvSpPr>
        <p:spPr>
          <a:xfrm>
            <a:off x="1275432" y="4096729"/>
            <a:ext cx="3071251" cy="1532334"/>
          </a:xfrm>
          <a:prstGeom prst="roundRect">
            <a:avLst/>
          </a:prstGeom>
          <a:noFill/>
        </p:spPr>
        <p:txBody>
          <a:bodyPr wrap="square">
            <a:spAutoFit/>
          </a:bodyPr>
          <a:lstStyle/>
          <a:p>
            <a:pPr marL="171450" indent="-171450">
              <a:buFont typeface="Arial" panose="020B0604020202020204" pitchFamily="34" charset="0"/>
              <a:buChar char="•"/>
            </a:pPr>
            <a:r>
              <a:rPr lang="zh-CN" altLang="en-US" sz="1400" b="1" dirty="0">
                <a:latin typeface="Arial" panose="020B0604020202020204" pitchFamily="34" charset="0"/>
                <a:ea typeface="微软雅黑" panose="020B0503020204020204" pitchFamily="34" charset="-122"/>
              </a:rPr>
              <a:t>目录内现无任何治疗戈谢病的药物</a:t>
            </a:r>
            <a:r>
              <a:rPr lang="zh-CN" altLang="en-US" sz="1400" dirty="0">
                <a:solidFill>
                  <a:srgbClr val="1A1918"/>
                </a:solidFill>
                <a:latin typeface="Arial" panose="020B0604020202020204" pitchFamily="34" charset="0"/>
                <a:ea typeface="微软雅黑" panose="020B0503020204020204" pitchFamily="34" charset="-122"/>
              </a:rPr>
              <a:t>，戈谢病患者的保障已成为典型的社会性痛点问题</a:t>
            </a:r>
            <a:endParaRPr lang="en-US" altLang="zh-CN" sz="1400" dirty="0">
              <a:solidFill>
                <a:srgbClr val="1A1918"/>
              </a:solidFill>
              <a:latin typeface="Arial" panose="020B0604020202020204" pitchFamily="34" charset="0"/>
              <a:ea typeface="微软雅黑" panose="020B0503020204020204" pitchFamily="34" charset="-122"/>
            </a:endParaRPr>
          </a:p>
          <a:p>
            <a:pPr marL="171450" indent="-171450">
              <a:buFont typeface="Arial" panose="020B0604020202020204" pitchFamily="34" charset="0"/>
              <a:buChar char="•"/>
            </a:pPr>
            <a:r>
              <a:rPr lang="zh-CN" altLang="en-US" sz="1400" dirty="0">
                <a:latin typeface="Arial" panose="020B0604020202020204" pitchFamily="34" charset="0"/>
                <a:ea typeface="微软雅黑" panose="020B0503020204020204" pitchFamily="34" charset="-122"/>
              </a:rPr>
              <a:t>维拉苷酶</a:t>
            </a:r>
            <a:r>
              <a:rPr lang="en-US" altLang="zh-CN" sz="1400" dirty="0">
                <a:latin typeface="Arial" panose="020B0604020202020204" pitchFamily="34" charset="0"/>
                <a:ea typeface="微软雅黑" panose="020B0503020204020204" pitchFamily="34" charset="-122"/>
              </a:rPr>
              <a:t>α</a:t>
            </a:r>
            <a:r>
              <a:rPr lang="zh-CN" altLang="en-US" sz="1400" dirty="0">
                <a:latin typeface="Arial" panose="020B0604020202020204" pitchFamily="34" charset="0"/>
                <a:ea typeface="微软雅黑" panose="020B0503020204020204" pitchFamily="34" charset="-122"/>
              </a:rPr>
              <a:t>是纳入卫生健康委等部门</a:t>
            </a:r>
            <a:r>
              <a:rPr lang="en-US" altLang="zh-CN" sz="1400" b="1" dirty="0">
                <a:solidFill>
                  <a:srgbClr val="C00000"/>
                </a:solidFill>
                <a:latin typeface="Arial" panose="020B0604020202020204" pitchFamily="34" charset="0"/>
                <a:ea typeface="微软雅黑" panose="020B0503020204020204" pitchFamily="34" charset="-122"/>
              </a:rPr>
              <a:t>《</a:t>
            </a:r>
            <a:r>
              <a:rPr lang="zh-CN" altLang="en-US" sz="1400" b="1" dirty="0">
                <a:solidFill>
                  <a:srgbClr val="C00000"/>
                </a:solidFill>
                <a:latin typeface="Arial" panose="020B0604020202020204" pitchFamily="34" charset="0"/>
                <a:ea typeface="微软雅黑" panose="020B0503020204020204" pitchFamily="34" charset="-122"/>
              </a:rPr>
              <a:t>第二批鼓励研发申报儿童药品清单</a:t>
            </a:r>
            <a:r>
              <a:rPr lang="en-US" altLang="zh-CN" sz="1400" b="1" dirty="0">
                <a:solidFill>
                  <a:srgbClr val="C00000"/>
                </a:solidFill>
                <a:latin typeface="Arial" panose="020B0604020202020204" pitchFamily="34" charset="0"/>
                <a:ea typeface="微软雅黑" panose="020B0503020204020204" pitchFamily="34" charset="-122"/>
              </a:rPr>
              <a:t>》</a:t>
            </a:r>
            <a:r>
              <a:rPr lang="zh-CN" altLang="en-US" sz="1400" dirty="0">
                <a:latin typeface="Arial" panose="020B0604020202020204" pitchFamily="34" charset="0"/>
                <a:ea typeface="微软雅黑" panose="020B0503020204020204" pitchFamily="34" charset="-122"/>
              </a:rPr>
              <a:t>的药品</a:t>
            </a:r>
            <a:endParaRPr lang="en-US" altLang="zh-CN" sz="1400" dirty="0">
              <a:solidFill>
                <a:srgbClr val="1A1918"/>
              </a:solidFill>
              <a:latin typeface="Arial" panose="020B0604020202020204" pitchFamily="34" charset="0"/>
              <a:ea typeface="微软雅黑" panose="020B0503020204020204" pitchFamily="34" charset="-122"/>
            </a:endParaRPr>
          </a:p>
        </p:txBody>
      </p:sp>
      <p:sp>
        <p:nvSpPr>
          <p:cNvPr id="206" name="矩形: 圆角 205">
            <a:extLst>
              <a:ext uri="{FF2B5EF4-FFF2-40B4-BE49-F238E27FC236}">
                <a16:creationId xmlns:a16="http://schemas.microsoft.com/office/drawing/2014/main" id="{DD9B7D46-76B0-4668-91A9-921B5E0291CA}"/>
              </a:ext>
            </a:extLst>
          </p:cNvPr>
          <p:cNvSpPr/>
          <p:nvPr/>
        </p:nvSpPr>
        <p:spPr>
          <a:xfrm>
            <a:off x="7939015" y="2183934"/>
            <a:ext cx="2974432" cy="1532334"/>
          </a:xfrm>
          <a:prstGeom prst="roundRect">
            <a:avLst/>
          </a:prstGeom>
          <a:noFill/>
        </p:spPr>
        <p:txBody>
          <a:bodyPr wrap="square">
            <a:spAutoFit/>
          </a:bodyPr>
          <a:lstStyle/>
          <a:p>
            <a:pPr marL="171450" indent="-171450">
              <a:buFont typeface="Arial" panose="020B0604020202020204" pitchFamily="34" charset="0"/>
              <a:buChar char="•"/>
            </a:pPr>
            <a:r>
              <a:rPr lang="zh-CN" altLang="en-US" sz="1400" dirty="0">
                <a:solidFill>
                  <a:srgbClr val="1A1918"/>
                </a:solidFill>
                <a:latin typeface="微软雅黑" panose="020B0503020204020204" pitchFamily="34" charset="-122"/>
                <a:ea typeface="微软雅黑" panose="020B0503020204020204" pitchFamily="34" charset="-122"/>
              </a:rPr>
              <a:t>戈谢病因病致贫返贫现象普遍存在，保障需求迫切</a:t>
            </a:r>
            <a:endParaRPr lang="en-US" altLang="zh-CN" sz="1400" dirty="0">
              <a:solidFill>
                <a:srgbClr val="1A1918"/>
              </a:solidFill>
              <a:latin typeface="微软雅黑" panose="020B0503020204020204" pitchFamily="34" charset="-122"/>
              <a:ea typeface="微软雅黑" panose="020B0503020204020204" pitchFamily="34" charset="-122"/>
            </a:endParaRPr>
          </a:p>
          <a:p>
            <a:pPr marL="171450" indent="-171450">
              <a:buFont typeface="Arial" panose="020B0604020202020204" pitchFamily="34" charset="0"/>
              <a:buChar char="•"/>
            </a:pPr>
            <a:r>
              <a:rPr lang="zh-CN" altLang="en-US" sz="1400" dirty="0">
                <a:solidFill>
                  <a:srgbClr val="1A1918"/>
                </a:solidFill>
                <a:latin typeface="微软雅黑" panose="020B0503020204020204" pitchFamily="34" charset="-122"/>
                <a:ea typeface="微软雅黑" panose="020B0503020204020204" pitchFamily="34" charset="-122"/>
              </a:rPr>
              <a:t>戈谢病是国家</a:t>
            </a:r>
            <a:r>
              <a:rPr lang="zh-CN" altLang="en-US" sz="1400" b="1" dirty="0">
                <a:solidFill>
                  <a:srgbClr val="C00000"/>
                </a:solidFill>
                <a:latin typeface="微软雅黑" panose="020B0503020204020204" pitchFamily="34" charset="-122"/>
                <a:ea typeface="微软雅黑" panose="020B0503020204020204" pitchFamily="34" charset="-122"/>
              </a:rPr>
              <a:t>第一批</a:t>
            </a:r>
            <a:r>
              <a:rPr lang="en-US" altLang="zh-CN" sz="1400" b="1" dirty="0">
                <a:solidFill>
                  <a:srgbClr val="C00000"/>
                </a:solidFill>
                <a:latin typeface="微软雅黑" panose="020B0503020204020204" pitchFamily="34" charset="-122"/>
                <a:ea typeface="微软雅黑" panose="020B0503020204020204" pitchFamily="34" charset="-122"/>
              </a:rPr>
              <a:t>121</a:t>
            </a:r>
            <a:r>
              <a:rPr lang="zh-CN" altLang="en-US" sz="1400" b="1" dirty="0">
                <a:solidFill>
                  <a:srgbClr val="C00000"/>
                </a:solidFill>
                <a:latin typeface="微软雅黑" panose="020B0503020204020204" pitchFamily="34" charset="-122"/>
                <a:ea typeface="微软雅黑" panose="020B0503020204020204" pitchFamily="34" charset="-122"/>
              </a:rPr>
              <a:t>种罕见病之一，全国已确诊戈谢病患者仅</a:t>
            </a:r>
            <a:r>
              <a:rPr lang="en-US" altLang="zh-CN" sz="1400" b="1" dirty="0">
                <a:solidFill>
                  <a:srgbClr val="C00000"/>
                </a:solidFill>
                <a:latin typeface="微软雅黑" panose="020B0503020204020204" pitchFamily="34" charset="-122"/>
                <a:ea typeface="微软雅黑" panose="020B0503020204020204" pitchFamily="34" charset="-122"/>
              </a:rPr>
              <a:t>441</a:t>
            </a:r>
            <a:r>
              <a:rPr lang="zh-CN" altLang="en-US" sz="1400" b="1" dirty="0">
                <a:solidFill>
                  <a:srgbClr val="C00000"/>
                </a:solidFill>
                <a:latin typeface="微软雅黑" panose="020B0503020204020204" pitchFamily="34" charset="-122"/>
                <a:ea typeface="微软雅黑" panose="020B0503020204020204" pitchFamily="34" charset="-122"/>
              </a:rPr>
              <a:t>人</a:t>
            </a:r>
            <a:r>
              <a:rPr lang="zh-CN" altLang="en-US" sz="1400" dirty="0">
                <a:solidFill>
                  <a:srgbClr val="1A1918"/>
                </a:solidFill>
                <a:latin typeface="微软雅黑" panose="020B0503020204020204" pitchFamily="34" charset="-122"/>
                <a:ea typeface="微软雅黑" panose="020B0503020204020204" pitchFamily="34" charset="-122"/>
              </a:rPr>
              <a:t>，人数极少，对基金影响极其有限</a:t>
            </a:r>
          </a:p>
        </p:txBody>
      </p:sp>
      <p:sp>
        <p:nvSpPr>
          <p:cNvPr id="207" name="矩形: 圆角 206">
            <a:extLst>
              <a:ext uri="{FF2B5EF4-FFF2-40B4-BE49-F238E27FC236}">
                <a16:creationId xmlns:a16="http://schemas.microsoft.com/office/drawing/2014/main" id="{85758777-F055-45E3-AEF5-B5CE279ECFB1}"/>
              </a:ext>
            </a:extLst>
          </p:cNvPr>
          <p:cNvSpPr/>
          <p:nvPr/>
        </p:nvSpPr>
        <p:spPr>
          <a:xfrm>
            <a:off x="7964307" y="4328195"/>
            <a:ext cx="2902249" cy="817245"/>
          </a:xfrm>
          <a:prstGeom prst="roundRect">
            <a:avLst/>
          </a:prstGeom>
          <a:noFill/>
        </p:spPr>
        <p:txBody>
          <a:bodyPr wrap="square">
            <a:spAutoFit/>
          </a:bodyPr>
          <a:lstStyle/>
          <a:p>
            <a:pPr marL="171450" indent="-171450">
              <a:buFont typeface="Arial" panose="020B0604020202020204" pitchFamily="34" charset="0"/>
              <a:buChar char="•"/>
            </a:pPr>
            <a:r>
              <a:rPr lang="zh-CN" altLang="en-US" sz="1400" dirty="0">
                <a:solidFill>
                  <a:srgbClr val="1A1918"/>
                </a:solidFill>
                <a:latin typeface="Arial" panose="020B0604020202020204" pitchFamily="34" charset="0"/>
                <a:ea typeface="微软雅黑" panose="020B0503020204020204" pitchFamily="34" charset="-122"/>
                <a:sym typeface="Arial" panose="020B0604020202020204" pitchFamily="34" charset="0"/>
              </a:rPr>
              <a:t>戈谢病诊断明确</a:t>
            </a:r>
            <a:endParaRPr lang="en-US" altLang="zh-CN" sz="1400" dirty="0">
              <a:solidFill>
                <a:srgbClr val="1A1918"/>
              </a:solidFill>
              <a:latin typeface="Arial" panose="020B0604020202020204" pitchFamily="34" charset="0"/>
              <a:ea typeface="微软雅黑" panose="020B0503020204020204" pitchFamily="34" charset="-122"/>
              <a:sym typeface="Arial" panose="020B0604020202020204" pitchFamily="34" charset="0"/>
            </a:endParaRPr>
          </a:p>
          <a:p>
            <a:pPr marL="171450" indent="-171450">
              <a:buFont typeface="Arial" panose="020B0604020202020204" pitchFamily="34" charset="0"/>
              <a:buChar char="•"/>
            </a:pPr>
            <a:r>
              <a:rPr lang="zh-CN" altLang="en-US" sz="1400" b="1" dirty="0">
                <a:solidFill>
                  <a:srgbClr val="1A1918"/>
                </a:solidFill>
                <a:latin typeface="微软雅黑" panose="020B0503020204020204" pitchFamily="34" charset="-122"/>
                <a:ea typeface="微软雅黑" panose="020B0503020204020204" pitchFamily="34" charset="-122"/>
              </a:rPr>
              <a:t>部分省市已探索出对戈谢病治疗药物进行全过程监管方案</a:t>
            </a:r>
          </a:p>
        </p:txBody>
      </p:sp>
      <p:grpSp>
        <p:nvGrpSpPr>
          <p:cNvPr id="208" name="Group 142">
            <a:extLst>
              <a:ext uri="{FF2B5EF4-FFF2-40B4-BE49-F238E27FC236}">
                <a16:creationId xmlns:a16="http://schemas.microsoft.com/office/drawing/2014/main" id="{A5439419-2089-4356-BF6E-74EC92C0BCBC}"/>
              </a:ext>
            </a:extLst>
          </p:cNvPr>
          <p:cNvGrpSpPr/>
          <p:nvPr/>
        </p:nvGrpSpPr>
        <p:grpSpPr>
          <a:xfrm>
            <a:off x="3845840" y="3541060"/>
            <a:ext cx="616463" cy="599892"/>
            <a:chOff x="-26973225" y="4703751"/>
            <a:chExt cx="8309141" cy="8309141"/>
          </a:xfrm>
        </p:grpSpPr>
        <p:sp>
          <p:nvSpPr>
            <p:cNvPr id="209" name="Freeform 55">
              <a:extLst>
                <a:ext uri="{FF2B5EF4-FFF2-40B4-BE49-F238E27FC236}">
                  <a16:creationId xmlns:a16="http://schemas.microsoft.com/office/drawing/2014/main" id="{BA08AE6F-4ECD-4154-98ED-AF957BDB8284}"/>
                </a:ext>
              </a:extLst>
            </p:cNvPr>
            <p:cNvSpPr>
              <a:spLocks/>
            </p:cNvSpPr>
            <p:nvPr/>
          </p:nvSpPr>
          <p:spPr bwMode="auto">
            <a:xfrm>
              <a:off x="-26973225" y="4703751"/>
              <a:ext cx="8309141" cy="8309141"/>
            </a:xfrm>
            <a:custGeom>
              <a:avLst/>
              <a:gdLst/>
              <a:ahLst/>
              <a:cxnLst>
                <a:cxn ang="0">
                  <a:pos x="4778" y="2578"/>
                </a:cxn>
                <a:cxn ang="0">
                  <a:pos x="4736" y="2876"/>
                </a:cxn>
                <a:cxn ang="0">
                  <a:pos x="4660" y="3160"/>
                </a:cxn>
                <a:cxn ang="0">
                  <a:pos x="4550" y="3430"/>
                </a:cxn>
                <a:cxn ang="0">
                  <a:pos x="4408" y="3684"/>
                </a:cxn>
                <a:cxn ang="0">
                  <a:pos x="4238" y="3916"/>
                </a:cxn>
                <a:cxn ang="0">
                  <a:pos x="4044" y="4126"/>
                </a:cxn>
                <a:cxn ang="0">
                  <a:pos x="3824" y="4310"/>
                </a:cxn>
                <a:cxn ang="0">
                  <a:pos x="3584" y="4470"/>
                </a:cxn>
                <a:cxn ang="0">
                  <a:pos x="3324" y="4598"/>
                </a:cxn>
                <a:cxn ang="0">
                  <a:pos x="3048" y="4696"/>
                </a:cxn>
                <a:cxn ang="0">
                  <a:pos x="2756" y="4758"/>
                </a:cxn>
                <a:cxn ang="0">
                  <a:pos x="2454" y="4786"/>
                </a:cxn>
                <a:cxn ang="0">
                  <a:pos x="2208" y="4780"/>
                </a:cxn>
                <a:cxn ang="0">
                  <a:pos x="1910" y="4738"/>
                </a:cxn>
                <a:cxn ang="0">
                  <a:pos x="1624" y="4660"/>
                </a:cxn>
                <a:cxn ang="0">
                  <a:pos x="1356" y="4550"/>
                </a:cxn>
                <a:cxn ang="0">
                  <a:pos x="1102" y="4410"/>
                </a:cxn>
                <a:cxn ang="0">
                  <a:pos x="870" y="4240"/>
                </a:cxn>
                <a:cxn ang="0">
                  <a:pos x="660" y="4044"/>
                </a:cxn>
                <a:cxn ang="0">
                  <a:pos x="474" y="3826"/>
                </a:cxn>
                <a:cxn ang="0">
                  <a:pos x="316" y="3584"/>
                </a:cxn>
                <a:cxn ang="0">
                  <a:pos x="188" y="3324"/>
                </a:cxn>
                <a:cxn ang="0">
                  <a:pos x="90" y="3048"/>
                </a:cxn>
                <a:cxn ang="0">
                  <a:pos x="28" y="2758"/>
                </a:cxn>
                <a:cxn ang="0">
                  <a:pos x="0" y="2456"/>
                </a:cxn>
                <a:cxn ang="0">
                  <a:pos x="6" y="2210"/>
                </a:cxn>
                <a:cxn ang="0">
                  <a:pos x="48" y="1912"/>
                </a:cxn>
                <a:cxn ang="0">
                  <a:pos x="126" y="1626"/>
                </a:cxn>
                <a:cxn ang="0">
                  <a:pos x="236" y="1356"/>
                </a:cxn>
                <a:cxn ang="0">
                  <a:pos x="376" y="1104"/>
                </a:cxn>
                <a:cxn ang="0">
                  <a:pos x="546" y="872"/>
                </a:cxn>
                <a:cxn ang="0">
                  <a:pos x="742" y="662"/>
                </a:cxn>
                <a:cxn ang="0">
                  <a:pos x="960" y="476"/>
                </a:cxn>
                <a:cxn ang="0">
                  <a:pos x="1202" y="318"/>
                </a:cxn>
                <a:cxn ang="0">
                  <a:pos x="1462" y="188"/>
                </a:cxn>
                <a:cxn ang="0">
                  <a:pos x="1738" y="92"/>
                </a:cxn>
                <a:cxn ang="0">
                  <a:pos x="2028" y="28"/>
                </a:cxn>
                <a:cxn ang="0">
                  <a:pos x="2330" y="2"/>
                </a:cxn>
                <a:cxn ang="0">
                  <a:pos x="2576" y="8"/>
                </a:cxn>
                <a:cxn ang="0">
                  <a:pos x="2874" y="50"/>
                </a:cxn>
                <a:cxn ang="0">
                  <a:pos x="3160" y="126"/>
                </a:cxn>
                <a:cxn ang="0">
                  <a:pos x="3430" y="236"/>
                </a:cxn>
                <a:cxn ang="0">
                  <a:pos x="3682" y="378"/>
                </a:cxn>
                <a:cxn ang="0">
                  <a:pos x="3914" y="548"/>
                </a:cxn>
                <a:cxn ang="0">
                  <a:pos x="4124" y="742"/>
                </a:cxn>
                <a:cxn ang="0">
                  <a:pos x="4310" y="962"/>
                </a:cxn>
                <a:cxn ang="0">
                  <a:pos x="4468" y="1202"/>
                </a:cxn>
                <a:cxn ang="0">
                  <a:pos x="4598" y="1462"/>
                </a:cxn>
                <a:cxn ang="0">
                  <a:pos x="4694" y="1738"/>
                </a:cxn>
                <a:cxn ang="0">
                  <a:pos x="4758" y="2030"/>
                </a:cxn>
                <a:cxn ang="0">
                  <a:pos x="4784" y="2332"/>
                </a:cxn>
              </a:cxnLst>
              <a:rect l="0" t="0" r="r" b="b"/>
              <a:pathLst>
                <a:path w="4786" h="4786">
                  <a:moveTo>
                    <a:pt x="4786" y="2394"/>
                  </a:moveTo>
                  <a:lnTo>
                    <a:pt x="4786" y="2394"/>
                  </a:lnTo>
                  <a:lnTo>
                    <a:pt x="4784" y="2456"/>
                  </a:lnTo>
                  <a:lnTo>
                    <a:pt x="4782" y="2516"/>
                  </a:lnTo>
                  <a:lnTo>
                    <a:pt x="4778" y="2578"/>
                  </a:lnTo>
                  <a:lnTo>
                    <a:pt x="4772" y="2638"/>
                  </a:lnTo>
                  <a:lnTo>
                    <a:pt x="4766" y="2698"/>
                  </a:lnTo>
                  <a:lnTo>
                    <a:pt x="4758" y="2758"/>
                  </a:lnTo>
                  <a:lnTo>
                    <a:pt x="4748" y="2818"/>
                  </a:lnTo>
                  <a:lnTo>
                    <a:pt x="4736" y="2876"/>
                  </a:lnTo>
                  <a:lnTo>
                    <a:pt x="4724" y="2934"/>
                  </a:lnTo>
                  <a:lnTo>
                    <a:pt x="4710" y="2992"/>
                  </a:lnTo>
                  <a:lnTo>
                    <a:pt x="4694" y="3048"/>
                  </a:lnTo>
                  <a:lnTo>
                    <a:pt x="4678" y="3106"/>
                  </a:lnTo>
                  <a:lnTo>
                    <a:pt x="4660" y="3160"/>
                  </a:lnTo>
                  <a:lnTo>
                    <a:pt x="4640" y="3216"/>
                  </a:lnTo>
                  <a:lnTo>
                    <a:pt x="4620" y="3270"/>
                  </a:lnTo>
                  <a:lnTo>
                    <a:pt x="4598" y="3324"/>
                  </a:lnTo>
                  <a:lnTo>
                    <a:pt x="4574" y="3378"/>
                  </a:lnTo>
                  <a:lnTo>
                    <a:pt x="4550" y="3430"/>
                  </a:lnTo>
                  <a:lnTo>
                    <a:pt x="4524" y="3482"/>
                  </a:lnTo>
                  <a:lnTo>
                    <a:pt x="4496" y="3534"/>
                  </a:lnTo>
                  <a:lnTo>
                    <a:pt x="4468" y="3584"/>
                  </a:lnTo>
                  <a:lnTo>
                    <a:pt x="4438" y="3634"/>
                  </a:lnTo>
                  <a:lnTo>
                    <a:pt x="4408" y="3684"/>
                  </a:lnTo>
                  <a:lnTo>
                    <a:pt x="4376" y="3732"/>
                  </a:lnTo>
                  <a:lnTo>
                    <a:pt x="4344" y="3778"/>
                  </a:lnTo>
                  <a:lnTo>
                    <a:pt x="4310" y="3826"/>
                  </a:lnTo>
                  <a:lnTo>
                    <a:pt x="4274" y="3870"/>
                  </a:lnTo>
                  <a:lnTo>
                    <a:pt x="4238" y="3916"/>
                  </a:lnTo>
                  <a:lnTo>
                    <a:pt x="4202" y="3960"/>
                  </a:lnTo>
                  <a:lnTo>
                    <a:pt x="4164" y="4002"/>
                  </a:lnTo>
                  <a:lnTo>
                    <a:pt x="4124" y="4044"/>
                  </a:lnTo>
                  <a:lnTo>
                    <a:pt x="4084" y="4086"/>
                  </a:lnTo>
                  <a:lnTo>
                    <a:pt x="4044" y="4126"/>
                  </a:lnTo>
                  <a:lnTo>
                    <a:pt x="4002" y="4164"/>
                  </a:lnTo>
                  <a:lnTo>
                    <a:pt x="3958" y="4202"/>
                  </a:lnTo>
                  <a:lnTo>
                    <a:pt x="3914" y="4240"/>
                  </a:lnTo>
                  <a:lnTo>
                    <a:pt x="3870" y="4276"/>
                  </a:lnTo>
                  <a:lnTo>
                    <a:pt x="3824" y="4310"/>
                  </a:lnTo>
                  <a:lnTo>
                    <a:pt x="3778" y="4344"/>
                  </a:lnTo>
                  <a:lnTo>
                    <a:pt x="3730" y="4378"/>
                  </a:lnTo>
                  <a:lnTo>
                    <a:pt x="3682" y="4410"/>
                  </a:lnTo>
                  <a:lnTo>
                    <a:pt x="3634" y="4440"/>
                  </a:lnTo>
                  <a:lnTo>
                    <a:pt x="3584" y="4470"/>
                  </a:lnTo>
                  <a:lnTo>
                    <a:pt x="3532" y="4498"/>
                  </a:lnTo>
                  <a:lnTo>
                    <a:pt x="3482" y="4524"/>
                  </a:lnTo>
                  <a:lnTo>
                    <a:pt x="3430" y="4550"/>
                  </a:lnTo>
                  <a:lnTo>
                    <a:pt x="3378" y="4574"/>
                  </a:lnTo>
                  <a:lnTo>
                    <a:pt x="3324" y="4598"/>
                  </a:lnTo>
                  <a:lnTo>
                    <a:pt x="3270" y="4620"/>
                  </a:lnTo>
                  <a:lnTo>
                    <a:pt x="3216" y="4642"/>
                  </a:lnTo>
                  <a:lnTo>
                    <a:pt x="3160" y="4660"/>
                  </a:lnTo>
                  <a:lnTo>
                    <a:pt x="3104" y="4678"/>
                  </a:lnTo>
                  <a:lnTo>
                    <a:pt x="3048" y="4696"/>
                  </a:lnTo>
                  <a:lnTo>
                    <a:pt x="2990" y="4712"/>
                  </a:lnTo>
                  <a:lnTo>
                    <a:pt x="2932" y="4726"/>
                  </a:lnTo>
                  <a:lnTo>
                    <a:pt x="2874" y="4738"/>
                  </a:lnTo>
                  <a:lnTo>
                    <a:pt x="2816" y="4748"/>
                  </a:lnTo>
                  <a:lnTo>
                    <a:pt x="2756" y="4758"/>
                  </a:lnTo>
                  <a:lnTo>
                    <a:pt x="2698" y="4768"/>
                  </a:lnTo>
                  <a:lnTo>
                    <a:pt x="2638" y="4774"/>
                  </a:lnTo>
                  <a:lnTo>
                    <a:pt x="2576" y="4780"/>
                  </a:lnTo>
                  <a:lnTo>
                    <a:pt x="2516" y="4784"/>
                  </a:lnTo>
                  <a:lnTo>
                    <a:pt x="2454" y="4786"/>
                  </a:lnTo>
                  <a:lnTo>
                    <a:pt x="2392" y="4786"/>
                  </a:lnTo>
                  <a:lnTo>
                    <a:pt x="2392" y="4786"/>
                  </a:lnTo>
                  <a:lnTo>
                    <a:pt x="2330" y="4786"/>
                  </a:lnTo>
                  <a:lnTo>
                    <a:pt x="2270" y="4784"/>
                  </a:lnTo>
                  <a:lnTo>
                    <a:pt x="2208" y="4780"/>
                  </a:lnTo>
                  <a:lnTo>
                    <a:pt x="2148" y="4774"/>
                  </a:lnTo>
                  <a:lnTo>
                    <a:pt x="2088" y="4768"/>
                  </a:lnTo>
                  <a:lnTo>
                    <a:pt x="2028" y="4758"/>
                  </a:lnTo>
                  <a:lnTo>
                    <a:pt x="1968" y="4748"/>
                  </a:lnTo>
                  <a:lnTo>
                    <a:pt x="1910" y="4738"/>
                  </a:lnTo>
                  <a:lnTo>
                    <a:pt x="1852" y="4726"/>
                  </a:lnTo>
                  <a:lnTo>
                    <a:pt x="1794" y="4712"/>
                  </a:lnTo>
                  <a:lnTo>
                    <a:pt x="1738" y="4696"/>
                  </a:lnTo>
                  <a:lnTo>
                    <a:pt x="1680" y="4678"/>
                  </a:lnTo>
                  <a:lnTo>
                    <a:pt x="1624" y="4660"/>
                  </a:lnTo>
                  <a:lnTo>
                    <a:pt x="1570" y="4642"/>
                  </a:lnTo>
                  <a:lnTo>
                    <a:pt x="1516" y="4620"/>
                  </a:lnTo>
                  <a:lnTo>
                    <a:pt x="1462" y="4598"/>
                  </a:lnTo>
                  <a:lnTo>
                    <a:pt x="1408" y="4574"/>
                  </a:lnTo>
                  <a:lnTo>
                    <a:pt x="1356" y="4550"/>
                  </a:lnTo>
                  <a:lnTo>
                    <a:pt x="1304" y="4524"/>
                  </a:lnTo>
                  <a:lnTo>
                    <a:pt x="1252" y="4498"/>
                  </a:lnTo>
                  <a:lnTo>
                    <a:pt x="1202" y="4470"/>
                  </a:lnTo>
                  <a:lnTo>
                    <a:pt x="1152" y="4440"/>
                  </a:lnTo>
                  <a:lnTo>
                    <a:pt x="1102" y="4410"/>
                  </a:lnTo>
                  <a:lnTo>
                    <a:pt x="1054" y="4378"/>
                  </a:lnTo>
                  <a:lnTo>
                    <a:pt x="1008" y="4344"/>
                  </a:lnTo>
                  <a:lnTo>
                    <a:pt x="960" y="4310"/>
                  </a:lnTo>
                  <a:lnTo>
                    <a:pt x="916" y="4276"/>
                  </a:lnTo>
                  <a:lnTo>
                    <a:pt x="870" y="4240"/>
                  </a:lnTo>
                  <a:lnTo>
                    <a:pt x="826" y="4202"/>
                  </a:lnTo>
                  <a:lnTo>
                    <a:pt x="784" y="4164"/>
                  </a:lnTo>
                  <a:lnTo>
                    <a:pt x="742" y="4126"/>
                  </a:lnTo>
                  <a:lnTo>
                    <a:pt x="700" y="4086"/>
                  </a:lnTo>
                  <a:lnTo>
                    <a:pt x="660" y="4044"/>
                  </a:lnTo>
                  <a:lnTo>
                    <a:pt x="622" y="4002"/>
                  </a:lnTo>
                  <a:lnTo>
                    <a:pt x="584" y="3960"/>
                  </a:lnTo>
                  <a:lnTo>
                    <a:pt x="546" y="3916"/>
                  </a:lnTo>
                  <a:lnTo>
                    <a:pt x="510" y="3870"/>
                  </a:lnTo>
                  <a:lnTo>
                    <a:pt x="474" y="3826"/>
                  </a:lnTo>
                  <a:lnTo>
                    <a:pt x="442" y="3778"/>
                  </a:lnTo>
                  <a:lnTo>
                    <a:pt x="408" y="3732"/>
                  </a:lnTo>
                  <a:lnTo>
                    <a:pt x="376" y="3684"/>
                  </a:lnTo>
                  <a:lnTo>
                    <a:pt x="346" y="3634"/>
                  </a:lnTo>
                  <a:lnTo>
                    <a:pt x="316" y="3584"/>
                  </a:lnTo>
                  <a:lnTo>
                    <a:pt x="288" y="3534"/>
                  </a:lnTo>
                  <a:lnTo>
                    <a:pt x="262" y="3482"/>
                  </a:lnTo>
                  <a:lnTo>
                    <a:pt x="236" y="3430"/>
                  </a:lnTo>
                  <a:lnTo>
                    <a:pt x="210" y="3378"/>
                  </a:lnTo>
                  <a:lnTo>
                    <a:pt x="188" y="3324"/>
                  </a:lnTo>
                  <a:lnTo>
                    <a:pt x="166" y="3270"/>
                  </a:lnTo>
                  <a:lnTo>
                    <a:pt x="144" y="3216"/>
                  </a:lnTo>
                  <a:lnTo>
                    <a:pt x="126" y="3160"/>
                  </a:lnTo>
                  <a:lnTo>
                    <a:pt x="108" y="3106"/>
                  </a:lnTo>
                  <a:lnTo>
                    <a:pt x="90" y="3048"/>
                  </a:lnTo>
                  <a:lnTo>
                    <a:pt x="74" y="2992"/>
                  </a:lnTo>
                  <a:lnTo>
                    <a:pt x="60" y="2934"/>
                  </a:lnTo>
                  <a:lnTo>
                    <a:pt x="48" y="2876"/>
                  </a:lnTo>
                  <a:lnTo>
                    <a:pt x="36" y="2818"/>
                  </a:lnTo>
                  <a:lnTo>
                    <a:pt x="28" y="2758"/>
                  </a:lnTo>
                  <a:lnTo>
                    <a:pt x="18" y="2698"/>
                  </a:lnTo>
                  <a:lnTo>
                    <a:pt x="12" y="2638"/>
                  </a:lnTo>
                  <a:lnTo>
                    <a:pt x="6" y="2578"/>
                  </a:lnTo>
                  <a:lnTo>
                    <a:pt x="2" y="2516"/>
                  </a:lnTo>
                  <a:lnTo>
                    <a:pt x="0" y="2456"/>
                  </a:lnTo>
                  <a:lnTo>
                    <a:pt x="0" y="2394"/>
                  </a:lnTo>
                  <a:lnTo>
                    <a:pt x="0" y="2394"/>
                  </a:lnTo>
                  <a:lnTo>
                    <a:pt x="0" y="2332"/>
                  </a:lnTo>
                  <a:lnTo>
                    <a:pt x="2" y="2270"/>
                  </a:lnTo>
                  <a:lnTo>
                    <a:pt x="6" y="2210"/>
                  </a:lnTo>
                  <a:lnTo>
                    <a:pt x="12" y="2148"/>
                  </a:lnTo>
                  <a:lnTo>
                    <a:pt x="18" y="2088"/>
                  </a:lnTo>
                  <a:lnTo>
                    <a:pt x="28" y="2030"/>
                  </a:lnTo>
                  <a:lnTo>
                    <a:pt x="36" y="1970"/>
                  </a:lnTo>
                  <a:lnTo>
                    <a:pt x="48" y="1912"/>
                  </a:lnTo>
                  <a:lnTo>
                    <a:pt x="60" y="1854"/>
                  </a:lnTo>
                  <a:lnTo>
                    <a:pt x="74" y="1796"/>
                  </a:lnTo>
                  <a:lnTo>
                    <a:pt x="90" y="1738"/>
                  </a:lnTo>
                  <a:lnTo>
                    <a:pt x="108" y="1682"/>
                  </a:lnTo>
                  <a:lnTo>
                    <a:pt x="126" y="1626"/>
                  </a:lnTo>
                  <a:lnTo>
                    <a:pt x="144" y="1570"/>
                  </a:lnTo>
                  <a:lnTo>
                    <a:pt x="166" y="1516"/>
                  </a:lnTo>
                  <a:lnTo>
                    <a:pt x="188" y="1462"/>
                  </a:lnTo>
                  <a:lnTo>
                    <a:pt x="210" y="1408"/>
                  </a:lnTo>
                  <a:lnTo>
                    <a:pt x="236" y="1356"/>
                  </a:lnTo>
                  <a:lnTo>
                    <a:pt x="262" y="1304"/>
                  </a:lnTo>
                  <a:lnTo>
                    <a:pt x="288" y="1252"/>
                  </a:lnTo>
                  <a:lnTo>
                    <a:pt x="316" y="1202"/>
                  </a:lnTo>
                  <a:lnTo>
                    <a:pt x="346" y="1152"/>
                  </a:lnTo>
                  <a:lnTo>
                    <a:pt x="376" y="1104"/>
                  </a:lnTo>
                  <a:lnTo>
                    <a:pt x="408" y="1056"/>
                  </a:lnTo>
                  <a:lnTo>
                    <a:pt x="442" y="1008"/>
                  </a:lnTo>
                  <a:lnTo>
                    <a:pt x="474" y="962"/>
                  </a:lnTo>
                  <a:lnTo>
                    <a:pt x="510" y="916"/>
                  </a:lnTo>
                  <a:lnTo>
                    <a:pt x="546" y="872"/>
                  </a:lnTo>
                  <a:lnTo>
                    <a:pt x="584" y="828"/>
                  </a:lnTo>
                  <a:lnTo>
                    <a:pt x="622" y="784"/>
                  </a:lnTo>
                  <a:lnTo>
                    <a:pt x="660" y="742"/>
                  </a:lnTo>
                  <a:lnTo>
                    <a:pt x="700" y="702"/>
                  </a:lnTo>
                  <a:lnTo>
                    <a:pt x="742" y="662"/>
                  </a:lnTo>
                  <a:lnTo>
                    <a:pt x="784" y="622"/>
                  </a:lnTo>
                  <a:lnTo>
                    <a:pt x="826" y="584"/>
                  </a:lnTo>
                  <a:lnTo>
                    <a:pt x="870" y="548"/>
                  </a:lnTo>
                  <a:lnTo>
                    <a:pt x="916" y="512"/>
                  </a:lnTo>
                  <a:lnTo>
                    <a:pt x="960" y="476"/>
                  </a:lnTo>
                  <a:lnTo>
                    <a:pt x="1008" y="442"/>
                  </a:lnTo>
                  <a:lnTo>
                    <a:pt x="1054" y="410"/>
                  </a:lnTo>
                  <a:lnTo>
                    <a:pt x="1102" y="378"/>
                  </a:lnTo>
                  <a:lnTo>
                    <a:pt x="1152" y="348"/>
                  </a:lnTo>
                  <a:lnTo>
                    <a:pt x="1202" y="318"/>
                  </a:lnTo>
                  <a:lnTo>
                    <a:pt x="1252" y="290"/>
                  </a:lnTo>
                  <a:lnTo>
                    <a:pt x="1304" y="262"/>
                  </a:lnTo>
                  <a:lnTo>
                    <a:pt x="1356" y="236"/>
                  </a:lnTo>
                  <a:lnTo>
                    <a:pt x="1408" y="212"/>
                  </a:lnTo>
                  <a:lnTo>
                    <a:pt x="1462" y="188"/>
                  </a:lnTo>
                  <a:lnTo>
                    <a:pt x="1516" y="166"/>
                  </a:lnTo>
                  <a:lnTo>
                    <a:pt x="1570" y="146"/>
                  </a:lnTo>
                  <a:lnTo>
                    <a:pt x="1624" y="126"/>
                  </a:lnTo>
                  <a:lnTo>
                    <a:pt x="1680" y="108"/>
                  </a:lnTo>
                  <a:lnTo>
                    <a:pt x="1738" y="92"/>
                  </a:lnTo>
                  <a:lnTo>
                    <a:pt x="1794" y="76"/>
                  </a:lnTo>
                  <a:lnTo>
                    <a:pt x="1852" y="62"/>
                  </a:lnTo>
                  <a:lnTo>
                    <a:pt x="1910" y="50"/>
                  </a:lnTo>
                  <a:lnTo>
                    <a:pt x="1968" y="38"/>
                  </a:lnTo>
                  <a:lnTo>
                    <a:pt x="2028" y="28"/>
                  </a:lnTo>
                  <a:lnTo>
                    <a:pt x="2088" y="20"/>
                  </a:lnTo>
                  <a:lnTo>
                    <a:pt x="2148" y="14"/>
                  </a:lnTo>
                  <a:lnTo>
                    <a:pt x="2208" y="8"/>
                  </a:lnTo>
                  <a:lnTo>
                    <a:pt x="2270" y="4"/>
                  </a:lnTo>
                  <a:lnTo>
                    <a:pt x="2330" y="2"/>
                  </a:lnTo>
                  <a:lnTo>
                    <a:pt x="2392" y="0"/>
                  </a:lnTo>
                  <a:lnTo>
                    <a:pt x="2392" y="0"/>
                  </a:lnTo>
                  <a:lnTo>
                    <a:pt x="2454" y="2"/>
                  </a:lnTo>
                  <a:lnTo>
                    <a:pt x="2516" y="4"/>
                  </a:lnTo>
                  <a:lnTo>
                    <a:pt x="2576" y="8"/>
                  </a:lnTo>
                  <a:lnTo>
                    <a:pt x="2638" y="14"/>
                  </a:lnTo>
                  <a:lnTo>
                    <a:pt x="2698" y="20"/>
                  </a:lnTo>
                  <a:lnTo>
                    <a:pt x="2756" y="28"/>
                  </a:lnTo>
                  <a:lnTo>
                    <a:pt x="2816" y="38"/>
                  </a:lnTo>
                  <a:lnTo>
                    <a:pt x="2874" y="50"/>
                  </a:lnTo>
                  <a:lnTo>
                    <a:pt x="2932" y="62"/>
                  </a:lnTo>
                  <a:lnTo>
                    <a:pt x="2990" y="76"/>
                  </a:lnTo>
                  <a:lnTo>
                    <a:pt x="3048" y="92"/>
                  </a:lnTo>
                  <a:lnTo>
                    <a:pt x="3104" y="108"/>
                  </a:lnTo>
                  <a:lnTo>
                    <a:pt x="3160" y="126"/>
                  </a:lnTo>
                  <a:lnTo>
                    <a:pt x="3216" y="146"/>
                  </a:lnTo>
                  <a:lnTo>
                    <a:pt x="3270" y="166"/>
                  </a:lnTo>
                  <a:lnTo>
                    <a:pt x="3324" y="188"/>
                  </a:lnTo>
                  <a:lnTo>
                    <a:pt x="3378" y="212"/>
                  </a:lnTo>
                  <a:lnTo>
                    <a:pt x="3430" y="236"/>
                  </a:lnTo>
                  <a:lnTo>
                    <a:pt x="3482" y="262"/>
                  </a:lnTo>
                  <a:lnTo>
                    <a:pt x="3532" y="290"/>
                  </a:lnTo>
                  <a:lnTo>
                    <a:pt x="3584" y="318"/>
                  </a:lnTo>
                  <a:lnTo>
                    <a:pt x="3634" y="348"/>
                  </a:lnTo>
                  <a:lnTo>
                    <a:pt x="3682" y="378"/>
                  </a:lnTo>
                  <a:lnTo>
                    <a:pt x="3730" y="410"/>
                  </a:lnTo>
                  <a:lnTo>
                    <a:pt x="3778" y="442"/>
                  </a:lnTo>
                  <a:lnTo>
                    <a:pt x="3824" y="476"/>
                  </a:lnTo>
                  <a:lnTo>
                    <a:pt x="3870" y="512"/>
                  </a:lnTo>
                  <a:lnTo>
                    <a:pt x="3914" y="548"/>
                  </a:lnTo>
                  <a:lnTo>
                    <a:pt x="3958" y="584"/>
                  </a:lnTo>
                  <a:lnTo>
                    <a:pt x="4002" y="622"/>
                  </a:lnTo>
                  <a:lnTo>
                    <a:pt x="4044" y="662"/>
                  </a:lnTo>
                  <a:lnTo>
                    <a:pt x="4084" y="702"/>
                  </a:lnTo>
                  <a:lnTo>
                    <a:pt x="4124" y="742"/>
                  </a:lnTo>
                  <a:lnTo>
                    <a:pt x="4164" y="784"/>
                  </a:lnTo>
                  <a:lnTo>
                    <a:pt x="4202" y="828"/>
                  </a:lnTo>
                  <a:lnTo>
                    <a:pt x="4238" y="872"/>
                  </a:lnTo>
                  <a:lnTo>
                    <a:pt x="4274" y="916"/>
                  </a:lnTo>
                  <a:lnTo>
                    <a:pt x="4310" y="962"/>
                  </a:lnTo>
                  <a:lnTo>
                    <a:pt x="4344" y="1008"/>
                  </a:lnTo>
                  <a:lnTo>
                    <a:pt x="4376" y="1056"/>
                  </a:lnTo>
                  <a:lnTo>
                    <a:pt x="4408" y="1104"/>
                  </a:lnTo>
                  <a:lnTo>
                    <a:pt x="4438" y="1152"/>
                  </a:lnTo>
                  <a:lnTo>
                    <a:pt x="4468" y="1202"/>
                  </a:lnTo>
                  <a:lnTo>
                    <a:pt x="4496" y="1252"/>
                  </a:lnTo>
                  <a:lnTo>
                    <a:pt x="4524" y="1304"/>
                  </a:lnTo>
                  <a:lnTo>
                    <a:pt x="4550" y="1356"/>
                  </a:lnTo>
                  <a:lnTo>
                    <a:pt x="4574" y="1408"/>
                  </a:lnTo>
                  <a:lnTo>
                    <a:pt x="4598" y="1462"/>
                  </a:lnTo>
                  <a:lnTo>
                    <a:pt x="4620" y="1516"/>
                  </a:lnTo>
                  <a:lnTo>
                    <a:pt x="4640" y="1570"/>
                  </a:lnTo>
                  <a:lnTo>
                    <a:pt x="4660" y="1626"/>
                  </a:lnTo>
                  <a:lnTo>
                    <a:pt x="4678" y="1682"/>
                  </a:lnTo>
                  <a:lnTo>
                    <a:pt x="4694" y="1738"/>
                  </a:lnTo>
                  <a:lnTo>
                    <a:pt x="4710" y="1796"/>
                  </a:lnTo>
                  <a:lnTo>
                    <a:pt x="4724" y="1854"/>
                  </a:lnTo>
                  <a:lnTo>
                    <a:pt x="4736" y="1912"/>
                  </a:lnTo>
                  <a:lnTo>
                    <a:pt x="4748" y="1970"/>
                  </a:lnTo>
                  <a:lnTo>
                    <a:pt x="4758" y="2030"/>
                  </a:lnTo>
                  <a:lnTo>
                    <a:pt x="4766" y="2088"/>
                  </a:lnTo>
                  <a:lnTo>
                    <a:pt x="4772" y="2148"/>
                  </a:lnTo>
                  <a:lnTo>
                    <a:pt x="4778" y="2210"/>
                  </a:lnTo>
                  <a:lnTo>
                    <a:pt x="4782" y="2270"/>
                  </a:lnTo>
                  <a:lnTo>
                    <a:pt x="4784" y="2332"/>
                  </a:lnTo>
                  <a:lnTo>
                    <a:pt x="4786" y="2394"/>
                  </a:lnTo>
                  <a:lnTo>
                    <a:pt x="4786" y="2394"/>
                  </a:lnTo>
                  <a:close/>
                </a:path>
              </a:pathLst>
            </a:custGeom>
            <a:solidFill>
              <a:schemeClr val="bg1">
                <a:lumMod val="65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10" name="Rectangle 56">
              <a:extLst>
                <a:ext uri="{FF2B5EF4-FFF2-40B4-BE49-F238E27FC236}">
                  <a16:creationId xmlns:a16="http://schemas.microsoft.com/office/drawing/2014/main" id="{D67C3C06-78A2-4F84-AB20-F21DF7A9ADC7}"/>
                </a:ext>
              </a:extLst>
            </p:cNvPr>
            <p:cNvSpPr>
              <a:spLocks noChangeArrowheads="1"/>
            </p:cNvSpPr>
            <p:nvPr/>
          </p:nvSpPr>
          <p:spPr bwMode="auto">
            <a:xfrm>
              <a:off x="-21280438" y="9863138"/>
              <a:ext cx="161925" cy="158750"/>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211" name="Rectangle 57">
              <a:extLst>
                <a:ext uri="{FF2B5EF4-FFF2-40B4-BE49-F238E27FC236}">
                  <a16:creationId xmlns:a16="http://schemas.microsoft.com/office/drawing/2014/main" id="{15D80F8F-2D71-43F1-AAD5-3B5674BB701C}"/>
                </a:ext>
              </a:extLst>
            </p:cNvPr>
            <p:cNvSpPr>
              <a:spLocks noChangeArrowheads="1"/>
            </p:cNvSpPr>
            <p:nvPr/>
          </p:nvSpPr>
          <p:spPr bwMode="auto">
            <a:xfrm>
              <a:off x="-20953413" y="9863138"/>
              <a:ext cx="165100" cy="158750"/>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212" name="Rectangle 58">
              <a:extLst>
                <a:ext uri="{FF2B5EF4-FFF2-40B4-BE49-F238E27FC236}">
                  <a16:creationId xmlns:a16="http://schemas.microsoft.com/office/drawing/2014/main" id="{DCB3253C-4795-4B17-BCB6-068C6E6CE08E}"/>
                </a:ext>
              </a:extLst>
            </p:cNvPr>
            <p:cNvSpPr>
              <a:spLocks noChangeArrowheads="1"/>
            </p:cNvSpPr>
            <p:nvPr/>
          </p:nvSpPr>
          <p:spPr bwMode="auto">
            <a:xfrm>
              <a:off x="-22267863" y="9863138"/>
              <a:ext cx="165100" cy="158750"/>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213" name="Rectangle 59">
              <a:extLst>
                <a:ext uri="{FF2B5EF4-FFF2-40B4-BE49-F238E27FC236}">
                  <a16:creationId xmlns:a16="http://schemas.microsoft.com/office/drawing/2014/main" id="{57797812-A424-4540-8932-100F32726C4A}"/>
                </a:ext>
              </a:extLst>
            </p:cNvPr>
            <p:cNvSpPr>
              <a:spLocks noChangeArrowheads="1"/>
            </p:cNvSpPr>
            <p:nvPr/>
          </p:nvSpPr>
          <p:spPr bwMode="auto">
            <a:xfrm>
              <a:off x="-21610638" y="9863138"/>
              <a:ext cx="165100" cy="158750"/>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214" name="Rectangle 60">
              <a:extLst>
                <a:ext uri="{FF2B5EF4-FFF2-40B4-BE49-F238E27FC236}">
                  <a16:creationId xmlns:a16="http://schemas.microsoft.com/office/drawing/2014/main" id="{546A0868-D040-48AD-A98D-5F5E13AAE03B}"/>
                </a:ext>
              </a:extLst>
            </p:cNvPr>
            <p:cNvSpPr>
              <a:spLocks noChangeArrowheads="1"/>
            </p:cNvSpPr>
            <p:nvPr/>
          </p:nvSpPr>
          <p:spPr bwMode="auto">
            <a:xfrm>
              <a:off x="-21937663" y="9863138"/>
              <a:ext cx="161925" cy="158750"/>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215" name="Freeform 61">
              <a:extLst>
                <a:ext uri="{FF2B5EF4-FFF2-40B4-BE49-F238E27FC236}">
                  <a16:creationId xmlns:a16="http://schemas.microsoft.com/office/drawing/2014/main" id="{02CF9FC7-488D-4A4D-BA39-496A3FE74E31}"/>
                </a:ext>
              </a:extLst>
            </p:cNvPr>
            <p:cNvSpPr>
              <a:spLocks/>
            </p:cNvSpPr>
            <p:nvPr/>
          </p:nvSpPr>
          <p:spPr bwMode="auto">
            <a:xfrm>
              <a:off x="-24896763" y="9863138"/>
              <a:ext cx="2495550" cy="158750"/>
            </a:xfrm>
            <a:custGeom>
              <a:avLst/>
              <a:gdLst/>
              <a:ahLst/>
              <a:cxnLst>
                <a:cxn ang="0">
                  <a:pos x="348" y="0"/>
                </a:cxn>
                <a:cxn ang="0">
                  <a:pos x="348" y="0"/>
                </a:cxn>
                <a:cxn ang="0">
                  <a:pos x="260" y="32"/>
                </a:cxn>
                <a:cxn ang="0">
                  <a:pos x="170" y="58"/>
                </a:cxn>
                <a:cxn ang="0">
                  <a:pos x="84" y="80"/>
                </a:cxn>
                <a:cxn ang="0">
                  <a:pos x="0" y="100"/>
                </a:cxn>
                <a:cxn ang="0">
                  <a:pos x="0" y="100"/>
                </a:cxn>
                <a:cxn ang="0">
                  <a:pos x="1552" y="100"/>
                </a:cxn>
                <a:cxn ang="0">
                  <a:pos x="1572" y="100"/>
                </a:cxn>
                <a:cxn ang="0">
                  <a:pos x="1572" y="0"/>
                </a:cxn>
                <a:cxn ang="0">
                  <a:pos x="1552" y="0"/>
                </a:cxn>
                <a:cxn ang="0">
                  <a:pos x="1552" y="0"/>
                </a:cxn>
                <a:cxn ang="0">
                  <a:pos x="348" y="0"/>
                </a:cxn>
                <a:cxn ang="0">
                  <a:pos x="348" y="0"/>
                </a:cxn>
              </a:cxnLst>
              <a:rect l="0" t="0" r="r" b="b"/>
              <a:pathLst>
                <a:path w="1572" h="100">
                  <a:moveTo>
                    <a:pt x="348" y="0"/>
                  </a:moveTo>
                  <a:lnTo>
                    <a:pt x="348" y="0"/>
                  </a:lnTo>
                  <a:lnTo>
                    <a:pt x="260" y="32"/>
                  </a:lnTo>
                  <a:lnTo>
                    <a:pt x="170" y="58"/>
                  </a:lnTo>
                  <a:lnTo>
                    <a:pt x="84" y="80"/>
                  </a:lnTo>
                  <a:lnTo>
                    <a:pt x="0" y="100"/>
                  </a:lnTo>
                  <a:lnTo>
                    <a:pt x="0" y="100"/>
                  </a:lnTo>
                  <a:lnTo>
                    <a:pt x="1552" y="100"/>
                  </a:lnTo>
                  <a:lnTo>
                    <a:pt x="1572" y="100"/>
                  </a:lnTo>
                  <a:lnTo>
                    <a:pt x="1572" y="0"/>
                  </a:lnTo>
                  <a:lnTo>
                    <a:pt x="1552" y="0"/>
                  </a:lnTo>
                  <a:lnTo>
                    <a:pt x="1552" y="0"/>
                  </a:lnTo>
                  <a:lnTo>
                    <a:pt x="348" y="0"/>
                  </a:lnTo>
                  <a:lnTo>
                    <a:pt x="348"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16" name="Freeform 62">
              <a:extLst>
                <a:ext uri="{FF2B5EF4-FFF2-40B4-BE49-F238E27FC236}">
                  <a16:creationId xmlns:a16="http://schemas.microsoft.com/office/drawing/2014/main" id="{E8A546B2-8249-47CC-AA36-16E613C2C9D6}"/>
                </a:ext>
              </a:extLst>
            </p:cNvPr>
            <p:cNvSpPr>
              <a:spLocks noEditPoints="1"/>
            </p:cNvSpPr>
            <p:nvPr/>
          </p:nvSpPr>
          <p:spPr bwMode="auto">
            <a:xfrm>
              <a:off x="-25560338" y="5957888"/>
              <a:ext cx="4441825" cy="4064000"/>
            </a:xfrm>
            <a:custGeom>
              <a:avLst/>
              <a:gdLst/>
              <a:ahLst/>
              <a:cxnLst>
                <a:cxn ang="0">
                  <a:pos x="1956" y="1082"/>
                </a:cxn>
                <a:cxn ang="0">
                  <a:pos x="2798" y="238"/>
                </a:cxn>
                <a:cxn ang="0">
                  <a:pos x="2560" y="0"/>
                </a:cxn>
                <a:cxn ang="0">
                  <a:pos x="1716" y="842"/>
                </a:cxn>
                <a:cxn ang="0">
                  <a:pos x="1648" y="912"/>
                </a:cxn>
                <a:cxn ang="0">
                  <a:pos x="0" y="2560"/>
                </a:cxn>
                <a:cxn ang="0">
                  <a:pos x="0" y="2560"/>
                </a:cxn>
                <a:cxn ang="0">
                  <a:pos x="52" y="2556"/>
                </a:cxn>
                <a:cxn ang="0">
                  <a:pos x="108" y="2552"/>
                </a:cxn>
                <a:cxn ang="0">
                  <a:pos x="166" y="2546"/>
                </a:cxn>
                <a:cxn ang="0">
                  <a:pos x="226" y="2536"/>
                </a:cxn>
                <a:cxn ang="0">
                  <a:pos x="288" y="2524"/>
                </a:cxn>
                <a:cxn ang="0">
                  <a:pos x="352" y="2510"/>
                </a:cxn>
                <a:cxn ang="0">
                  <a:pos x="418" y="2494"/>
                </a:cxn>
                <a:cxn ang="0">
                  <a:pos x="486" y="2476"/>
                </a:cxn>
                <a:cxn ang="0">
                  <a:pos x="554" y="2454"/>
                </a:cxn>
                <a:cxn ang="0">
                  <a:pos x="624" y="2428"/>
                </a:cxn>
                <a:cxn ang="0">
                  <a:pos x="694" y="2402"/>
                </a:cxn>
                <a:cxn ang="0">
                  <a:pos x="764" y="2372"/>
                </a:cxn>
                <a:cxn ang="0">
                  <a:pos x="834" y="2338"/>
                </a:cxn>
                <a:cxn ang="0">
                  <a:pos x="906" y="2304"/>
                </a:cxn>
                <a:cxn ang="0">
                  <a:pos x="976" y="2264"/>
                </a:cxn>
                <a:cxn ang="0">
                  <a:pos x="1046" y="2222"/>
                </a:cxn>
                <a:cxn ang="0">
                  <a:pos x="1116" y="2178"/>
                </a:cxn>
                <a:cxn ang="0">
                  <a:pos x="1186" y="2128"/>
                </a:cxn>
                <a:cxn ang="0">
                  <a:pos x="1254" y="2078"/>
                </a:cxn>
                <a:cxn ang="0">
                  <a:pos x="1322" y="2022"/>
                </a:cxn>
                <a:cxn ang="0">
                  <a:pos x="1386" y="1964"/>
                </a:cxn>
                <a:cxn ang="0">
                  <a:pos x="1450" y="1902"/>
                </a:cxn>
                <a:cxn ang="0">
                  <a:pos x="1514" y="1838"/>
                </a:cxn>
                <a:cxn ang="0">
                  <a:pos x="1574" y="1768"/>
                </a:cxn>
                <a:cxn ang="0">
                  <a:pos x="1632" y="1696"/>
                </a:cxn>
                <a:cxn ang="0">
                  <a:pos x="1686" y="1620"/>
                </a:cxn>
                <a:cxn ang="0">
                  <a:pos x="1740" y="1540"/>
                </a:cxn>
                <a:cxn ang="0">
                  <a:pos x="1790" y="1456"/>
                </a:cxn>
                <a:cxn ang="0">
                  <a:pos x="1836" y="1368"/>
                </a:cxn>
                <a:cxn ang="0">
                  <a:pos x="1858" y="1324"/>
                </a:cxn>
                <a:cxn ang="0">
                  <a:pos x="1880" y="1276"/>
                </a:cxn>
                <a:cxn ang="0">
                  <a:pos x="1900" y="1230"/>
                </a:cxn>
                <a:cxn ang="0">
                  <a:pos x="1920" y="1182"/>
                </a:cxn>
                <a:cxn ang="0">
                  <a:pos x="1938" y="1132"/>
                </a:cxn>
                <a:cxn ang="0">
                  <a:pos x="1956" y="1082"/>
                </a:cxn>
                <a:cxn ang="0">
                  <a:pos x="1956" y="1082"/>
                </a:cxn>
                <a:cxn ang="0">
                  <a:pos x="2588" y="96"/>
                </a:cxn>
                <a:cxn ang="0">
                  <a:pos x="2658" y="166"/>
                </a:cxn>
                <a:cxn ang="0">
                  <a:pos x="1868" y="958"/>
                </a:cxn>
                <a:cxn ang="0">
                  <a:pos x="1796" y="888"/>
                </a:cxn>
                <a:cxn ang="0">
                  <a:pos x="2588" y="96"/>
                </a:cxn>
              </a:cxnLst>
              <a:rect l="0" t="0" r="r" b="b"/>
              <a:pathLst>
                <a:path w="2798" h="2560">
                  <a:moveTo>
                    <a:pt x="1956" y="1082"/>
                  </a:moveTo>
                  <a:lnTo>
                    <a:pt x="2798" y="238"/>
                  </a:lnTo>
                  <a:lnTo>
                    <a:pt x="2560" y="0"/>
                  </a:lnTo>
                  <a:lnTo>
                    <a:pt x="1716" y="842"/>
                  </a:lnTo>
                  <a:lnTo>
                    <a:pt x="1648" y="912"/>
                  </a:lnTo>
                  <a:lnTo>
                    <a:pt x="0" y="2560"/>
                  </a:lnTo>
                  <a:lnTo>
                    <a:pt x="0" y="2560"/>
                  </a:lnTo>
                  <a:lnTo>
                    <a:pt x="52" y="2556"/>
                  </a:lnTo>
                  <a:lnTo>
                    <a:pt x="108" y="2552"/>
                  </a:lnTo>
                  <a:lnTo>
                    <a:pt x="166" y="2546"/>
                  </a:lnTo>
                  <a:lnTo>
                    <a:pt x="226" y="2536"/>
                  </a:lnTo>
                  <a:lnTo>
                    <a:pt x="288" y="2524"/>
                  </a:lnTo>
                  <a:lnTo>
                    <a:pt x="352" y="2510"/>
                  </a:lnTo>
                  <a:lnTo>
                    <a:pt x="418" y="2494"/>
                  </a:lnTo>
                  <a:lnTo>
                    <a:pt x="486" y="2476"/>
                  </a:lnTo>
                  <a:lnTo>
                    <a:pt x="554" y="2454"/>
                  </a:lnTo>
                  <a:lnTo>
                    <a:pt x="624" y="2428"/>
                  </a:lnTo>
                  <a:lnTo>
                    <a:pt x="694" y="2402"/>
                  </a:lnTo>
                  <a:lnTo>
                    <a:pt x="764" y="2372"/>
                  </a:lnTo>
                  <a:lnTo>
                    <a:pt x="834" y="2338"/>
                  </a:lnTo>
                  <a:lnTo>
                    <a:pt x="906" y="2304"/>
                  </a:lnTo>
                  <a:lnTo>
                    <a:pt x="976" y="2264"/>
                  </a:lnTo>
                  <a:lnTo>
                    <a:pt x="1046" y="2222"/>
                  </a:lnTo>
                  <a:lnTo>
                    <a:pt x="1116" y="2178"/>
                  </a:lnTo>
                  <a:lnTo>
                    <a:pt x="1186" y="2128"/>
                  </a:lnTo>
                  <a:lnTo>
                    <a:pt x="1254" y="2078"/>
                  </a:lnTo>
                  <a:lnTo>
                    <a:pt x="1322" y="2022"/>
                  </a:lnTo>
                  <a:lnTo>
                    <a:pt x="1386" y="1964"/>
                  </a:lnTo>
                  <a:lnTo>
                    <a:pt x="1450" y="1902"/>
                  </a:lnTo>
                  <a:lnTo>
                    <a:pt x="1514" y="1838"/>
                  </a:lnTo>
                  <a:lnTo>
                    <a:pt x="1574" y="1768"/>
                  </a:lnTo>
                  <a:lnTo>
                    <a:pt x="1632" y="1696"/>
                  </a:lnTo>
                  <a:lnTo>
                    <a:pt x="1686" y="1620"/>
                  </a:lnTo>
                  <a:lnTo>
                    <a:pt x="1740" y="1540"/>
                  </a:lnTo>
                  <a:lnTo>
                    <a:pt x="1790" y="1456"/>
                  </a:lnTo>
                  <a:lnTo>
                    <a:pt x="1836" y="1368"/>
                  </a:lnTo>
                  <a:lnTo>
                    <a:pt x="1858" y="1324"/>
                  </a:lnTo>
                  <a:lnTo>
                    <a:pt x="1880" y="1276"/>
                  </a:lnTo>
                  <a:lnTo>
                    <a:pt x="1900" y="1230"/>
                  </a:lnTo>
                  <a:lnTo>
                    <a:pt x="1920" y="1182"/>
                  </a:lnTo>
                  <a:lnTo>
                    <a:pt x="1938" y="1132"/>
                  </a:lnTo>
                  <a:lnTo>
                    <a:pt x="1956" y="1082"/>
                  </a:lnTo>
                  <a:lnTo>
                    <a:pt x="1956" y="1082"/>
                  </a:lnTo>
                  <a:close/>
                  <a:moveTo>
                    <a:pt x="2588" y="96"/>
                  </a:moveTo>
                  <a:lnTo>
                    <a:pt x="2658" y="166"/>
                  </a:lnTo>
                  <a:lnTo>
                    <a:pt x="1868" y="958"/>
                  </a:lnTo>
                  <a:lnTo>
                    <a:pt x="1796" y="888"/>
                  </a:lnTo>
                  <a:lnTo>
                    <a:pt x="2588" y="9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grpSp>
        <p:nvGrpSpPr>
          <p:cNvPr id="217" name="Group 147">
            <a:extLst>
              <a:ext uri="{FF2B5EF4-FFF2-40B4-BE49-F238E27FC236}">
                <a16:creationId xmlns:a16="http://schemas.microsoft.com/office/drawing/2014/main" id="{608824C2-1CC4-4842-B3D6-1B428C23479C}"/>
              </a:ext>
            </a:extLst>
          </p:cNvPr>
          <p:cNvGrpSpPr/>
          <p:nvPr/>
        </p:nvGrpSpPr>
        <p:grpSpPr>
          <a:xfrm>
            <a:off x="7781417" y="3631287"/>
            <a:ext cx="616463" cy="599892"/>
            <a:chOff x="2967038" y="24664988"/>
            <a:chExt cx="7183459" cy="7183459"/>
          </a:xfrm>
        </p:grpSpPr>
        <p:sp>
          <p:nvSpPr>
            <p:cNvPr id="218" name="Freeform 106">
              <a:extLst>
                <a:ext uri="{FF2B5EF4-FFF2-40B4-BE49-F238E27FC236}">
                  <a16:creationId xmlns:a16="http://schemas.microsoft.com/office/drawing/2014/main" id="{7A334147-09CD-4035-AFC4-F646FD19F390}"/>
                </a:ext>
              </a:extLst>
            </p:cNvPr>
            <p:cNvSpPr>
              <a:spLocks/>
            </p:cNvSpPr>
            <p:nvPr/>
          </p:nvSpPr>
          <p:spPr bwMode="auto">
            <a:xfrm>
              <a:off x="2967038" y="24664988"/>
              <a:ext cx="7183459" cy="7183459"/>
            </a:xfrm>
            <a:custGeom>
              <a:avLst/>
              <a:gdLst/>
              <a:ahLst/>
              <a:cxnLst>
                <a:cxn ang="0">
                  <a:pos x="4780" y="2578"/>
                </a:cxn>
                <a:cxn ang="0">
                  <a:pos x="4738" y="2876"/>
                </a:cxn>
                <a:cxn ang="0">
                  <a:pos x="4660" y="3162"/>
                </a:cxn>
                <a:cxn ang="0">
                  <a:pos x="4550" y="3430"/>
                </a:cxn>
                <a:cxn ang="0">
                  <a:pos x="4410" y="3684"/>
                </a:cxn>
                <a:cxn ang="0">
                  <a:pos x="4240" y="3916"/>
                </a:cxn>
                <a:cxn ang="0">
                  <a:pos x="4044" y="4126"/>
                </a:cxn>
                <a:cxn ang="0">
                  <a:pos x="3826" y="4312"/>
                </a:cxn>
                <a:cxn ang="0">
                  <a:pos x="3584" y="4470"/>
                </a:cxn>
                <a:cxn ang="0">
                  <a:pos x="3324" y="4598"/>
                </a:cxn>
                <a:cxn ang="0">
                  <a:pos x="3048" y="4696"/>
                </a:cxn>
                <a:cxn ang="0">
                  <a:pos x="2758" y="4758"/>
                </a:cxn>
                <a:cxn ang="0">
                  <a:pos x="2456" y="4786"/>
                </a:cxn>
                <a:cxn ang="0">
                  <a:pos x="2210" y="4780"/>
                </a:cxn>
                <a:cxn ang="0">
                  <a:pos x="1912" y="4738"/>
                </a:cxn>
                <a:cxn ang="0">
                  <a:pos x="1626" y="4660"/>
                </a:cxn>
                <a:cxn ang="0">
                  <a:pos x="1356" y="4550"/>
                </a:cxn>
                <a:cxn ang="0">
                  <a:pos x="1104" y="4410"/>
                </a:cxn>
                <a:cxn ang="0">
                  <a:pos x="872" y="4240"/>
                </a:cxn>
                <a:cxn ang="0">
                  <a:pos x="662" y="4044"/>
                </a:cxn>
                <a:cxn ang="0">
                  <a:pos x="476" y="3826"/>
                </a:cxn>
                <a:cxn ang="0">
                  <a:pos x="318" y="3584"/>
                </a:cxn>
                <a:cxn ang="0">
                  <a:pos x="188" y="3324"/>
                </a:cxn>
                <a:cxn ang="0">
                  <a:pos x="92" y="3048"/>
                </a:cxn>
                <a:cxn ang="0">
                  <a:pos x="28" y="2758"/>
                </a:cxn>
                <a:cxn ang="0">
                  <a:pos x="2" y="2456"/>
                </a:cxn>
                <a:cxn ang="0">
                  <a:pos x="8" y="2210"/>
                </a:cxn>
                <a:cxn ang="0">
                  <a:pos x="50" y="1912"/>
                </a:cxn>
                <a:cxn ang="0">
                  <a:pos x="126" y="1626"/>
                </a:cxn>
                <a:cxn ang="0">
                  <a:pos x="236" y="1356"/>
                </a:cxn>
                <a:cxn ang="0">
                  <a:pos x="378" y="1104"/>
                </a:cxn>
                <a:cxn ang="0">
                  <a:pos x="548" y="872"/>
                </a:cxn>
                <a:cxn ang="0">
                  <a:pos x="742" y="662"/>
                </a:cxn>
                <a:cxn ang="0">
                  <a:pos x="962" y="476"/>
                </a:cxn>
                <a:cxn ang="0">
                  <a:pos x="1202" y="318"/>
                </a:cxn>
                <a:cxn ang="0">
                  <a:pos x="1462" y="188"/>
                </a:cxn>
                <a:cxn ang="0">
                  <a:pos x="1738" y="92"/>
                </a:cxn>
                <a:cxn ang="0">
                  <a:pos x="2030" y="28"/>
                </a:cxn>
                <a:cxn ang="0">
                  <a:pos x="2332" y="2"/>
                </a:cxn>
                <a:cxn ang="0">
                  <a:pos x="2578" y="8"/>
                </a:cxn>
                <a:cxn ang="0">
                  <a:pos x="2876" y="50"/>
                </a:cxn>
                <a:cxn ang="0">
                  <a:pos x="3160" y="126"/>
                </a:cxn>
                <a:cxn ang="0">
                  <a:pos x="3430" y="236"/>
                </a:cxn>
                <a:cxn ang="0">
                  <a:pos x="3684" y="378"/>
                </a:cxn>
                <a:cxn ang="0">
                  <a:pos x="3916" y="548"/>
                </a:cxn>
                <a:cxn ang="0">
                  <a:pos x="4126" y="742"/>
                </a:cxn>
                <a:cxn ang="0">
                  <a:pos x="4310" y="962"/>
                </a:cxn>
                <a:cxn ang="0">
                  <a:pos x="4470" y="1202"/>
                </a:cxn>
                <a:cxn ang="0">
                  <a:pos x="4598" y="1462"/>
                </a:cxn>
                <a:cxn ang="0">
                  <a:pos x="4696" y="1738"/>
                </a:cxn>
                <a:cxn ang="0">
                  <a:pos x="4758" y="2030"/>
                </a:cxn>
                <a:cxn ang="0">
                  <a:pos x="4786" y="2332"/>
                </a:cxn>
              </a:cxnLst>
              <a:rect l="0" t="0" r="r" b="b"/>
              <a:pathLst>
                <a:path w="4786" h="4786">
                  <a:moveTo>
                    <a:pt x="4786" y="2394"/>
                  </a:moveTo>
                  <a:lnTo>
                    <a:pt x="4786" y="2394"/>
                  </a:lnTo>
                  <a:lnTo>
                    <a:pt x="4786" y="2456"/>
                  </a:lnTo>
                  <a:lnTo>
                    <a:pt x="4784" y="2516"/>
                  </a:lnTo>
                  <a:lnTo>
                    <a:pt x="4780" y="2578"/>
                  </a:lnTo>
                  <a:lnTo>
                    <a:pt x="4774" y="2638"/>
                  </a:lnTo>
                  <a:lnTo>
                    <a:pt x="4768" y="2698"/>
                  </a:lnTo>
                  <a:lnTo>
                    <a:pt x="4758" y="2758"/>
                  </a:lnTo>
                  <a:lnTo>
                    <a:pt x="4748" y="2818"/>
                  </a:lnTo>
                  <a:lnTo>
                    <a:pt x="4738" y="2876"/>
                  </a:lnTo>
                  <a:lnTo>
                    <a:pt x="4726" y="2934"/>
                  </a:lnTo>
                  <a:lnTo>
                    <a:pt x="4712" y="2992"/>
                  </a:lnTo>
                  <a:lnTo>
                    <a:pt x="4696" y="3048"/>
                  </a:lnTo>
                  <a:lnTo>
                    <a:pt x="4678" y="3106"/>
                  </a:lnTo>
                  <a:lnTo>
                    <a:pt x="4660" y="3162"/>
                  </a:lnTo>
                  <a:lnTo>
                    <a:pt x="4642" y="3216"/>
                  </a:lnTo>
                  <a:lnTo>
                    <a:pt x="4620" y="3270"/>
                  </a:lnTo>
                  <a:lnTo>
                    <a:pt x="4598" y="3324"/>
                  </a:lnTo>
                  <a:lnTo>
                    <a:pt x="4574" y="3378"/>
                  </a:lnTo>
                  <a:lnTo>
                    <a:pt x="4550" y="3430"/>
                  </a:lnTo>
                  <a:lnTo>
                    <a:pt x="4524" y="3482"/>
                  </a:lnTo>
                  <a:lnTo>
                    <a:pt x="4498" y="3534"/>
                  </a:lnTo>
                  <a:lnTo>
                    <a:pt x="4470" y="3584"/>
                  </a:lnTo>
                  <a:lnTo>
                    <a:pt x="4440" y="3634"/>
                  </a:lnTo>
                  <a:lnTo>
                    <a:pt x="4410" y="3684"/>
                  </a:lnTo>
                  <a:lnTo>
                    <a:pt x="4378" y="3732"/>
                  </a:lnTo>
                  <a:lnTo>
                    <a:pt x="4344" y="3778"/>
                  </a:lnTo>
                  <a:lnTo>
                    <a:pt x="4310" y="3826"/>
                  </a:lnTo>
                  <a:lnTo>
                    <a:pt x="4276" y="3870"/>
                  </a:lnTo>
                  <a:lnTo>
                    <a:pt x="4240" y="3916"/>
                  </a:lnTo>
                  <a:lnTo>
                    <a:pt x="4202" y="3960"/>
                  </a:lnTo>
                  <a:lnTo>
                    <a:pt x="4164" y="4002"/>
                  </a:lnTo>
                  <a:lnTo>
                    <a:pt x="4126" y="4044"/>
                  </a:lnTo>
                  <a:lnTo>
                    <a:pt x="4086" y="4086"/>
                  </a:lnTo>
                  <a:lnTo>
                    <a:pt x="4044" y="4126"/>
                  </a:lnTo>
                  <a:lnTo>
                    <a:pt x="4002" y="4164"/>
                  </a:lnTo>
                  <a:lnTo>
                    <a:pt x="3960" y="4202"/>
                  </a:lnTo>
                  <a:lnTo>
                    <a:pt x="3916" y="4240"/>
                  </a:lnTo>
                  <a:lnTo>
                    <a:pt x="3870" y="4276"/>
                  </a:lnTo>
                  <a:lnTo>
                    <a:pt x="3826" y="4312"/>
                  </a:lnTo>
                  <a:lnTo>
                    <a:pt x="3778" y="4344"/>
                  </a:lnTo>
                  <a:lnTo>
                    <a:pt x="3732" y="4378"/>
                  </a:lnTo>
                  <a:lnTo>
                    <a:pt x="3684" y="4410"/>
                  </a:lnTo>
                  <a:lnTo>
                    <a:pt x="3634" y="4440"/>
                  </a:lnTo>
                  <a:lnTo>
                    <a:pt x="3584" y="4470"/>
                  </a:lnTo>
                  <a:lnTo>
                    <a:pt x="3534" y="4498"/>
                  </a:lnTo>
                  <a:lnTo>
                    <a:pt x="3482" y="4524"/>
                  </a:lnTo>
                  <a:lnTo>
                    <a:pt x="3430" y="4550"/>
                  </a:lnTo>
                  <a:lnTo>
                    <a:pt x="3378" y="4576"/>
                  </a:lnTo>
                  <a:lnTo>
                    <a:pt x="3324" y="4598"/>
                  </a:lnTo>
                  <a:lnTo>
                    <a:pt x="3270" y="4620"/>
                  </a:lnTo>
                  <a:lnTo>
                    <a:pt x="3216" y="4642"/>
                  </a:lnTo>
                  <a:lnTo>
                    <a:pt x="3160" y="4660"/>
                  </a:lnTo>
                  <a:lnTo>
                    <a:pt x="3106" y="4678"/>
                  </a:lnTo>
                  <a:lnTo>
                    <a:pt x="3048" y="4696"/>
                  </a:lnTo>
                  <a:lnTo>
                    <a:pt x="2992" y="4712"/>
                  </a:lnTo>
                  <a:lnTo>
                    <a:pt x="2934" y="4726"/>
                  </a:lnTo>
                  <a:lnTo>
                    <a:pt x="2876" y="4738"/>
                  </a:lnTo>
                  <a:lnTo>
                    <a:pt x="2818" y="4750"/>
                  </a:lnTo>
                  <a:lnTo>
                    <a:pt x="2758" y="4758"/>
                  </a:lnTo>
                  <a:lnTo>
                    <a:pt x="2698" y="4768"/>
                  </a:lnTo>
                  <a:lnTo>
                    <a:pt x="2638" y="4774"/>
                  </a:lnTo>
                  <a:lnTo>
                    <a:pt x="2578" y="4780"/>
                  </a:lnTo>
                  <a:lnTo>
                    <a:pt x="2516" y="4784"/>
                  </a:lnTo>
                  <a:lnTo>
                    <a:pt x="2456" y="4786"/>
                  </a:lnTo>
                  <a:lnTo>
                    <a:pt x="2394" y="4786"/>
                  </a:lnTo>
                  <a:lnTo>
                    <a:pt x="2394" y="4786"/>
                  </a:lnTo>
                  <a:lnTo>
                    <a:pt x="2332" y="4786"/>
                  </a:lnTo>
                  <a:lnTo>
                    <a:pt x="2270" y="4784"/>
                  </a:lnTo>
                  <a:lnTo>
                    <a:pt x="2210" y="4780"/>
                  </a:lnTo>
                  <a:lnTo>
                    <a:pt x="2148" y="4774"/>
                  </a:lnTo>
                  <a:lnTo>
                    <a:pt x="2088" y="4768"/>
                  </a:lnTo>
                  <a:lnTo>
                    <a:pt x="2030" y="4758"/>
                  </a:lnTo>
                  <a:lnTo>
                    <a:pt x="1970" y="4750"/>
                  </a:lnTo>
                  <a:lnTo>
                    <a:pt x="1912" y="4738"/>
                  </a:lnTo>
                  <a:lnTo>
                    <a:pt x="1854" y="4726"/>
                  </a:lnTo>
                  <a:lnTo>
                    <a:pt x="1796" y="4712"/>
                  </a:lnTo>
                  <a:lnTo>
                    <a:pt x="1738" y="4696"/>
                  </a:lnTo>
                  <a:lnTo>
                    <a:pt x="1682" y="4678"/>
                  </a:lnTo>
                  <a:lnTo>
                    <a:pt x="1626" y="4660"/>
                  </a:lnTo>
                  <a:lnTo>
                    <a:pt x="1570" y="4642"/>
                  </a:lnTo>
                  <a:lnTo>
                    <a:pt x="1516" y="4620"/>
                  </a:lnTo>
                  <a:lnTo>
                    <a:pt x="1462" y="4598"/>
                  </a:lnTo>
                  <a:lnTo>
                    <a:pt x="1408" y="4576"/>
                  </a:lnTo>
                  <a:lnTo>
                    <a:pt x="1356" y="4550"/>
                  </a:lnTo>
                  <a:lnTo>
                    <a:pt x="1304" y="4524"/>
                  </a:lnTo>
                  <a:lnTo>
                    <a:pt x="1252" y="4498"/>
                  </a:lnTo>
                  <a:lnTo>
                    <a:pt x="1202" y="4470"/>
                  </a:lnTo>
                  <a:lnTo>
                    <a:pt x="1152" y="4440"/>
                  </a:lnTo>
                  <a:lnTo>
                    <a:pt x="1104" y="4410"/>
                  </a:lnTo>
                  <a:lnTo>
                    <a:pt x="1056" y="4378"/>
                  </a:lnTo>
                  <a:lnTo>
                    <a:pt x="1008" y="4344"/>
                  </a:lnTo>
                  <a:lnTo>
                    <a:pt x="962" y="4312"/>
                  </a:lnTo>
                  <a:lnTo>
                    <a:pt x="916" y="4276"/>
                  </a:lnTo>
                  <a:lnTo>
                    <a:pt x="872" y="4240"/>
                  </a:lnTo>
                  <a:lnTo>
                    <a:pt x="828" y="4202"/>
                  </a:lnTo>
                  <a:lnTo>
                    <a:pt x="784" y="4164"/>
                  </a:lnTo>
                  <a:lnTo>
                    <a:pt x="742" y="4126"/>
                  </a:lnTo>
                  <a:lnTo>
                    <a:pt x="702" y="4086"/>
                  </a:lnTo>
                  <a:lnTo>
                    <a:pt x="662" y="4044"/>
                  </a:lnTo>
                  <a:lnTo>
                    <a:pt x="622" y="4002"/>
                  </a:lnTo>
                  <a:lnTo>
                    <a:pt x="584" y="3960"/>
                  </a:lnTo>
                  <a:lnTo>
                    <a:pt x="548" y="3916"/>
                  </a:lnTo>
                  <a:lnTo>
                    <a:pt x="512" y="3870"/>
                  </a:lnTo>
                  <a:lnTo>
                    <a:pt x="476" y="3826"/>
                  </a:lnTo>
                  <a:lnTo>
                    <a:pt x="442" y="3778"/>
                  </a:lnTo>
                  <a:lnTo>
                    <a:pt x="410" y="3732"/>
                  </a:lnTo>
                  <a:lnTo>
                    <a:pt x="378" y="3684"/>
                  </a:lnTo>
                  <a:lnTo>
                    <a:pt x="348" y="3634"/>
                  </a:lnTo>
                  <a:lnTo>
                    <a:pt x="318" y="3584"/>
                  </a:lnTo>
                  <a:lnTo>
                    <a:pt x="290" y="3534"/>
                  </a:lnTo>
                  <a:lnTo>
                    <a:pt x="262" y="3482"/>
                  </a:lnTo>
                  <a:lnTo>
                    <a:pt x="236" y="3430"/>
                  </a:lnTo>
                  <a:lnTo>
                    <a:pt x="212" y="3378"/>
                  </a:lnTo>
                  <a:lnTo>
                    <a:pt x="188" y="3324"/>
                  </a:lnTo>
                  <a:lnTo>
                    <a:pt x="166" y="3270"/>
                  </a:lnTo>
                  <a:lnTo>
                    <a:pt x="146" y="3216"/>
                  </a:lnTo>
                  <a:lnTo>
                    <a:pt x="126" y="3162"/>
                  </a:lnTo>
                  <a:lnTo>
                    <a:pt x="108" y="3106"/>
                  </a:lnTo>
                  <a:lnTo>
                    <a:pt x="92" y="3048"/>
                  </a:lnTo>
                  <a:lnTo>
                    <a:pt x="76" y="2992"/>
                  </a:lnTo>
                  <a:lnTo>
                    <a:pt x="62" y="2934"/>
                  </a:lnTo>
                  <a:lnTo>
                    <a:pt x="50" y="2876"/>
                  </a:lnTo>
                  <a:lnTo>
                    <a:pt x="38" y="2818"/>
                  </a:lnTo>
                  <a:lnTo>
                    <a:pt x="28" y="2758"/>
                  </a:lnTo>
                  <a:lnTo>
                    <a:pt x="20" y="2698"/>
                  </a:lnTo>
                  <a:lnTo>
                    <a:pt x="14" y="2638"/>
                  </a:lnTo>
                  <a:lnTo>
                    <a:pt x="8" y="2578"/>
                  </a:lnTo>
                  <a:lnTo>
                    <a:pt x="4" y="2516"/>
                  </a:lnTo>
                  <a:lnTo>
                    <a:pt x="2" y="2456"/>
                  </a:lnTo>
                  <a:lnTo>
                    <a:pt x="0" y="2394"/>
                  </a:lnTo>
                  <a:lnTo>
                    <a:pt x="0" y="2394"/>
                  </a:lnTo>
                  <a:lnTo>
                    <a:pt x="2" y="2332"/>
                  </a:lnTo>
                  <a:lnTo>
                    <a:pt x="4" y="2270"/>
                  </a:lnTo>
                  <a:lnTo>
                    <a:pt x="8" y="2210"/>
                  </a:lnTo>
                  <a:lnTo>
                    <a:pt x="14" y="2148"/>
                  </a:lnTo>
                  <a:lnTo>
                    <a:pt x="20" y="2088"/>
                  </a:lnTo>
                  <a:lnTo>
                    <a:pt x="28" y="2030"/>
                  </a:lnTo>
                  <a:lnTo>
                    <a:pt x="38" y="1970"/>
                  </a:lnTo>
                  <a:lnTo>
                    <a:pt x="50" y="1912"/>
                  </a:lnTo>
                  <a:lnTo>
                    <a:pt x="62" y="1854"/>
                  </a:lnTo>
                  <a:lnTo>
                    <a:pt x="76" y="1796"/>
                  </a:lnTo>
                  <a:lnTo>
                    <a:pt x="92" y="1738"/>
                  </a:lnTo>
                  <a:lnTo>
                    <a:pt x="108" y="1682"/>
                  </a:lnTo>
                  <a:lnTo>
                    <a:pt x="126" y="1626"/>
                  </a:lnTo>
                  <a:lnTo>
                    <a:pt x="146" y="1570"/>
                  </a:lnTo>
                  <a:lnTo>
                    <a:pt x="166" y="1516"/>
                  </a:lnTo>
                  <a:lnTo>
                    <a:pt x="188" y="1462"/>
                  </a:lnTo>
                  <a:lnTo>
                    <a:pt x="212" y="1408"/>
                  </a:lnTo>
                  <a:lnTo>
                    <a:pt x="236" y="1356"/>
                  </a:lnTo>
                  <a:lnTo>
                    <a:pt x="262" y="1304"/>
                  </a:lnTo>
                  <a:lnTo>
                    <a:pt x="290" y="1254"/>
                  </a:lnTo>
                  <a:lnTo>
                    <a:pt x="318" y="1202"/>
                  </a:lnTo>
                  <a:lnTo>
                    <a:pt x="348" y="1152"/>
                  </a:lnTo>
                  <a:lnTo>
                    <a:pt x="378" y="1104"/>
                  </a:lnTo>
                  <a:lnTo>
                    <a:pt x="410" y="1056"/>
                  </a:lnTo>
                  <a:lnTo>
                    <a:pt x="442" y="1008"/>
                  </a:lnTo>
                  <a:lnTo>
                    <a:pt x="476" y="962"/>
                  </a:lnTo>
                  <a:lnTo>
                    <a:pt x="512" y="916"/>
                  </a:lnTo>
                  <a:lnTo>
                    <a:pt x="548" y="872"/>
                  </a:lnTo>
                  <a:lnTo>
                    <a:pt x="584" y="828"/>
                  </a:lnTo>
                  <a:lnTo>
                    <a:pt x="622" y="784"/>
                  </a:lnTo>
                  <a:lnTo>
                    <a:pt x="662" y="742"/>
                  </a:lnTo>
                  <a:lnTo>
                    <a:pt x="702" y="702"/>
                  </a:lnTo>
                  <a:lnTo>
                    <a:pt x="742" y="662"/>
                  </a:lnTo>
                  <a:lnTo>
                    <a:pt x="784" y="622"/>
                  </a:lnTo>
                  <a:lnTo>
                    <a:pt x="828" y="584"/>
                  </a:lnTo>
                  <a:lnTo>
                    <a:pt x="872" y="548"/>
                  </a:lnTo>
                  <a:lnTo>
                    <a:pt x="916" y="512"/>
                  </a:lnTo>
                  <a:lnTo>
                    <a:pt x="962" y="476"/>
                  </a:lnTo>
                  <a:lnTo>
                    <a:pt x="1008" y="442"/>
                  </a:lnTo>
                  <a:lnTo>
                    <a:pt x="1056" y="410"/>
                  </a:lnTo>
                  <a:lnTo>
                    <a:pt x="1104" y="378"/>
                  </a:lnTo>
                  <a:lnTo>
                    <a:pt x="1152" y="348"/>
                  </a:lnTo>
                  <a:lnTo>
                    <a:pt x="1202" y="318"/>
                  </a:lnTo>
                  <a:lnTo>
                    <a:pt x="1252" y="290"/>
                  </a:lnTo>
                  <a:lnTo>
                    <a:pt x="1304" y="262"/>
                  </a:lnTo>
                  <a:lnTo>
                    <a:pt x="1356" y="236"/>
                  </a:lnTo>
                  <a:lnTo>
                    <a:pt x="1408" y="212"/>
                  </a:lnTo>
                  <a:lnTo>
                    <a:pt x="1462" y="188"/>
                  </a:lnTo>
                  <a:lnTo>
                    <a:pt x="1516" y="166"/>
                  </a:lnTo>
                  <a:lnTo>
                    <a:pt x="1570" y="146"/>
                  </a:lnTo>
                  <a:lnTo>
                    <a:pt x="1626" y="126"/>
                  </a:lnTo>
                  <a:lnTo>
                    <a:pt x="1682" y="108"/>
                  </a:lnTo>
                  <a:lnTo>
                    <a:pt x="1738" y="92"/>
                  </a:lnTo>
                  <a:lnTo>
                    <a:pt x="1796" y="76"/>
                  </a:lnTo>
                  <a:lnTo>
                    <a:pt x="1854" y="62"/>
                  </a:lnTo>
                  <a:lnTo>
                    <a:pt x="1912" y="50"/>
                  </a:lnTo>
                  <a:lnTo>
                    <a:pt x="1970" y="38"/>
                  </a:lnTo>
                  <a:lnTo>
                    <a:pt x="2030" y="28"/>
                  </a:lnTo>
                  <a:lnTo>
                    <a:pt x="2088" y="20"/>
                  </a:lnTo>
                  <a:lnTo>
                    <a:pt x="2148" y="14"/>
                  </a:lnTo>
                  <a:lnTo>
                    <a:pt x="2210" y="8"/>
                  </a:lnTo>
                  <a:lnTo>
                    <a:pt x="2270" y="4"/>
                  </a:lnTo>
                  <a:lnTo>
                    <a:pt x="2332" y="2"/>
                  </a:lnTo>
                  <a:lnTo>
                    <a:pt x="2394" y="0"/>
                  </a:lnTo>
                  <a:lnTo>
                    <a:pt x="2394" y="0"/>
                  </a:lnTo>
                  <a:lnTo>
                    <a:pt x="2456" y="2"/>
                  </a:lnTo>
                  <a:lnTo>
                    <a:pt x="2516" y="4"/>
                  </a:lnTo>
                  <a:lnTo>
                    <a:pt x="2578" y="8"/>
                  </a:lnTo>
                  <a:lnTo>
                    <a:pt x="2638" y="14"/>
                  </a:lnTo>
                  <a:lnTo>
                    <a:pt x="2698" y="20"/>
                  </a:lnTo>
                  <a:lnTo>
                    <a:pt x="2758" y="28"/>
                  </a:lnTo>
                  <a:lnTo>
                    <a:pt x="2818" y="38"/>
                  </a:lnTo>
                  <a:lnTo>
                    <a:pt x="2876" y="50"/>
                  </a:lnTo>
                  <a:lnTo>
                    <a:pt x="2934" y="62"/>
                  </a:lnTo>
                  <a:lnTo>
                    <a:pt x="2992" y="76"/>
                  </a:lnTo>
                  <a:lnTo>
                    <a:pt x="3048" y="92"/>
                  </a:lnTo>
                  <a:lnTo>
                    <a:pt x="3106" y="108"/>
                  </a:lnTo>
                  <a:lnTo>
                    <a:pt x="3160" y="126"/>
                  </a:lnTo>
                  <a:lnTo>
                    <a:pt x="3216" y="146"/>
                  </a:lnTo>
                  <a:lnTo>
                    <a:pt x="3270" y="166"/>
                  </a:lnTo>
                  <a:lnTo>
                    <a:pt x="3324" y="188"/>
                  </a:lnTo>
                  <a:lnTo>
                    <a:pt x="3378" y="212"/>
                  </a:lnTo>
                  <a:lnTo>
                    <a:pt x="3430" y="236"/>
                  </a:lnTo>
                  <a:lnTo>
                    <a:pt x="3482" y="262"/>
                  </a:lnTo>
                  <a:lnTo>
                    <a:pt x="3534" y="290"/>
                  </a:lnTo>
                  <a:lnTo>
                    <a:pt x="3584" y="318"/>
                  </a:lnTo>
                  <a:lnTo>
                    <a:pt x="3634" y="348"/>
                  </a:lnTo>
                  <a:lnTo>
                    <a:pt x="3684" y="378"/>
                  </a:lnTo>
                  <a:lnTo>
                    <a:pt x="3732" y="410"/>
                  </a:lnTo>
                  <a:lnTo>
                    <a:pt x="3778" y="442"/>
                  </a:lnTo>
                  <a:lnTo>
                    <a:pt x="3826" y="476"/>
                  </a:lnTo>
                  <a:lnTo>
                    <a:pt x="3870" y="512"/>
                  </a:lnTo>
                  <a:lnTo>
                    <a:pt x="3916" y="548"/>
                  </a:lnTo>
                  <a:lnTo>
                    <a:pt x="3960" y="584"/>
                  </a:lnTo>
                  <a:lnTo>
                    <a:pt x="4002" y="622"/>
                  </a:lnTo>
                  <a:lnTo>
                    <a:pt x="4044" y="662"/>
                  </a:lnTo>
                  <a:lnTo>
                    <a:pt x="4086" y="702"/>
                  </a:lnTo>
                  <a:lnTo>
                    <a:pt x="4126" y="742"/>
                  </a:lnTo>
                  <a:lnTo>
                    <a:pt x="4164" y="784"/>
                  </a:lnTo>
                  <a:lnTo>
                    <a:pt x="4202" y="828"/>
                  </a:lnTo>
                  <a:lnTo>
                    <a:pt x="4240" y="872"/>
                  </a:lnTo>
                  <a:lnTo>
                    <a:pt x="4276" y="916"/>
                  </a:lnTo>
                  <a:lnTo>
                    <a:pt x="4310" y="962"/>
                  </a:lnTo>
                  <a:lnTo>
                    <a:pt x="4344" y="1008"/>
                  </a:lnTo>
                  <a:lnTo>
                    <a:pt x="4378" y="1056"/>
                  </a:lnTo>
                  <a:lnTo>
                    <a:pt x="4410" y="1104"/>
                  </a:lnTo>
                  <a:lnTo>
                    <a:pt x="4440" y="1152"/>
                  </a:lnTo>
                  <a:lnTo>
                    <a:pt x="4470" y="1202"/>
                  </a:lnTo>
                  <a:lnTo>
                    <a:pt x="4498" y="1254"/>
                  </a:lnTo>
                  <a:lnTo>
                    <a:pt x="4524" y="1304"/>
                  </a:lnTo>
                  <a:lnTo>
                    <a:pt x="4550" y="1356"/>
                  </a:lnTo>
                  <a:lnTo>
                    <a:pt x="4574" y="1408"/>
                  </a:lnTo>
                  <a:lnTo>
                    <a:pt x="4598" y="1462"/>
                  </a:lnTo>
                  <a:lnTo>
                    <a:pt x="4620" y="1516"/>
                  </a:lnTo>
                  <a:lnTo>
                    <a:pt x="4642" y="1570"/>
                  </a:lnTo>
                  <a:lnTo>
                    <a:pt x="4660" y="1626"/>
                  </a:lnTo>
                  <a:lnTo>
                    <a:pt x="4678" y="1682"/>
                  </a:lnTo>
                  <a:lnTo>
                    <a:pt x="4696" y="1738"/>
                  </a:lnTo>
                  <a:lnTo>
                    <a:pt x="4712" y="1796"/>
                  </a:lnTo>
                  <a:lnTo>
                    <a:pt x="4726" y="1854"/>
                  </a:lnTo>
                  <a:lnTo>
                    <a:pt x="4738" y="1912"/>
                  </a:lnTo>
                  <a:lnTo>
                    <a:pt x="4748" y="1970"/>
                  </a:lnTo>
                  <a:lnTo>
                    <a:pt x="4758" y="2030"/>
                  </a:lnTo>
                  <a:lnTo>
                    <a:pt x="4768" y="2088"/>
                  </a:lnTo>
                  <a:lnTo>
                    <a:pt x="4774" y="2148"/>
                  </a:lnTo>
                  <a:lnTo>
                    <a:pt x="4780" y="2210"/>
                  </a:lnTo>
                  <a:lnTo>
                    <a:pt x="4784" y="2270"/>
                  </a:lnTo>
                  <a:lnTo>
                    <a:pt x="4786" y="2332"/>
                  </a:lnTo>
                  <a:lnTo>
                    <a:pt x="4786" y="2394"/>
                  </a:lnTo>
                  <a:lnTo>
                    <a:pt x="4786" y="2394"/>
                  </a:lnTo>
                  <a:close/>
                </a:path>
              </a:pathLst>
            </a:custGeom>
            <a:solidFill>
              <a:schemeClr val="bg1">
                <a:lumMod val="65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19" name="Freeform 107">
              <a:extLst>
                <a:ext uri="{FF2B5EF4-FFF2-40B4-BE49-F238E27FC236}">
                  <a16:creationId xmlns:a16="http://schemas.microsoft.com/office/drawing/2014/main" id="{580C3CE4-70DC-4339-9B7B-86EDA1E4FAB4}"/>
                </a:ext>
              </a:extLst>
            </p:cNvPr>
            <p:cNvSpPr>
              <a:spLocks noEditPoints="1"/>
            </p:cNvSpPr>
            <p:nvPr/>
          </p:nvSpPr>
          <p:spPr bwMode="auto">
            <a:xfrm>
              <a:off x="4545134" y="26380747"/>
              <a:ext cx="4194172" cy="3641724"/>
            </a:xfrm>
            <a:custGeom>
              <a:avLst/>
              <a:gdLst/>
              <a:ahLst/>
              <a:cxnLst>
                <a:cxn ang="0">
                  <a:pos x="1816" y="186"/>
                </a:cxn>
                <a:cxn ang="0">
                  <a:pos x="1782" y="92"/>
                </a:cxn>
                <a:cxn ang="0">
                  <a:pos x="1708" y="24"/>
                </a:cxn>
                <a:cxn ang="0">
                  <a:pos x="1608" y="0"/>
                </a:cxn>
                <a:cxn ang="0">
                  <a:pos x="970" y="10"/>
                </a:cxn>
                <a:cxn ang="0">
                  <a:pos x="886" y="60"/>
                </a:cxn>
                <a:cxn ang="0">
                  <a:pos x="834" y="146"/>
                </a:cxn>
                <a:cxn ang="0">
                  <a:pos x="224" y="402"/>
                </a:cxn>
                <a:cxn ang="0">
                  <a:pos x="138" y="420"/>
                </a:cxn>
                <a:cxn ang="0">
                  <a:pos x="52" y="482"/>
                </a:cxn>
                <a:cxn ang="0">
                  <a:pos x="6" y="580"/>
                </a:cxn>
                <a:cxn ang="0">
                  <a:pos x="2" y="2094"/>
                </a:cxn>
                <a:cxn ang="0">
                  <a:pos x="38" y="2196"/>
                </a:cxn>
                <a:cxn ang="0">
                  <a:pos x="118" y="2268"/>
                </a:cxn>
                <a:cxn ang="0">
                  <a:pos x="224" y="2294"/>
                </a:cxn>
                <a:cxn ang="0">
                  <a:pos x="2484" y="2284"/>
                </a:cxn>
                <a:cxn ang="0">
                  <a:pos x="2576" y="2230"/>
                </a:cxn>
                <a:cxn ang="0">
                  <a:pos x="2630" y="2138"/>
                </a:cxn>
                <a:cxn ang="0">
                  <a:pos x="2642" y="626"/>
                </a:cxn>
                <a:cxn ang="0">
                  <a:pos x="2614" y="518"/>
                </a:cxn>
                <a:cxn ang="0">
                  <a:pos x="2542" y="440"/>
                </a:cxn>
                <a:cxn ang="0">
                  <a:pos x="2440" y="402"/>
                </a:cxn>
                <a:cxn ang="0">
                  <a:pos x="1004" y="202"/>
                </a:cxn>
                <a:cxn ang="0">
                  <a:pos x="1032" y="178"/>
                </a:cxn>
                <a:cxn ang="0">
                  <a:pos x="1630" y="188"/>
                </a:cxn>
                <a:cxn ang="0">
                  <a:pos x="1004" y="402"/>
                </a:cxn>
                <a:cxn ang="0">
                  <a:pos x="1256" y="1984"/>
                </a:cxn>
                <a:cxn ang="0">
                  <a:pos x="1102" y="1948"/>
                </a:cxn>
                <a:cxn ang="0">
                  <a:pos x="964" y="1878"/>
                </a:cxn>
                <a:cxn ang="0">
                  <a:pos x="848" y="1778"/>
                </a:cxn>
                <a:cxn ang="0">
                  <a:pos x="760" y="1652"/>
                </a:cxn>
                <a:cxn ang="0">
                  <a:pos x="702" y="1508"/>
                </a:cxn>
                <a:cxn ang="0">
                  <a:pos x="682" y="1348"/>
                </a:cxn>
                <a:cxn ang="0">
                  <a:pos x="696" y="1220"/>
                </a:cxn>
                <a:cxn ang="0">
                  <a:pos x="746" y="1072"/>
                </a:cxn>
                <a:cxn ang="0">
                  <a:pos x="828" y="942"/>
                </a:cxn>
                <a:cxn ang="0">
                  <a:pos x="938" y="836"/>
                </a:cxn>
                <a:cxn ang="0">
                  <a:pos x="1072" y="760"/>
                </a:cxn>
                <a:cxn ang="0">
                  <a:pos x="1224" y="716"/>
                </a:cxn>
                <a:cxn ang="0">
                  <a:pos x="1354" y="710"/>
                </a:cxn>
                <a:cxn ang="0">
                  <a:pos x="1510" y="738"/>
                </a:cxn>
                <a:cxn ang="0">
                  <a:pos x="1652" y="802"/>
                </a:cxn>
                <a:cxn ang="0">
                  <a:pos x="1772" y="896"/>
                </a:cxn>
                <a:cxn ang="0">
                  <a:pos x="1866" y="1018"/>
                </a:cxn>
                <a:cxn ang="0">
                  <a:pos x="1930" y="1158"/>
                </a:cxn>
                <a:cxn ang="0">
                  <a:pos x="1958" y="1316"/>
                </a:cxn>
                <a:cxn ang="0">
                  <a:pos x="1952" y="1446"/>
                </a:cxn>
                <a:cxn ang="0">
                  <a:pos x="1910" y="1596"/>
                </a:cxn>
                <a:cxn ang="0">
                  <a:pos x="1832" y="1730"/>
                </a:cxn>
                <a:cxn ang="0">
                  <a:pos x="1726" y="1840"/>
                </a:cxn>
                <a:cxn ang="0">
                  <a:pos x="1598" y="1924"/>
                </a:cxn>
                <a:cxn ang="0">
                  <a:pos x="1450" y="1974"/>
                </a:cxn>
                <a:cxn ang="0">
                  <a:pos x="1320" y="1986"/>
                </a:cxn>
              </a:cxnLst>
              <a:rect l="0" t="0" r="r" b="b"/>
              <a:pathLst>
                <a:path w="2642" h="2294">
                  <a:moveTo>
                    <a:pt x="2418" y="402"/>
                  </a:moveTo>
                  <a:lnTo>
                    <a:pt x="1818" y="402"/>
                  </a:lnTo>
                  <a:lnTo>
                    <a:pt x="1818" y="208"/>
                  </a:lnTo>
                  <a:lnTo>
                    <a:pt x="1818" y="208"/>
                  </a:lnTo>
                  <a:lnTo>
                    <a:pt x="1816" y="186"/>
                  </a:lnTo>
                  <a:lnTo>
                    <a:pt x="1814" y="166"/>
                  </a:lnTo>
                  <a:lnTo>
                    <a:pt x="1808" y="146"/>
                  </a:lnTo>
                  <a:lnTo>
                    <a:pt x="1802" y="128"/>
                  </a:lnTo>
                  <a:lnTo>
                    <a:pt x="1792" y="108"/>
                  </a:lnTo>
                  <a:lnTo>
                    <a:pt x="1782" y="92"/>
                  </a:lnTo>
                  <a:lnTo>
                    <a:pt x="1770" y="76"/>
                  </a:lnTo>
                  <a:lnTo>
                    <a:pt x="1756" y="60"/>
                  </a:lnTo>
                  <a:lnTo>
                    <a:pt x="1742" y="48"/>
                  </a:lnTo>
                  <a:lnTo>
                    <a:pt x="1726" y="36"/>
                  </a:lnTo>
                  <a:lnTo>
                    <a:pt x="1708" y="24"/>
                  </a:lnTo>
                  <a:lnTo>
                    <a:pt x="1690" y="16"/>
                  </a:lnTo>
                  <a:lnTo>
                    <a:pt x="1670" y="10"/>
                  </a:lnTo>
                  <a:lnTo>
                    <a:pt x="1650" y="4"/>
                  </a:lnTo>
                  <a:lnTo>
                    <a:pt x="1630" y="0"/>
                  </a:lnTo>
                  <a:lnTo>
                    <a:pt x="1608" y="0"/>
                  </a:lnTo>
                  <a:lnTo>
                    <a:pt x="1032" y="0"/>
                  </a:lnTo>
                  <a:lnTo>
                    <a:pt x="1032" y="0"/>
                  </a:lnTo>
                  <a:lnTo>
                    <a:pt x="1012" y="0"/>
                  </a:lnTo>
                  <a:lnTo>
                    <a:pt x="990" y="4"/>
                  </a:lnTo>
                  <a:lnTo>
                    <a:pt x="970" y="10"/>
                  </a:lnTo>
                  <a:lnTo>
                    <a:pt x="952" y="16"/>
                  </a:lnTo>
                  <a:lnTo>
                    <a:pt x="934" y="24"/>
                  </a:lnTo>
                  <a:lnTo>
                    <a:pt x="916" y="36"/>
                  </a:lnTo>
                  <a:lnTo>
                    <a:pt x="900" y="48"/>
                  </a:lnTo>
                  <a:lnTo>
                    <a:pt x="886" y="60"/>
                  </a:lnTo>
                  <a:lnTo>
                    <a:pt x="872" y="76"/>
                  </a:lnTo>
                  <a:lnTo>
                    <a:pt x="860" y="92"/>
                  </a:lnTo>
                  <a:lnTo>
                    <a:pt x="850" y="108"/>
                  </a:lnTo>
                  <a:lnTo>
                    <a:pt x="840" y="128"/>
                  </a:lnTo>
                  <a:lnTo>
                    <a:pt x="834" y="146"/>
                  </a:lnTo>
                  <a:lnTo>
                    <a:pt x="828" y="166"/>
                  </a:lnTo>
                  <a:lnTo>
                    <a:pt x="826" y="186"/>
                  </a:lnTo>
                  <a:lnTo>
                    <a:pt x="824" y="208"/>
                  </a:lnTo>
                  <a:lnTo>
                    <a:pt x="824" y="402"/>
                  </a:lnTo>
                  <a:lnTo>
                    <a:pt x="224" y="402"/>
                  </a:lnTo>
                  <a:lnTo>
                    <a:pt x="224" y="402"/>
                  </a:lnTo>
                  <a:lnTo>
                    <a:pt x="202" y="402"/>
                  </a:lnTo>
                  <a:lnTo>
                    <a:pt x="180" y="406"/>
                  </a:lnTo>
                  <a:lnTo>
                    <a:pt x="158" y="412"/>
                  </a:lnTo>
                  <a:lnTo>
                    <a:pt x="138" y="420"/>
                  </a:lnTo>
                  <a:lnTo>
                    <a:pt x="118" y="428"/>
                  </a:lnTo>
                  <a:lnTo>
                    <a:pt x="100" y="440"/>
                  </a:lnTo>
                  <a:lnTo>
                    <a:pt x="82" y="452"/>
                  </a:lnTo>
                  <a:lnTo>
                    <a:pt x="66" y="468"/>
                  </a:lnTo>
                  <a:lnTo>
                    <a:pt x="52" y="482"/>
                  </a:lnTo>
                  <a:lnTo>
                    <a:pt x="38" y="500"/>
                  </a:lnTo>
                  <a:lnTo>
                    <a:pt x="28" y="518"/>
                  </a:lnTo>
                  <a:lnTo>
                    <a:pt x="18" y="538"/>
                  </a:lnTo>
                  <a:lnTo>
                    <a:pt x="10" y="558"/>
                  </a:lnTo>
                  <a:lnTo>
                    <a:pt x="6" y="580"/>
                  </a:lnTo>
                  <a:lnTo>
                    <a:pt x="2" y="602"/>
                  </a:lnTo>
                  <a:lnTo>
                    <a:pt x="0" y="626"/>
                  </a:lnTo>
                  <a:lnTo>
                    <a:pt x="0" y="2070"/>
                  </a:lnTo>
                  <a:lnTo>
                    <a:pt x="0" y="2070"/>
                  </a:lnTo>
                  <a:lnTo>
                    <a:pt x="2" y="2094"/>
                  </a:lnTo>
                  <a:lnTo>
                    <a:pt x="6" y="2116"/>
                  </a:lnTo>
                  <a:lnTo>
                    <a:pt x="10" y="2138"/>
                  </a:lnTo>
                  <a:lnTo>
                    <a:pt x="18" y="2158"/>
                  </a:lnTo>
                  <a:lnTo>
                    <a:pt x="28" y="2178"/>
                  </a:lnTo>
                  <a:lnTo>
                    <a:pt x="38" y="2196"/>
                  </a:lnTo>
                  <a:lnTo>
                    <a:pt x="52" y="2214"/>
                  </a:lnTo>
                  <a:lnTo>
                    <a:pt x="66" y="2230"/>
                  </a:lnTo>
                  <a:lnTo>
                    <a:pt x="82" y="2244"/>
                  </a:lnTo>
                  <a:lnTo>
                    <a:pt x="100" y="2256"/>
                  </a:lnTo>
                  <a:lnTo>
                    <a:pt x="118" y="2268"/>
                  </a:lnTo>
                  <a:lnTo>
                    <a:pt x="138" y="2278"/>
                  </a:lnTo>
                  <a:lnTo>
                    <a:pt x="158" y="2284"/>
                  </a:lnTo>
                  <a:lnTo>
                    <a:pt x="180" y="2290"/>
                  </a:lnTo>
                  <a:lnTo>
                    <a:pt x="202" y="2294"/>
                  </a:lnTo>
                  <a:lnTo>
                    <a:pt x="224" y="2294"/>
                  </a:lnTo>
                  <a:lnTo>
                    <a:pt x="2418" y="2294"/>
                  </a:lnTo>
                  <a:lnTo>
                    <a:pt x="2418" y="2294"/>
                  </a:lnTo>
                  <a:lnTo>
                    <a:pt x="2440" y="2294"/>
                  </a:lnTo>
                  <a:lnTo>
                    <a:pt x="2462" y="2290"/>
                  </a:lnTo>
                  <a:lnTo>
                    <a:pt x="2484" y="2284"/>
                  </a:lnTo>
                  <a:lnTo>
                    <a:pt x="2504" y="2278"/>
                  </a:lnTo>
                  <a:lnTo>
                    <a:pt x="2524" y="2268"/>
                  </a:lnTo>
                  <a:lnTo>
                    <a:pt x="2542" y="2256"/>
                  </a:lnTo>
                  <a:lnTo>
                    <a:pt x="2560" y="2244"/>
                  </a:lnTo>
                  <a:lnTo>
                    <a:pt x="2576" y="2230"/>
                  </a:lnTo>
                  <a:lnTo>
                    <a:pt x="2590" y="2214"/>
                  </a:lnTo>
                  <a:lnTo>
                    <a:pt x="2602" y="2196"/>
                  </a:lnTo>
                  <a:lnTo>
                    <a:pt x="2614" y="2178"/>
                  </a:lnTo>
                  <a:lnTo>
                    <a:pt x="2624" y="2158"/>
                  </a:lnTo>
                  <a:lnTo>
                    <a:pt x="2630" y="2138"/>
                  </a:lnTo>
                  <a:lnTo>
                    <a:pt x="2636" y="2116"/>
                  </a:lnTo>
                  <a:lnTo>
                    <a:pt x="2640" y="2094"/>
                  </a:lnTo>
                  <a:lnTo>
                    <a:pt x="2642" y="2070"/>
                  </a:lnTo>
                  <a:lnTo>
                    <a:pt x="2642" y="626"/>
                  </a:lnTo>
                  <a:lnTo>
                    <a:pt x="2642" y="626"/>
                  </a:lnTo>
                  <a:lnTo>
                    <a:pt x="2640" y="602"/>
                  </a:lnTo>
                  <a:lnTo>
                    <a:pt x="2636" y="580"/>
                  </a:lnTo>
                  <a:lnTo>
                    <a:pt x="2630" y="558"/>
                  </a:lnTo>
                  <a:lnTo>
                    <a:pt x="2624" y="538"/>
                  </a:lnTo>
                  <a:lnTo>
                    <a:pt x="2614" y="518"/>
                  </a:lnTo>
                  <a:lnTo>
                    <a:pt x="2602" y="500"/>
                  </a:lnTo>
                  <a:lnTo>
                    <a:pt x="2590" y="482"/>
                  </a:lnTo>
                  <a:lnTo>
                    <a:pt x="2576" y="468"/>
                  </a:lnTo>
                  <a:lnTo>
                    <a:pt x="2560" y="452"/>
                  </a:lnTo>
                  <a:lnTo>
                    <a:pt x="2542" y="440"/>
                  </a:lnTo>
                  <a:lnTo>
                    <a:pt x="2524" y="428"/>
                  </a:lnTo>
                  <a:lnTo>
                    <a:pt x="2504" y="420"/>
                  </a:lnTo>
                  <a:lnTo>
                    <a:pt x="2484" y="412"/>
                  </a:lnTo>
                  <a:lnTo>
                    <a:pt x="2462" y="406"/>
                  </a:lnTo>
                  <a:lnTo>
                    <a:pt x="2440" y="402"/>
                  </a:lnTo>
                  <a:lnTo>
                    <a:pt x="2418" y="402"/>
                  </a:lnTo>
                  <a:lnTo>
                    <a:pt x="2418" y="402"/>
                  </a:lnTo>
                  <a:close/>
                  <a:moveTo>
                    <a:pt x="1004" y="208"/>
                  </a:moveTo>
                  <a:lnTo>
                    <a:pt x="1004" y="208"/>
                  </a:lnTo>
                  <a:lnTo>
                    <a:pt x="1004" y="202"/>
                  </a:lnTo>
                  <a:lnTo>
                    <a:pt x="1006" y="196"/>
                  </a:lnTo>
                  <a:lnTo>
                    <a:pt x="1012" y="188"/>
                  </a:lnTo>
                  <a:lnTo>
                    <a:pt x="1022" y="182"/>
                  </a:lnTo>
                  <a:lnTo>
                    <a:pt x="1026" y="180"/>
                  </a:lnTo>
                  <a:lnTo>
                    <a:pt x="1032" y="178"/>
                  </a:lnTo>
                  <a:lnTo>
                    <a:pt x="1608" y="178"/>
                  </a:lnTo>
                  <a:lnTo>
                    <a:pt x="1608" y="178"/>
                  </a:lnTo>
                  <a:lnTo>
                    <a:pt x="1614" y="180"/>
                  </a:lnTo>
                  <a:lnTo>
                    <a:pt x="1620" y="182"/>
                  </a:lnTo>
                  <a:lnTo>
                    <a:pt x="1630" y="188"/>
                  </a:lnTo>
                  <a:lnTo>
                    <a:pt x="1636" y="196"/>
                  </a:lnTo>
                  <a:lnTo>
                    <a:pt x="1638" y="202"/>
                  </a:lnTo>
                  <a:lnTo>
                    <a:pt x="1638" y="208"/>
                  </a:lnTo>
                  <a:lnTo>
                    <a:pt x="1638" y="402"/>
                  </a:lnTo>
                  <a:lnTo>
                    <a:pt x="1004" y="402"/>
                  </a:lnTo>
                  <a:lnTo>
                    <a:pt x="1004" y="208"/>
                  </a:lnTo>
                  <a:close/>
                  <a:moveTo>
                    <a:pt x="1320" y="1986"/>
                  </a:moveTo>
                  <a:lnTo>
                    <a:pt x="1320" y="1986"/>
                  </a:lnTo>
                  <a:lnTo>
                    <a:pt x="1288" y="1986"/>
                  </a:lnTo>
                  <a:lnTo>
                    <a:pt x="1256" y="1984"/>
                  </a:lnTo>
                  <a:lnTo>
                    <a:pt x="1224" y="1980"/>
                  </a:lnTo>
                  <a:lnTo>
                    <a:pt x="1192" y="1974"/>
                  </a:lnTo>
                  <a:lnTo>
                    <a:pt x="1162" y="1966"/>
                  </a:lnTo>
                  <a:lnTo>
                    <a:pt x="1130" y="1958"/>
                  </a:lnTo>
                  <a:lnTo>
                    <a:pt x="1102" y="1948"/>
                  </a:lnTo>
                  <a:lnTo>
                    <a:pt x="1072" y="1936"/>
                  </a:lnTo>
                  <a:lnTo>
                    <a:pt x="1044" y="1924"/>
                  </a:lnTo>
                  <a:lnTo>
                    <a:pt x="1016" y="1910"/>
                  </a:lnTo>
                  <a:lnTo>
                    <a:pt x="990" y="1894"/>
                  </a:lnTo>
                  <a:lnTo>
                    <a:pt x="964" y="1878"/>
                  </a:lnTo>
                  <a:lnTo>
                    <a:pt x="938" y="1860"/>
                  </a:lnTo>
                  <a:lnTo>
                    <a:pt x="914" y="1840"/>
                  </a:lnTo>
                  <a:lnTo>
                    <a:pt x="892" y="1820"/>
                  </a:lnTo>
                  <a:lnTo>
                    <a:pt x="870" y="1800"/>
                  </a:lnTo>
                  <a:lnTo>
                    <a:pt x="848" y="1778"/>
                  </a:lnTo>
                  <a:lnTo>
                    <a:pt x="828" y="1754"/>
                  </a:lnTo>
                  <a:lnTo>
                    <a:pt x="810" y="1730"/>
                  </a:lnTo>
                  <a:lnTo>
                    <a:pt x="792" y="1706"/>
                  </a:lnTo>
                  <a:lnTo>
                    <a:pt x="774" y="1680"/>
                  </a:lnTo>
                  <a:lnTo>
                    <a:pt x="760" y="1652"/>
                  </a:lnTo>
                  <a:lnTo>
                    <a:pt x="746" y="1624"/>
                  </a:lnTo>
                  <a:lnTo>
                    <a:pt x="732" y="1596"/>
                  </a:lnTo>
                  <a:lnTo>
                    <a:pt x="722" y="1568"/>
                  </a:lnTo>
                  <a:lnTo>
                    <a:pt x="712" y="1538"/>
                  </a:lnTo>
                  <a:lnTo>
                    <a:pt x="702" y="1508"/>
                  </a:lnTo>
                  <a:lnTo>
                    <a:pt x="696" y="1476"/>
                  </a:lnTo>
                  <a:lnTo>
                    <a:pt x="690" y="1446"/>
                  </a:lnTo>
                  <a:lnTo>
                    <a:pt x="686" y="1414"/>
                  </a:lnTo>
                  <a:lnTo>
                    <a:pt x="684" y="1380"/>
                  </a:lnTo>
                  <a:lnTo>
                    <a:pt x="682" y="1348"/>
                  </a:lnTo>
                  <a:lnTo>
                    <a:pt x="682" y="1348"/>
                  </a:lnTo>
                  <a:lnTo>
                    <a:pt x="684" y="1316"/>
                  </a:lnTo>
                  <a:lnTo>
                    <a:pt x="686" y="1282"/>
                  </a:lnTo>
                  <a:lnTo>
                    <a:pt x="690" y="1250"/>
                  </a:lnTo>
                  <a:lnTo>
                    <a:pt x="696" y="1220"/>
                  </a:lnTo>
                  <a:lnTo>
                    <a:pt x="702" y="1188"/>
                  </a:lnTo>
                  <a:lnTo>
                    <a:pt x="712" y="1158"/>
                  </a:lnTo>
                  <a:lnTo>
                    <a:pt x="722" y="1128"/>
                  </a:lnTo>
                  <a:lnTo>
                    <a:pt x="732" y="1100"/>
                  </a:lnTo>
                  <a:lnTo>
                    <a:pt x="746" y="1072"/>
                  </a:lnTo>
                  <a:lnTo>
                    <a:pt x="760" y="1044"/>
                  </a:lnTo>
                  <a:lnTo>
                    <a:pt x="774" y="1018"/>
                  </a:lnTo>
                  <a:lnTo>
                    <a:pt x="792" y="992"/>
                  </a:lnTo>
                  <a:lnTo>
                    <a:pt x="810" y="966"/>
                  </a:lnTo>
                  <a:lnTo>
                    <a:pt x="828" y="942"/>
                  </a:lnTo>
                  <a:lnTo>
                    <a:pt x="848" y="918"/>
                  </a:lnTo>
                  <a:lnTo>
                    <a:pt x="870" y="896"/>
                  </a:lnTo>
                  <a:lnTo>
                    <a:pt x="892" y="876"/>
                  </a:lnTo>
                  <a:lnTo>
                    <a:pt x="914" y="856"/>
                  </a:lnTo>
                  <a:lnTo>
                    <a:pt x="938" y="836"/>
                  </a:lnTo>
                  <a:lnTo>
                    <a:pt x="964" y="818"/>
                  </a:lnTo>
                  <a:lnTo>
                    <a:pt x="990" y="802"/>
                  </a:lnTo>
                  <a:lnTo>
                    <a:pt x="1016" y="786"/>
                  </a:lnTo>
                  <a:lnTo>
                    <a:pt x="1044" y="772"/>
                  </a:lnTo>
                  <a:lnTo>
                    <a:pt x="1072" y="760"/>
                  </a:lnTo>
                  <a:lnTo>
                    <a:pt x="1102" y="748"/>
                  </a:lnTo>
                  <a:lnTo>
                    <a:pt x="1130" y="738"/>
                  </a:lnTo>
                  <a:lnTo>
                    <a:pt x="1162" y="730"/>
                  </a:lnTo>
                  <a:lnTo>
                    <a:pt x="1192" y="722"/>
                  </a:lnTo>
                  <a:lnTo>
                    <a:pt x="1224" y="716"/>
                  </a:lnTo>
                  <a:lnTo>
                    <a:pt x="1256" y="712"/>
                  </a:lnTo>
                  <a:lnTo>
                    <a:pt x="1288" y="710"/>
                  </a:lnTo>
                  <a:lnTo>
                    <a:pt x="1320" y="710"/>
                  </a:lnTo>
                  <a:lnTo>
                    <a:pt x="1320" y="710"/>
                  </a:lnTo>
                  <a:lnTo>
                    <a:pt x="1354" y="710"/>
                  </a:lnTo>
                  <a:lnTo>
                    <a:pt x="1386" y="712"/>
                  </a:lnTo>
                  <a:lnTo>
                    <a:pt x="1418" y="716"/>
                  </a:lnTo>
                  <a:lnTo>
                    <a:pt x="1450" y="722"/>
                  </a:lnTo>
                  <a:lnTo>
                    <a:pt x="1480" y="730"/>
                  </a:lnTo>
                  <a:lnTo>
                    <a:pt x="1510" y="738"/>
                  </a:lnTo>
                  <a:lnTo>
                    <a:pt x="1540" y="748"/>
                  </a:lnTo>
                  <a:lnTo>
                    <a:pt x="1570" y="760"/>
                  </a:lnTo>
                  <a:lnTo>
                    <a:pt x="1598" y="772"/>
                  </a:lnTo>
                  <a:lnTo>
                    <a:pt x="1626" y="786"/>
                  </a:lnTo>
                  <a:lnTo>
                    <a:pt x="1652" y="802"/>
                  </a:lnTo>
                  <a:lnTo>
                    <a:pt x="1678" y="818"/>
                  </a:lnTo>
                  <a:lnTo>
                    <a:pt x="1702" y="836"/>
                  </a:lnTo>
                  <a:lnTo>
                    <a:pt x="1726" y="856"/>
                  </a:lnTo>
                  <a:lnTo>
                    <a:pt x="1750" y="876"/>
                  </a:lnTo>
                  <a:lnTo>
                    <a:pt x="1772" y="896"/>
                  </a:lnTo>
                  <a:lnTo>
                    <a:pt x="1794" y="918"/>
                  </a:lnTo>
                  <a:lnTo>
                    <a:pt x="1814" y="942"/>
                  </a:lnTo>
                  <a:lnTo>
                    <a:pt x="1832" y="966"/>
                  </a:lnTo>
                  <a:lnTo>
                    <a:pt x="1850" y="992"/>
                  </a:lnTo>
                  <a:lnTo>
                    <a:pt x="1866" y="1018"/>
                  </a:lnTo>
                  <a:lnTo>
                    <a:pt x="1882" y="1044"/>
                  </a:lnTo>
                  <a:lnTo>
                    <a:pt x="1896" y="1072"/>
                  </a:lnTo>
                  <a:lnTo>
                    <a:pt x="1910" y="1100"/>
                  </a:lnTo>
                  <a:lnTo>
                    <a:pt x="1920" y="1128"/>
                  </a:lnTo>
                  <a:lnTo>
                    <a:pt x="1930" y="1158"/>
                  </a:lnTo>
                  <a:lnTo>
                    <a:pt x="1940" y="1188"/>
                  </a:lnTo>
                  <a:lnTo>
                    <a:pt x="1946" y="1220"/>
                  </a:lnTo>
                  <a:lnTo>
                    <a:pt x="1952" y="1250"/>
                  </a:lnTo>
                  <a:lnTo>
                    <a:pt x="1956" y="1282"/>
                  </a:lnTo>
                  <a:lnTo>
                    <a:pt x="1958" y="1316"/>
                  </a:lnTo>
                  <a:lnTo>
                    <a:pt x="1960" y="1348"/>
                  </a:lnTo>
                  <a:lnTo>
                    <a:pt x="1960" y="1348"/>
                  </a:lnTo>
                  <a:lnTo>
                    <a:pt x="1958" y="1380"/>
                  </a:lnTo>
                  <a:lnTo>
                    <a:pt x="1956" y="1414"/>
                  </a:lnTo>
                  <a:lnTo>
                    <a:pt x="1952" y="1446"/>
                  </a:lnTo>
                  <a:lnTo>
                    <a:pt x="1946" y="1476"/>
                  </a:lnTo>
                  <a:lnTo>
                    <a:pt x="1940" y="1508"/>
                  </a:lnTo>
                  <a:lnTo>
                    <a:pt x="1930" y="1538"/>
                  </a:lnTo>
                  <a:lnTo>
                    <a:pt x="1920" y="1568"/>
                  </a:lnTo>
                  <a:lnTo>
                    <a:pt x="1910" y="1596"/>
                  </a:lnTo>
                  <a:lnTo>
                    <a:pt x="1896" y="1624"/>
                  </a:lnTo>
                  <a:lnTo>
                    <a:pt x="1882" y="1652"/>
                  </a:lnTo>
                  <a:lnTo>
                    <a:pt x="1866" y="1680"/>
                  </a:lnTo>
                  <a:lnTo>
                    <a:pt x="1850" y="1706"/>
                  </a:lnTo>
                  <a:lnTo>
                    <a:pt x="1832" y="1730"/>
                  </a:lnTo>
                  <a:lnTo>
                    <a:pt x="1814" y="1754"/>
                  </a:lnTo>
                  <a:lnTo>
                    <a:pt x="1794" y="1778"/>
                  </a:lnTo>
                  <a:lnTo>
                    <a:pt x="1772" y="1800"/>
                  </a:lnTo>
                  <a:lnTo>
                    <a:pt x="1750" y="1820"/>
                  </a:lnTo>
                  <a:lnTo>
                    <a:pt x="1726" y="1840"/>
                  </a:lnTo>
                  <a:lnTo>
                    <a:pt x="1702" y="1860"/>
                  </a:lnTo>
                  <a:lnTo>
                    <a:pt x="1678" y="1878"/>
                  </a:lnTo>
                  <a:lnTo>
                    <a:pt x="1652" y="1894"/>
                  </a:lnTo>
                  <a:lnTo>
                    <a:pt x="1626" y="1910"/>
                  </a:lnTo>
                  <a:lnTo>
                    <a:pt x="1598" y="1924"/>
                  </a:lnTo>
                  <a:lnTo>
                    <a:pt x="1570" y="1936"/>
                  </a:lnTo>
                  <a:lnTo>
                    <a:pt x="1540" y="1948"/>
                  </a:lnTo>
                  <a:lnTo>
                    <a:pt x="1510" y="1958"/>
                  </a:lnTo>
                  <a:lnTo>
                    <a:pt x="1480" y="1966"/>
                  </a:lnTo>
                  <a:lnTo>
                    <a:pt x="1450" y="1974"/>
                  </a:lnTo>
                  <a:lnTo>
                    <a:pt x="1418" y="1980"/>
                  </a:lnTo>
                  <a:lnTo>
                    <a:pt x="1386" y="1984"/>
                  </a:lnTo>
                  <a:lnTo>
                    <a:pt x="1354" y="1986"/>
                  </a:lnTo>
                  <a:lnTo>
                    <a:pt x="1320" y="1986"/>
                  </a:lnTo>
                  <a:lnTo>
                    <a:pt x="1320" y="198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20" name="Freeform 108">
              <a:extLst>
                <a:ext uri="{FF2B5EF4-FFF2-40B4-BE49-F238E27FC236}">
                  <a16:creationId xmlns:a16="http://schemas.microsoft.com/office/drawing/2014/main" id="{F28F38C1-09BB-4914-97F5-4FC1C0468DCA}"/>
                </a:ext>
              </a:extLst>
            </p:cNvPr>
            <p:cNvSpPr>
              <a:spLocks/>
            </p:cNvSpPr>
            <p:nvPr/>
          </p:nvSpPr>
          <p:spPr bwMode="auto">
            <a:xfrm>
              <a:off x="6053138" y="27795538"/>
              <a:ext cx="1435100" cy="1435100"/>
            </a:xfrm>
            <a:custGeom>
              <a:avLst/>
              <a:gdLst/>
              <a:ahLst/>
              <a:cxnLst>
                <a:cxn ang="0">
                  <a:pos x="612" y="0"/>
                </a:cxn>
                <a:cxn ang="0">
                  <a:pos x="294" y="0"/>
                </a:cxn>
                <a:cxn ang="0">
                  <a:pos x="294" y="294"/>
                </a:cxn>
                <a:cxn ang="0">
                  <a:pos x="0" y="294"/>
                </a:cxn>
                <a:cxn ang="0">
                  <a:pos x="0" y="610"/>
                </a:cxn>
                <a:cxn ang="0">
                  <a:pos x="294" y="610"/>
                </a:cxn>
                <a:cxn ang="0">
                  <a:pos x="294" y="904"/>
                </a:cxn>
                <a:cxn ang="0">
                  <a:pos x="612" y="904"/>
                </a:cxn>
                <a:cxn ang="0">
                  <a:pos x="612" y="610"/>
                </a:cxn>
                <a:cxn ang="0">
                  <a:pos x="904" y="610"/>
                </a:cxn>
                <a:cxn ang="0">
                  <a:pos x="904" y="294"/>
                </a:cxn>
                <a:cxn ang="0">
                  <a:pos x="612" y="294"/>
                </a:cxn>
                <a:cxn ang="0">
                  <a:pos x="612" y="0"/>
                </a:cxn>
              </a:cxnLst>
              <a:rect l="0" t="0" r="r" b="b"/>
              <a:pathLst>
                <a:path w="904" h="904">
                  <a:moveTo>
                    <a:pt x="612" y="0"/>
                  </a:moveTo>
                  <a:lnTo>
                    <a:pt x="294" y="0"/>
                  </a:lnTo>
                  <a:lnTo>
                    <a:pt x="294" y="294"/>
                  </a:lnTo>
                  <a:lnTo>
                    <a:pt x="0" y="294"/>
                  </a:lnTo>
                  <a:lnTo>
                    <a:pt x="0" y="610"/>
                  </a:lnTo>
                  <a:lnTo>
                    <a:pt x="294" y="610"/>
                  </a:lnTo>
                  <a:lnTo>
                    <a:pt x="294" y="904"/>
                  </a:lnTo>
                  <a:lnTo>
                    <a:pt x="612" y="904"/>
                  </a:lnTo>
                  <a:lnTo>
                    <a:pt x="612" y="610"/>
                  </a:lnTo>
                  <a:lnTo>
                    <a:pt x="904" y="610"/>
                  </a:lnTo>
                  <a:lnTo>
                    <a:pt x="904" y="294"/>
                  </a:lnTo>
                  <a:lnTo>
                    <a:pt x="612" y="294"/>
                  </a:lnTo>
                  <a:lnTo>
                    <a:pt x="61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45" name="Text Placeholder 5">
            <a:extLst>
              <a:ext uri="{FF2B5EF4-FFF2-40B4-BE49-F238E27FC236}">
                <a16:creationId xmlns:a16="http://schemas.microsoft.com/office/drawing/2014/main" id="{233D7C96-A35F-461A-A9D7-022529DB81E6}"/>
              </a:ext>
            </a:extLst>
          </p:cNvPr>
          <p:cNvSpPr txBox="1">
            <a:spLocks/>
          </p:cNvSpPr>
          <p:nvPr/>
        </p:nvSpPr>
        <p:spPr>
          <a:xfrm>
            <a:off x="1038225" y="817217"/>
            <a:ext cx="10853738" cy="263075"/>
          </a:xfrm>
          <a:prstGeom prst="rect">
            <a:avLst/>
          </a:prstGeom>
        </p:spPr>
        <p:txBody>
          <a:bodyPr/>
          <a:lstStyle>
            <a:lvl1pPr marL="457071" indent="-457071" algn="l" defTabSz="914150" rtl="0" eaLnBrk="1" latinLnBrk="0" hangingPunct="1">
              <a:spcBef>
                <a:spcPct val="20000"/>
              </a:spcBef>
              <a:buClr>
                <a:srgbClr val="4C4948"/>
              </a:buClr>
              <a:buFont typeface="Arial" panose="020B0604020202020204" pitchFamily="34" charset="0"/>
              <a:buChar char="•"/>
              <a:defRPr kumimoji="1" sz="2000" b="0" i="0" kern="1200" baseline="0">
                <a:solidFill>
                  <a:schemeClr val="tx1"/>
                </a:solidFill>
                <a:latin typeface="Calibri" panose="020F0502020204030204" pitchFamily="34" charset="0"/>
                <a:ea typeface="メイリオ" pitchFamily="50" charset="-128"/>
                <a:cs typeface="Calibri" pitchFamily="34" charset="0"/>
              </a:defRPr>
            </a:lvl1pPr>
            <a:lvl2pPr marL="742745" indent="-285677" algn="l" defTabSz="914150" rtl="0" eaLnBrk="1" latinLnBrk="0" hangingPunct="1">
              <a:spcBef>
                <a:spcPct val="20000"/>
              </a:spcBef>
              <a:buClr>
                <a:srgbClr val="4C4948"/>
              </a:buClr>
              <a:buFont typeface="Arial" pitchFamily="34" charset="0"/>
              <a:buChar char="–"/>
              <a:defRPr kumimoji="1" sz="2000" b="0" i="0" kern="1200">
                <a:solidFill>
                  <a:schemeClr val="tx1"/>
                </a:solidFill>
                <a:latin typeface="Calibri" panose="020F0502020204030204" pitchFamily="34" charset="0"/>
                <a:ea typeface="メイリオ" pitchFamily="50" charset="-128"/>
                <a:cs typeface="Calibri" pitchFamily="34" charset="0"/>
              </a:defRPr>
            </a:lvl2pPr>
            <a:lvl3pPr marL="1142690" indent="-228541" algn="l" defTabSz="914150" rtl="0" eaLnBrk="1" latinLnBrk="0" hangingPunct="1">
              <a:spcBef>
                <a:spcPct val="20000"/>
              </a:spcBef>
              <a:buClr>
                <a:srgbClr val="4C4948"/>
              </a:buClr>
              <a:buFont typeface="Arial" pitchFamily="34" charset="0"/>
              <a:buChar char="•"/>
              <a:defRPr kumimoji="1" sz="2000" b="0" i="0" kern="1200" baseline="0">
                <a:solidFill>
                  <a:schemeClr val="tx1"/>
                </a:solidFill>
                <a:latin typeface="Calibri" panose="020F0502020204030204" pitchFamily="34" charset="0"/>
                <a:ea typeface="メイリオ" pitchFamily="50" charset="-128"/>
                <a:cs typeface="Calibri" pitchFamily="34" charset="0"/>
              </a:defRPr>
            </a:lvl3pPr>
            <a:lvl4pPr marL="1599760" indent="-228541" algn="l" defTabSz="914150" rtl="0" eaLnBrk="1" latinLnBrk="0" hangingPunct="1">
              <a:spcBef>
                <a:spcPct val="20000"/>
              </a:spcBef>
              <a:buClr>
                <a:srgbClr val="4C4948"/>
              </a:buClr>
              <a:buFont typeface="Arial" pitchFamily="34" charset="0"/>
              <a:buChar char="–"/>
              <a:defRPr kumimoji="1" sz="2000" b="0" i="0" kern="1200" baseline="0">
                <a:solidFill>
                  <a:schemeClr val="tx1"/>
                </a:solidFill>
                <a:latin typeface="Calibri" panose="020F0502020204030204" pitchFamily="34" charset="0"/>
                <a:ea typeface="メイリオ" pitchFamily="50" charset="-128"/>
                <a:cs typeface="Calibri" pitchFamily="34" charset="0"/>
              </a:defRPr>
            </a:lvl4pPr>
            <a:lvl5pPr marL="2056831" indent="-228541" algn="l" defTabSz="914150" rtl="0" eaLnBrk="1" latinLnBrk="0" hangingPunct="1">
              <a:spcBef>
                <a:spcPct val="20000"/>
              </a:spcBef>
              <a:buClr>
                <a:srgbClr val="4C4948"/>
              </a:buClr>
              <a:buFont typeface="Arial" pitchFamily="34" charset="0"/>
              <a:buChar char="»"/>
              <a:defRPr kumimoji="1" sz="2000" b="0" i="0" kern="1200" baseline="0">
                <a:solidFill>
                  <a:schemeClr val="tx1"/>
                </a:solidFill>
                <a:latin typeface="Calibri" panose="020F0502020204030204" pitchFamily="34" charset="0"/>
                <a:ea typeface="メイリオ" pitchFamily="50" charset="-128"/>
                <a:cs typeface="Calibri" pitchFamily="34" charset="0"/>
              </a:defRPr>
            </a:lvl5pPr>
            <a:lvl6pPr marL="2513910"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0986"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8061"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5142"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buNone/>
            </a:pPr>
            <a:r>
              <a:rPr lang="en-US" altLang="zh-CN" sz="1800" b="1" dirty="0">
                <a:solidFill>
                  <a:srgbClr val="1A1918"/>
                </a:solidFill>
                <a:latin typeface="微软雅黑" panose="020B0503020204020204" pitchFamily="34" charset="-122"/>
                <a:ea typeface="微软雅黑" panose="020B0503020204020204" pitchFamily="34" charset="-122"/>
              </a:rPr>
              <a:t>——</a:t>
            </a:r>
            <a:r>
              <a:rPr lang="zh-CN" altLang="en-US" sz="1800" b="1" dirty="0">
                <a:solidFill>
                  <a:srgbClr val="1A1918"/>
                </a:solidFill>
                <a:latin typeface="Arial" panose="020B0604020202020204" pitchFamily="34" charset="0"/>
                <a:ea typeface="微软雅黑" panose="020B0503020204020204" pitchFamily="34" charset="-122"/>
              </a:rPr>
              <a:t>戈谢病为</a:t>
            </a:r>
            <a:r>
              <a:rPr lang="zh-CN" altLang="en-US" sz="2400" b="1" dirty="0">
                <a:solidFill>
                  <a:srgbClr val="C00000"/>
                </a:solidFill>
                <a:latin typeface="微软雅黑" panose="020B0503020204020204" pitchFamily="34" charset="-122"/>
                <a:ea typeface="微软雅黑" panose="020B0503020204020204" pitchFamily="34" charset="-122"/>
              </a:rPr>
              <a:t>危及儿童</a:t>
            </a:r>
            <a:r>
              <a:rPr lang="zh-CN" altLang="en-US" sz="1800" b="1" dirty="0">
                <a:solidFill>
                  <a:srgbClr val="1A1918"/>
                </a:solidFill>
                <a:latin typeface="Arial" panose="020B0604020202020204" pitchFamily="34" charset="0"/>
                <a:ea typeface="微软雅黑" panose="020B0503020204020204" pitchFamily="34" charset="-122"/>
              </a:rPr>
              <a:t>健康的</a:t>
            </a:r>
            <a:r>
              <a:rPr lang="zh-CN" altLang="en-US" sz="2400" b="1" dirty="0">
                <a:solidFill>
                  <a:srgbClr val="C00000"/>
                </a:solidFill>
                <a:latin typeface="微软雅黑" panose="020B0503020204020204" pitchFamily="34" charset="-122"/>
                <a:ea typeface="微软雅黑" panose="020B0503020204020204" pitchFamily="34" charset="-122"/>
              </a:rPr>
              <a:t>罕见疾病</a:t>
            </a:r>
            <a:r>
              <a:rPr lang="zh-CN" altLang="en-US" sz="1800" b="1" dirty="0">
                <a:solidFill>
                  <a:srgbClr val="1A1918"/>
                </a:solidFill>
                <a:latin typeface="Arial" panose="020B0604020202020204" pitchFamily="34" charset="0"/>
                <a:ea typeface="微软雅黑" panose="020B0503020204020204" pitchFamily="34" charset="-122"/>
              </a:rPr>
              <a:t>，</a:t>
            </a:r>
            <a:r>
              <a:rPr lang="zh-CN" altLang="en-US" sz="2400" b="1" dirty="0">
                <a:solidFill>
                  <a:srgbClr val="C00000"/>
                </a:solidFill>
                <a:latin typeface="微软雅黑" panose="020B0503020204020204" pitchFamily="34" charset="-122"/>
                <a:ea typeface="微软雅黑" panose="020B0503020204020204" pitchFamily="34" charset="-122"/>
              </a:rPr>
              <a:t>目录内无任何治疗药物</a:t>
            </a:r>
            <a:r>
              <a:rPr lang="zh-CN" altLang="en-US" sz="1800" b="1" dirty="0">
                <a:solidFill>
                  <a:srgbClr val="1A1918"/>
                </a:solidFill>
                <a:latin typeface="Arial" panose="020B0604020202020204" pitchFamily="34" charset="0"/>
                <a:ea typeface="微软雅黑" panose="020B0503020204020204" pitchFamily="34" charset="-122"/>
              </a:rPr>
              <a:t>，为社会关注的痛点问题，亟待纳入保障</a:t>
            </a:r>
          </a:p>
        </p:txBody>
      </p:sp>
    </p:spTree>
    <p:extLst>
      <p:ext uri="{BB962C8B-B14F-4D97-AF65-F5344CB8AC3E}">
        <p14:creationId xmlns:p14="http://schemas.microsoft.com/office/powerpoint/2010/main" val="175426942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Object 17" hidden="1">
            <a:extLst>
              <a:ext uri="{FF2B5EF4-FFF2-40B4-BE49-F238E27FC236}">
                <a16:creationId xmlns:a16="http://schemas.microsoft.com/office/drawing/2014/main" id="{AF03376B-F0DC-4E45-A052-7BB7F2CF943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5" imgW="347" imgH="348" progId="TCLayout.ActiveDocument.1">
                  <p:embed/>
                </p:oleObj>
              </mc:Choice>
              <mc:Fallback>
                <p:oleObj name="think-cell 幻灯片" r:id="rId5" imgW="347" imgH="348" progId="TCLayout.ActiveDocument.1">
                  <p:embed/>
                  <p:pic>
                    <p:nvPicPr>
                      <p:cNvPr id="18" name="Object 17" hidden="1">
                        <a:extLst>
                          <a:ext uri="{FF2B5EF4-FFF2-40B4-BE49-F238E27FC236}">
                            <a16:creationId xmlns:a16="http://schemas.microsoft.com/office/drawing/2014/main" id="{AF03376B-F0DC-4E45-A052-7BB7F2CF943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60B2A641-EE1A-4353-B663-913BBED2AB49}"/>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800" b="1" i="0" u="none" strike="noStrike" kern="1200" cap="none" spc="0" normalizeH="0" baseline="0" noProof="0">
              <a:ln>
                <a:noFill/>
              </a:ln>
              <a:solidFill>
                <a:srgbClr val="FFFFFF"/>
              </a:solidFill>
              <a:effectLst/>
              <a:uLnTx/>
              <a:uFillTx/>
              <a:latin typeface="Calibri" panose="020F0502020204030204" pitchFamily="34" charset="0"/>
              <a:ea typeface="メイリオ" panose="020B0604030504040204" pitchFamily="50" charset="-128"/>
              <a:cs typeface="Calibri" panose="020F0502020204030204" pitchFamily="34" charset="0"/>
              <a:sym typeface="Calibri" panose="020F0502020204030204" pitchFamily="34" charset="0"/>
            </a:endParaRPr>
          </a:p>
        </p:txBody>
      </p:sp>
      <p:sp>
        <p:nvSpPr>
          <p:cNvPr id="37" name="Title 3">
            <a:extLst>
              <a:ext uri="{FF2B5EF4-FFF2-40B4-BE49-F238E27FC236}">
                <a16:creationId xmlns:a16="http://schemas.microsoft.com/office/drawing/2014/main" id="{8109A740-BC76-6447-9BA6-362E759DED0E}"/>
              </a:ext>
            </a:extLst>
          </p:cNvPr>
          <p:cNvSpPr>
            <a:spLocks noGrp="1"/>
          </p:cNvSpPr>
          <p:nvPr>
            <p:ph type="title"/>
          </p:nvPr>
        </p:nvSpPr>
        <p:spPr>
          <a:xfrm>
            <a:off x="1038225" y="209230"/>
            <a:ext cx="9508106" cy="685801"/>
          </a:xfrm>
        </p:spPr>
        <p:txBody>
          <a:bodyPr>
            <a:normAutofit/>
          </a:bodyPr>
          <a:lstStyle/>
          <a:p>
            <a:r>
              <a:rPr lang="zh-CN" altLang="en-US" sz="3200" dirty="0">
                <a:solidFill>
                  <a:srgbClr val="1A1918"/>
                </a:solidFill>
                <a:latin typeface="微软雅黑" panose="020B0503020204020204" pitchFamily="34" charset="-122"/>
                <a:ea typeface="微软雅黑" panose="020B0503020204020204" pitchFamily="34" charset="-122"/>
              </a:rPr>
              <a:t>安全性</a:t>
            </a:r>
          </a:p>
        </p:txBody>
      </p:sp>
      <p:sp>
        <p:nvSpPr>
          <p:cNvPr id="22" name="椭圆 21">
            <a:extLst>
              <a:ext uri="{FF2B5EF4-FFF2-40B4-BE49-F238E27FC236}">
                <a16:creationId xmlns:a16="http://schemas.microsoft.com/office/drawing/2014/main" id="{5F530736-32AD-42C7-B3FC-79FE10B74A3A}"/>
              </a:ext>
            </a:extLst>
          </p:cNvPr>
          <p:cNvSpPr/>
          <p:nvPr/>
        </p:nvSpPr>
        <p:spPr>
          <a:xfrm>
            <a:off x="616186" y="315174"/>
            <a:ext cx="360000" cy="360000"/>
          </a:xfrm>
          <a:prstGeom prst="ellipse">
            <a:avLst/>
          </a:prstGeom>
          <a:solidFill>
            <a:schemeClr val="accent2">
              <a:lumMod val="75000"/>
            </a:schemeClr>
          </a:solidFill>
          <a:ln w="28575">
            <a:noFill/>
          </a:ln>
        </p:spPr>
        <p:style>
          <a:lnRef idx="1">
            <a:schemeClr val="accent1"/>
          </a:lnRef>
          <a:fillRef idx="0">
            <a:schemeClr val="accent1"/>
          </a:fillRef>
          <a:effectRef idx="0">
            <a:schemeClr val="accent1"/>
          </a:effectRef>
          <a:fontRef idx="minor">
            <a:schemeClr val="tx1"/>
          </a:fontRef>
        </p:style>
        <p:txBody>
          <a:bodyPr wrap="none" rtlCol="0" anchor="ctr"/>
          <a:lstStyle/>
          <a:p>
            <a:pPr algn="ctr"/>
            <a:r>
              <a:rPr kumimoji="1" lang="en-US" altLang="zh-CN" sz="1600" b="1" dirty="0">
                <a:solidFill>
                  <a:schemeClr val="bg1"/>
                </a:solidFill>
                <a:latin typeface="微软雅黑" panose="020B0503020204020204" pitchFamily="34" charset="-122"/>
                <a:ea typeface="微软雅黑" panose="020B0503020204020204" pitchFamily="34" charset="-122"/>
              </a:rPr>
              <a:t>3</a:t>
            </a:r>
            <a:endParaRPr kumimoji="1" lang="zh-CN" altLang="en-US" sz="1600" b="1" dirty="0">
              <a:solidFill>
                <a:schemeClr val="bg1"/>
              </a:solidFill>
              <a:latin typeface="微软雅黑" panose="020B0503020204020204" pitchFamily="34" charset="-122"/>
              <a:ea typeface="微软雅黑" panose="020B0503020204020204" pitchFamily="34" charset="-122"/>
            </a:endParaRPr>
          </a:p>
        </p:txBody>
      </p:sp>
      <p:sp>
        <p:nvSpPr>
          <p:cNvPr id="2" name="文本框 1">
            <a:extLst>
              <a:ext uri="{FF2B5EF4-FFF2-40B4-BE49-F238E27FC236}">
                <a16:creationId xmlns:a16="http://schemas.microsoft.com/office/drawing/2014/main" id="{7EDF5567-125D-46C1-B70E-FDBACDE4BE9E}"/>
              </a:ext>
            </a:extLst>
          </p:cNvPr>
          <p:cNvSpPr txBox="1"/>
          <p:nvPr/>
        </p:nvSpPr>
        <p:spPr>
          <a:xfrm>
            <a:off x="615752" y="1923528"/>
            <a:ext cx="5287086" cy="4342856"/>
          </a:xfrm>
          <a:prstGeom prst="rect">
            <a:avLst/>
          </a:prstGeom>
          <a:noFill/>
        </p:spPr>
        <p:txBody>
          <a:bodyPr wrap="square" rtlCol="0">
            <a:spAutoFit/>
          </a:bodyPr>
          <a:lstStyle/>
          <a:p>
            <a:pPr marL="285750" indent="-285750">
              <a:lnSpc>
                <a:spcPct val="150000"/>
              </a:lnSpc>
              <a:buFont typeface="Wingdings" panose="05000000000000000000" pitchFamily="2" charset="2"/>
              <a:buChar char="l"/>
            </a:pPr>
            <a:r>
              <a:rPr kumimoji="1" lang="zh-CN" altLang="en-US" sz="1400" dirty="0">
                <a:solidFill>
                  <a:srgbClr val="1A1918"/>
                </a:solidFill>
                <a:latin typeface="微软雅黑" panose="020B0503020204020204" pitchFamily="34" charset="-122"/>
                <a:ea typeface="微软雅黑" panose="020B0503020204020204" pitchFamily="34" charset="-122"/>
              </a:rPr>
              <a:t>维拉苷酶</a:t>
            </a:r>
            <a:r>
              <a:rPr kumimoji="1" lang="en-US" altLang="zh-CN" sz="1400" dirty="0">
                <a:solidFill>
                  <a:srgbClr val="1A1918"/>
                </a:solidFill>
                <a:latin typeface="微软雅黑" panose="020B0503020204020204" pitchFamily="34" charset="-122"/>
                <a:ea typeface="微软雅黑" panose="020B0503020204020204" pitchFamily="34" charset="-122"/>
              </a:rPr>
              <a:t>α</a:t>
            </a:r>
            <a:r>
              <a:rPr kumimoji="1" lang="zh-CN" altLang="en-US" sz="1400" dirty="0">
                <a:solidFill>
                  <a:srgbClr val="1A1918"/>
                </a:solidFill>
                <a:latin typeface="微软雅黑" panose="020B0503020204020204" pitchFamily="34" charset="-122"/>
                <a:ea typeface="微软雅黑" panose="020B0503020204020204" pitchFamily="34" charset="-122"/>
              </a:rPr>
              <a:t>在</a:t>
            </a:r>
            <a:r>
              <a:rPr kumimoji="1" lang="en-US" altLang="zh-CN" sz="1400" dirty="0">
                <a:solidFill>
                  <a:srgbClr val="1A1918"/>
                </a:solidFill>
                <a:latin typeface="微软雅黑" panose="020B0503020204020204" pitchFamily="34" charset="-122"/>
                <a:ea typeface="微软雅黑" panose="020B0503020204020204" pitchFamily="34" charset="-122"/>
              </a:rPr>
              <a:t>1</a:t>
            </a:r>
            <a:r>
              <a:rPr kumimoji="1" lang="zh-CN" altLang="en-US" sz="1400" dirty="0">
                <a:solidFill>
                  <a:srgbClr val="1A1918"/>
                </a:solidFill>
                <a:latin typeface="微软雅黑" panose="020B0503020204020204" pitchFamily="34" charset="-122"/>
                <a:ea typeface="微软雅黑" panose="020B0503020204020204" pitchFamily="34" charset="-122"/>
              </a:rPr>
              <a:t>型戈谢病患者中</a:t>
            </a:r>
            <a:r>
              <a:rPr kumimoji="1" lang="zh-CN" altLang="en-US" sz="1400" b="1" dirty="0">
                <a:solidFill>
                  <a:srgbClr val="1A1918"/>
                </a:solidFill>
                <a:latin typeface="微软雅黑" panose="020B0503020204020204" pitchFamily="34" charset="-122"/>
                <a:ea typeface="微软雅黑" panose="020B0503020204020204" pitchFamily="34" charset="-122"/>
              </a:rPr>
              <a:t>总体安全性良好</a:t>
            </a:r>
            <a:endParaRPr kumimoji="1" lang="en-US" altLang="zh-CN" sz="1400" b="1" baseline="30000" dirty="0">
              <a:solidFill>
                <a:srgbClr val="1A1918"/>
              </a:solidFill>
              <a:latin typeface="微软雅黑" panose="020B0503020204020204" pitchFamily="34" charset="-122"/>
              <a:ea typeface="微软雅黑" panose="020B0503020204020204" pitchFamily="34" charset="-122"/>
            </a:endParaRPr>
          </a:p>
          <a:p>
            <a:pPr marL="742950" lvl="1" indent="-285750">
              <a:lnSpc>
                <a:spcPct val="150000"/>
              </a:lnSpc>
              <a:buFont typeface="Wingdings" panose="05000000000000000000" pitchFamily="2" charset="2"/>
              <a:buChar char="Ø"/>
            </a:pPr>
            <a:r>
              <a:rPr kumimoji="1" lang="zh-CN" altLang="en-US" sz="1400" b="1" dirty="0">
                <a:solidFill>
                  <a:srgbClr val="C00000"/>
                </a:solidFill>
                <a:latin typeface="微软雅黑" panose="020B0503020204020204" pitchFamily="34" charset="-122"/>
                <a:ea typeface="微软雅黑" panose="020B0503020204020204" pitchFamily="34" charset="-122"/>
              </a:rPr>
              <a:t>常见不良反应为输注相关反应，大多数输注相关不良事件的严重程度为轻中度</a:t>
            </a:r>
            <a:endParaRPr kumimoji="1" lang="en-US" altLang="zh-CN" sz="1400" b="1" dirty="0">
              <a:solidFill>
                <a:srgbClr val="C00000"/>
              </a:solidFill>
              <a:latin typeface="微软雅黑" panose="020B0503020204020204" pitchFamily="34" charset="-122"/>
              <a:ea typeface="微软雅黑" panose="020B0503020204020204" pitchFamily="34" charset="-122"/>
            </a:endParaRPr>
          </a:p>
          <a:p>
            <a:pPr marL="742950" lvl="1" indent="-285750">
              <a:lnSpc>
                <a:spcPct val="150000"/>
              </a:lnSpc>
              <a:buFont typeface="Wingdings" panose="05000000000000000000" pitchFamily="2" charset="2"/>
              <a:buChar char="Ø"/>
            </a:pPr>
            <a:r>
              <a:rPr kumimoji="1" lang="zh-CN" altLang="en-US" sz="1400" dirty="0">
                <a:solidFill>
                  <a:srgbClr val="1A1918"/>
                </a:solidFill>
                <a:latin typeface="微软雅黑" panose="020B0503020204020204" pitchFamily="34" charset="-122"/>
                <a:ea typeface="微软雅黑" panose="020B0503020204020204" pitchFamily="34" charset="-122"/>
              </a:rPr>
              <a:t>临床研究中，未发生因维拉苷酶</a:t>
            </a:r>
            <a:r>
              <a:rPr kumimoji="1" lang="en-US" altLang="zh-CN" sz="1400" dirty="0">
                <a:solidFill>
                  <a:srgbClr val="1A1918"/>
                </a:solidFill>
                <a:latin typeface="微软雅黑" panose="020B0503020204020204" pitchFamily="34" charset="-122"/>
                <a:ea typeface="微软雅黑" panose="020B0503020204020204" pitchFamily="34" charset="-122"/>
              </a:rPr>
              <a:t>α</a:t>
            </a:r>
            <a:r>
              <a:rPr kumimoji="1" lang="zh-CN" altLang="en-US" sz="1400" dirty="0">
                <a:solidFill>
                  <a:srgbClr val="1A1918"/>
                </a:solidFill>
                <a:latin typeface="微软雅黑" panose="020B0503020204020204" pitchFamily="34" charset="-122"/>
                <a:ea typeface="微软雅黑" panose="020B0503020204020204" pitchFamily="34" charset="-122"/>
              </a:rPr>
              <a:t>治疗导致的死亡事件</a:t>
            </a:r>
            <a:endParaRPr kumimoji="1" lang="en-US" altLang="zh-CN" sz="1400" dirty="0">
              <a:solidFill>
                <a:srgbClr val="1A1918"/>
              </a:solidFill>
              <a:latin typeface="微软雅黑" panose="020B0503020204020204" pitchFamily="34" charset="-122"/>
              <a:ea typeface="微软雅黑" panose="020B0503020204020204" pitchFamily="34" charset="-122"/>
            </a:endParaRPr>
          </a:p>
          <a:p>
            <a:pPr marL="742950" lvl="1" indent="-285750">
              <a:lnSpc>
                <a:spcPct val="150000"/>
              </a:lnSpc>
              <a:buFont typeface="Wingdings" panose="05000000000000000000" pitchFamily="2" charset="2"/>
              <a:buChar char="Ø"/>
            </a:pPr>
            <a:r>
              <a:rPr kumimoji="1" lang="zh-CN" altLang="en-US" sz="1400" dirty="0">
                <a:solidFill>
                  <a:srgbClr val="1A1918"/>
                </a:solidFill>
                <a:latin typeface="微软雅黑" panose="020B0503020204020204" pitchFamily="34" charset="-122"/>
                <a:ea typeface="微软雅黑" panose="020B0503020204020204" pitchFamily="34" charset="-122"/>
              </a:rPr>
              <a:t>大部分严重不良事件与研究药物无关</a:t>
            </a:r>
            <a:endParaRPr kumimoji="1" lang="en-US" altLang="zh-CN" sz="1400" dirty="0">
              <a:solidFill>
                <a:srgbClr val="1A1918"/>
              </a:solidFill>
              <a:latin typeface="微软雅黑" panose="020B0503020204020204" pitchFamily="34" charset="-122"/>
              <a:ea typeface="微软雅黑" panose="020B0503020204020204" pitchFamily="34" charset="-122"/>
            </a:endParaRPr>
          </a:p>
          <a:p>
            <a:pPr marL="285750" indent="-285750">
              <a:lnSpc>
                <a:spcPct val="150000"/>
              </a:lnSpc>
              <a:buFont typeface="Wingdings" panose="05000000000000000000" pitchFamily="2" charset="2"/>
              <a:buChar char="l"/>
            </a:pPr>
            <a:r>
              <a:rPr kumimoji="1" lang="zh-CN" altLang="en-US" sz="1400" dirty="0">
                <a:solidFill>
                  <a:srgbClr val="1A1918"/>
                </a:solidFill>
                <a:latin typeface="微软雅黑" panose="020B0503020204020204" pitchFamily="34" charset="-122"/>
                <a:ea typeface="微软雅黑" panose="020B0503020204020204" pitchFamily="34" charset="-122"/>
              </a:rPr>
              <a:t>维拉苷酶</a:t>
            </a:r>
            <a:r>
              <a:rPr kumimoji="1" lang="en-US" altLang="zh-CN" sz="1400" dirty="0">
                <a:solidFill>
                  <a:srgbClr val="1A1918"/>
                </a:solidFill>
                <a:latin typeface="微软雅黑" panose="020B0503020204020204" pitchFamily="34" charset="-122"/>
                <a:ea typeface="微软雅黑" panose="020B0503020204020204" pitchFamily="34" charset="-122"/>
              </a:rPr>
              <a:t>α</a:t>
            </a:r>
            <a:r>
              <a:rPr kumimoji="1" lang="zh-CN" altLang="en-US" sz="1400" b="1" dirty="0">
                <a:solidFill>
                  <a:srgbClr val="1A1918"/>
                </a:solidFill>
                <a:latin typeface="微软雅黑" panose="020B0503020204020204" pitchFamily="34" charset="-122"/>
                <a:ea typeface="微软雅黑" panose="020B0503020204020204" pitchFamily="34" charset="-122"/>
              </a:rPr>
              <a:t>上市后未发现安全性特征发生明显变化</a:t>
            </a:r>
            <a:endParaRPr kumimoji="1" lang="en-US" altLang="zh-CN" sz="1400" b="1" dirty="0">
              <a:solidFill>
                <a:srgbClr val="1A1918"/>
              </a:solidFill>
              <a:latin typeface="微软雅黑" panose="020B0503020204020204" pitchFamily="34" charset="-122"/>
              <a:ea typeface="微软雅黑" panose="020B0503020204020204" pitchFamily="34" charset="-122"/>
            </a:endParaRPr>
          </a:p>
          <a:p>
            <a:pPr marL="742950" lvl="1" indent="-285750">
              <a:lnSpc>
                <a:spcPct val="150000"/>
              </a:lnSpc>
              <a:buFont typeface="Wingdings" panose="05000000000000000000" pitchFamily="2" charset="2"/>
              <a:buChar char="Ø"/>
            </a:pPr>
            <a:r>
              <a:rPr kumimoji="1" lang="zh-CN" altLang="en-US" sz="1400" dirty="0">
                <a:solidFill>
                  <a:srgbClr val="1A1918"/>
                </a:solidFill>
                <a:latin typeface="微软雅黑" panose="020B0503020204020204" pitchFamily="34" charset="-122"/>
                <a:ea typeface="微软雅黑" panose="020B0503020204020204" pitchFamily="34" charset="-122"/>
              </a:rPr>
              <a:t>上市后注册登记研究</a:t>
            </a:r>
            <a:r>
              <a:rPr kumimoji="1" lang="en-US" altLang="zh-CN" sz="1400" dirty="0">
                <a:solidFill>
                  <a:srgbClr val="1A1918"/>
                </a:solidFill>
                <a:latin typeface="微软雅黑" panose="020B0503020204020204" pitchFamily="34" charset="-122"/>
                <a:ea typeface="微软雅黑" panose="020B0503020204020204" pitchFamily="34" charset="-122"/>
              </a:rPr>
              <a:t>GOS</a:t>
            </a:r>
            <a:r>
              <a:rPr kumimoji="1" lang="zh-CN" altLang="en-US" sz="1400" dirty="0">
                <a:solidFill>
                  <a:srgbClr val="1A1918"/>
                </a:solidFill>
                <a:latin typeface="微软雅黑" panose="020B0503020204020204" pitchFamily="34" charset="-122"/>
                <a:ea typeface="微软雅黑" panose="020B0503020204020204" pitchFamily="34" charset="-122"/>
              </a:rPr>
              <a:t>数据显示，维拉苷酶</a:t>
            </a:r>
            <a:r>
              <a:rPr kumimoji="1" lang="en-US" altLang="zh-CN" sz="1400" dirty="0">
                <a:solidFill>
                  <a:srgbClr val="1A1918"/>
                </a:solidFill>
                <a:latin typeface="微软雅黑" panose="020B0503020204020204" pitchFamily="34" charset="-122"/>
                <a:ea typeface="微软雅黑" panose="020B0503020204020204" pitchFamily="34" charset="-122"/>
              </a:rPr>
              <a:t>α</a:t>
            </a:r>
            <a:r>
              <a:rPr kumimoji="1" lang="zh-CN" altLang="en-US" sz="1400" dirty="0">
                <a:solidFill>
                  <a:srgbClr val="1A1918"/>
                </a:solidFill>
                <a:latin typeface="微软雅黑" panose="020B0503020204020204" pitchFamily="34" charset="-122"/>
                <a:ea typeface="微软雅黑" panose="020B0503020204020204" pitchFamily="34" charset="-122"/>
              </a:rPr>
              <a:t>治疗期间，不良事件、与本品相关的不良事件和输注相关不良事件与注册研究报告的情况一致</a:t>
            </a:r>
            <a:endParaRPr kumimoji="1" lang="en-US" altLang="zh-CN" sz="1400" dirty="0">
              <a:solidFill>
                <a:srgbClr val="1A1918"/>
              </a:solidFill>
              <a:latin typeface="微软雅黑" panose="020B0503020204020204" pitchFamily="34" charset="-122"/>
              <a:ea typeface="微软雅黑" panose="020B0503020204020204" pitchFamily="34" charset="-122"/>
            </a:endParaRPr>
          </a:p>
          <a:p>
            <a:pPr marL="742950" lvl="1" indent="-285750">
              <a:lnSpc>
                <a:spcPct val="150000"/>
              </a:lnSpc>
              <a:buFont typeface="Wingdings" panose="05000000000000000000" pitchFamily="2" charset="2"/>
              <a:buChar char="Ø"/>
            </a:pPr>
            <a:r>
              <a:rPr kumimoji="1" lang="zh-CN" altLang="en-US" sz="1400" b="1" dirty="0">
                <a:solidFill>
                  <a:srgbClr val="C00000"/>
                </a:solidFill>
                <a:latin typeface="微软雅黑" panose="020B0503020204020204" pitchFamily="34" charset="-122"/>
                <a:ea typeface="微软雅黑" panose="020B0503020204020204" pitchFamily="34" charset="-122"/>
              </a:rPr>
              <a:t>各国家或地区药监部门 </a:t>
            </a:r>
            <a:r>
              <a:rPr kumimoji="1" lang="en-US" altLang="zh-CN" sz="1400" b="1" dirty="0">
                <a:solidFill>
                  <a:srgbClr val="C00000"/>
                </a:solidFill>
                <a:latin typeface="微软雅黑" panose="020B0503020204020204" pitchFamily="34" charset="-122"/>
                <a:ea typeface="微软雅黑" panose="020B0503020204020204" pitchFamily="34" charset="-122"/>
              </a:rPr>
              <a:t>5 </a:t>
            </a:r>
            <a:r>
              <a:rPr kumimoji="1" lang="zh-CN" altLang="en-US" sz="1400" b="1" dirty="0">
                <a:solidFill>
                  <a:srgbClr val="C00000"/>
                </a:solidFill>
                <a:latin typeface="微软雅黑" panose="020B0503020204020204" pitchFamily="34" charset="-122"/>
                <a:ea typeface="微软雅黑" panose="020B0503020204020204" pitchFamily="34" charset="-122"/>
              </a:rPr>
              <a:t>年内未发布任何安全性警告、黑框警告、撤市信息</a:t>
            </a:r>
            <a:r>
              <a:rPr kumimoji="1" lang="zh-CN" altLang="en-US" sz="1400" dirty="0">
                <a:solidFill>
                  <a:srgbClr val="1A1918"/>
                </a:solidFill>
                <a:latin typeface="微软雅黑" panose="020B0503020204020204" pitchFamily="34" charset="-122"/>
                <a:ea typeface="微软雅黑" panose="020B0503020204020204" pitchFamily="34" charset="-122"/>
              </a:rPr>
              <a:t>，截至</a:t>
            </a:r>
            <a:r>
              <a:rPr kumimoji="1" lang="en-US" altLang="zh-CN" sz="1400" dirty="0">
                <a:solidFill>
                  <a:srgbClr val="1A1918"/>
                </a:solidFill>
                <a:latin typeface="微软雅黑" panose="020B0503020204020204" pitchFamily="34" charset="-122"/>
                <a:ea typeface="微软雅黑" panose="020B0503020204020204" pitchFamily="34" charset="-122"/>
              </a:rPr>
              <a:t>2021</a:t>
            </a:r>
            <a:r>
              <a:rPr kumimoji="1" lang="zh-CN" altLang="en-US" sz="1400" dirty="0">
                <a:solidFill>
                  <a:srgbClr val="1A1918"/>
                </a:solidFill>
                <a:latin typeface="微软雅黑" panose="020B0503020204020204" pitchFamily="34" charset="-122"/>
                <a:ea typeface="微软雅黑" panose="020B0503020204020204" pitchFamily="34" charset="-122"/>
              </a:rPr>
              <a:t>年</a:t>
            </a:r>
            <a:r>
              <a:rPr kumimoji="1" lang="en-US" altLang="zh-CN" sz="1400" dirty="0">
                <a:solidFill>
                  <a:srgbClr val="1A1918"/>
                </a:solidFill>
                <a:latin typeface="微软雅黑" panose="020B0503020204020204" pitchFamily="34" charset="-122"/>
                <a:ea typeface="微软雅黑" panose="020B0503020204020204" pitchFamily="34" charset="-122"/>
              </a:rPr>
              <a:t>2</a:t>
            </a:r>
            <a:r>
              <a:rPr kumimoji="1" lang="zh-CN" altLang="en-US" sz="1400" dirty="0">
                <a:solidFill>
                  <a:srgbClr val="1A1918"/>
                </a:solidFill>
                <a:latin typeface="微软雅黑" panose="020B0503020204020204" pitchFamily="34" charset="-122"/>
                <a:ea typeface="微软雅黑" panose="020B0503020204020204" pitchFamily="34" charset="-122"/>
              </a:rPr>
              <a:t>月</a:t>
            </a:r>
            <a:r>
              <a:rPr kumimoji="1" lang="en-US" altLang="zh-CN" sz="1400" dirty="0">
                <a:solidFill>
                  <a:srgbClr val="1A1918"/>
                </a:solidFill>
                <a:latin typeface="微软雅黑" panose="020B0503020204020204" pitchFamily="34" charset="-122"/>
                <a:ea typeface="微软雅黑" panose="020B0503020204020204" pitchFamily="34" charset="-122"/>
              </a:rPr>
              <a:t>26</a:t>
            </a:r>
            <a:r>
              <a:rPr kumimoji="1" lang="zh-CN" altLang="en-US" sz="1400" dirty="0">
                <a:solidFill>
                  <a:srgbClr val="1A1918"/>
                </a:solidFill>
                <a:latin typeface="微软雅黑" panose="020B0503020204020204" pitchFamily="34" charset="-122"/>
                <a:ea typeface="微软雅黑" panose="020B0503020204020204" pitchFamily="34" charset="-122"/>
              </a:rPr>
              <a:t>日已在</a:t>
            </a:r>
            <a:r>
              <a:rPr kumimoji="1" lang="en-US" altLang="zh-CN" sz="1400" dirty="0">
                <a:solidFill>
                  <a:srgbClr val="1A1918"/>
                </a:solidFill>
                <a:latin typeface="微软雅黑" panose="020B0503020204020204" pitchFamily="34" charset="-122"/>
                <a:ea typeface="微软雅黑" panose="020B0503020204020204" pitchFamily="34" charset="-122"/>
              </a:rPr>
              <a:t>62</a:t>
            </a:r>
            <a:r>
              <a:rPr kumimoji="1" lang="zh-CN" altLang="en-US" sz="1400" dirty="0">
                <a:solidFill>
                  <a:srgbClr val="1A1918"/>
                </a:solidFill>
                <a:latin typeface="微软雅黑" panose="020B0503020204020204" pitchFamily="34" charset="-122"/>
                <a:ea typeface="微软雅黑" panose="020B0503020204020204" pitchFamily="34" charset="-122"/>
              </a:rPr>
              <a:t>个国家或地区获批上市，拥有超过十年的真实世界使用经验</a:t>
            </a:r>
            <a:endParaRPr kumimoji="1" lang="en-US" altLang="zh-CN" sz="1400" dirty="0">
              <a:solidFill>
                <a:srgbClr val="1A1918"/>
              </a:solidFill>
              <a:latin typeface="微软雅黑" panose="020B0503020204020204" pitchFamily="34" charset="-122"/>
              <a:ea typeface="微软雅黑" panose="020B0503020204020204" pitchFamily="34" charset="-122"/>
            </a:endParaRPr>
          </a:p>
          <a:p>
            <a:pPr marL="285750" indent="-285750">
              <a:lnSpc>
                <a:spcPct val="150000"/>
              </a:lnSpc>
              <a:buFont typeface="Arial" panose="020B0604020202020204" pitchFamily="34" charset="0"/>
              <a:buChar char="•"/>
            </a:pPr>
            <a:endParaRPr lang="en-US" dirty="0"/>
          </a:p>
        </p:txBody>
      </p:sp>
      <p:sp>
        <p:nvSpPr>
          <p:cNvPr id="79" name="矩形: 圆角 78">
            <a:extLst>
              <a:ext uri="{FF2B5EF4-FFF2-40B4-BE49-F238E27FC236}">
                <a16:creationId xmlns:a16="http://schemas.microsoft.com/office/drawing/2014/main" id="{36D16ACF-8078-410D-8554-050536023D2E}"/>
              </a:ext>
            </a:extLst>
          </p:cNvPr>
          <p:cNvSpPr/>
          <p:nvPr/>
        </p:nvSpPr>
        <p:spPr>
          <a:xfrm>
            <a:off x="492979" y="1613382"/>
            <a:ext cx="5622157" cy="4549867"/>
          </a:xfrm>
          <a:prstGeom prst="roundRect">
            <a:avLst/>
          </a:prstGeom>
          <a:noFill/>
          <a:ln w="19050">
            <a:noFill/>
          </a:ln>
        </p:spPr>
        <p:style>
          <a:lnRef idx="1">
            <a:schemeClr val="accent1"/>
          </a:lnRef>
          <a:fillRef idx="0">
            <a:schemeClr val="accent1"/>
          </a:fillRef>
          <a:effectRef idx="0">
            <a:schemeClr val="accent1"/>
          </a:effectRef>
          <a:fontRef idx="minor">
            <a:schemeClr val="tx1"/>
          </a:fontRef>
        </p:style>
        <p:txBody>
          <a:bodyPr wrap="square" rtlCol="0" anchor="t"/>
          <a:lstStyle/>
          <a:p>
            <a:pPr marL="171450" indent="-171450">
              <a:lnSpc>
                <a:spcPct val="150000"/>
              </a:lnSpc>
              <a:buFont typeface="Arial" panose="020B0604020202020204" pitchFamily="34" charset="0"/>
              <a:buChar char="•"/>
            </a:pPr>
            <a:endParaRPr kumimoji="1" lang="en-US" altLang="zh-CN" sz="1400" baseline="30000" dirty="0">
              <a:solidFill>
                <a:srgbClr val="1A1918"/>
              </a:solidFill>
              <a:latin typeface="微软雅黑" panose="020B0503020204020204" pitchFamily="34" charset="-122"/>
              <a:ea typeface="微软雅黑" panose="020B0503020204020204" pitchFamily="34" charset="-122"/>
            </a:endParaRPr>
          </a:p>
        </p:txBody>
      </p:sp>
      <p:sp>
        <p:nvSpPr>
          <p:cNvPr id="80" name="矩形: 圆角 79">
            <a:extLst>
              <a:ext uri="{FF2B5EF4-FFF2-40B4-BE49-F238E27FC236}">
                <a16:creationId xmlns:a16="http://schemas.microsoft.com/office/drawing/2014/main" id="{8AD6036E-D9CE-46AA-895A-B8F56D60F029}"/>
              </a:ext>
            </a:extLst>
          </p:cNvPr>
          <p:cNvSpPr/>
          <p:nvPr/>
        </p:nvSpPr>
        <p:spPr>
          <a:xfrm>
            <a:off x="616185" y="1762409"/>
            <a:ext cx="5298839" cy="4621464"/>
          </a:xfrm>
          <a:prstGeom prst="roundRect">
            <a:avLst>
              <a:gd name="adj" fmla="val 0"/>
            </a:avLst>
          </a:prstGeom>
          <a:noFill/>
          <a:ln w="19050">
            <a:solidFill>
              <a:schemeClr val="accent2"/>
            </a:soli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wrap="none" rtlCol="0" anchor="ctr"/>
          <a:lstStyle/>
          <a:p>
            <a:pPr algn="ctr"/>
            <a:endParaRPr kumimoji="1" lang="zh-CN" altLang="en-US" dirty="0"/>
          </a:p>
        </p:txBody>
      </p:sp>
      <p:sp>
        <p:nvSpPr>
          <p:cNvPr id="81" name="矩形 80">
            <a:extLst>
              <a:ext uri="{FF2B5EF4-FFF2-40B4-BE49-F238E27FC236}">
                <a16:creationId xmlns:a16="http://schemas.microsoft.com/office/drawing/2014/main" id="{9D5D76F7-35BB-4309-A287-03EAE4C1F2B4}"/>
              </a:ext>
            </a:extLst>
          </p:cNvPr>
          <p:cNvSpPr/>
          <p:nvPr/>
        </p:nvSpPr>
        <p:spPr>
          <a:xfrm>
            <a:off x="616185" y="1387773"/>
            <a:ext cx="5298839" cy="386728"/>
          </a:xfrm>
          <a:prstGeom prst="rect">
            <a:avLst/>
          </a:prstGeom>
          <a:solidFill>
            <a:schemeClr val="accent2">
              <a:lumMod val="75000"/>
            </a:schemeClr>
          </a:solidFill>
          <a:ln w="28575">
            <a:noFill/>
          </a:ln>
        </p:spPr>
        <p:style>
          <a:lnRef idx="1">
            <a:schemeClr val="accent1"/>
          </a:lnRef>
          <a:fillRef idx="0">
            <a:schemeClr val="accent1"/>
          </a:fillRef>
          <a:effectRef idx="0">
            <a:schemeClr val="accent1"/>
          </a:effectRef>
          <a:fontRef idx="minor">
            <a:schemeClr val="tx1"/>
          </a:fontRef>
        </p:style>
        <p:txBody>
          <a:bodyPr wrap="none" rtlCol="0" anchor="ctr"/>
          <a:lstStyle/>
          <a:p>
            <a:pPr algn="ctr"/>
            <a:r>
              <a:rPr kumimoji="1" lang="zh-CN" altLang="en-US" sz="1600" b="1" dirty="0">
                <a:solidFill>
                  <a:schemeClr val="bg1"/>
                </a:solidFill>
                <a:latin typeface="微软雅黑" panose="020B0503020204020204" pitchFamily="34" charset="-122"/>
                <a:ea typeface="微软雅黑" panose="020B0503020204020204" pitchFamily="34" charset="-122"/>
              </a:rPr>
              <a:t>整体安全性情况</a:t>
            </a:r>
          </a:p>
        </p:txBody>
      </p:sp>
      <p:sp>
        <p:nvSpPr>
          <p:cNvPr id="82" name="矩形: 圆角 81">
            <a:extLst>
              <a:ext uri="{FF2B5EF4-FFF2-40B4-BE49-F238E27FC236}">
                <a16:creationId xmlns:a16="http://schemas.microsoft.com/office/drawing/2014/main" id="{1F3666ED-4721-42F4-8DA2-38F03C4ACD3E}"/>
              </a:ext>
            </a:extLst>
          </p:cNvPr>
          <p:cNvSpPr/>
          <p:nvPr/>
        </p:nvSpPr>
        <p:spPr>
          <a:xfrm>
            <a:off x="6407351" y="1762409"/>
            <a:ext cx="5298839" cy="4621464"/>
          </a:xfrm>
          <a:prstGeom prst="roundRect">
            <a:avLst>
              <a:gd name="adj" fmla="val 0"/>
            </a:avLst>
          </a:prstGeom>
          <a:noFill/>
          <a:ln w="19050">
            <a:solidFill>
              <a:schemeClr val="accent2"/>
            </a:soli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wrap="none" rtlCol="0" anchor="ctr"/>
          <a:lstStyle/>
          <a:p>
            <a:pPr algn="ctr"/>
            <a:endParaRPr kumimoji="1" lang="zh-CN" altLang="en-US" dirty="0"/>
          </a:p>
        </p:txBody>
      </p:sp>
      <p:sp>
        <p:nvSpPr>
          <p:cNvPr id="83" name="矩形 82">
            <a:extLst>
              <a:ext uri="{FF2B5EF4-FFF2-40B4-BE49-F238E27FC236}">
                <a16:creationId xmlns:a16="http://schemas.microsoft.com/office/drawing/2014/main" id="{26FD34FE-0559-4953-980E-802113160039}"/>
              </a:ext>
            </a:extLst>
          </p:cNvPr>
          <p:cNvSpPr/>
          <p:nvPr/>
        </p:nvSpPr>
        <p:spPr>
          <a:xfrm>
            <a:off x="6407785" y="1387773"/>
            <a:ext cx="5298839" cy="386728"/>
          </a:xfrm>
          <a:prstGeom prst="rect">
            <a:avLst/>
          </a:prstGeom>
          <a:solidFill>
            <a:schemeClr val="accent2">
              <a:lumMod val="75000"/>
            </a:schemeClr>
          </a:solidFill>
          <a:ln w="28575">
            <a:noFill/>
          </a:ln>
        </p:spPr>
        <p:style>
          <a:lnRef idx="1">
            <a:schemeClr val="accent1"/>
          </a:lnRef>
          <a:fillRef idx="0">
            <a:schemeClr val="accent1"/>
          </a:fillRef>
          <a:effectRef idx="0">
            <a:schemeClr val="accent1"/>
          </a:effectRef>
          <a:fontRef idx="minor">
            <a:schemeClr val="tx1"/>
          </a:fontRef>
        </p:style>
        <p:txBody>
          <a:bodyPr wrap="none" rtlCol="0" anchor="ctr"/>
          <a:lstStyle/>
          <a:p>
            <a:pPr algn="ctr"/>
            <a:r>
              <a:rPr kumimoji="1" lang="zh-CN" altLang="en-US" sz="1600" b="1" dirty="0">
                <a:solidFill>
                  <a:schemeClr val="bg1"/>
                </a:solidFill>
                <a:latin typeface="微软雅黑" panose="020B0503020204020204" pitchFamily="34" charset="-122"/>
                <a:ea typeface="微软雅黑" panose="020B0503020204020204" pitchFamily="34" charset="-122"/>
              </a:rPr>
              <a:t>安全性优势</a:t>
            </a:r>
          </a:p>
        </p:txBody>
      </p:sp>
      <p:sp>
        <p:nvSpPr>
          <p:cNvPr id="107" name="文本框 106">
            <a:extLst>
              <a:ext uri="{FF2B5EF4-FFF2-40B4-BE49-F238E27FC236}">
                <a16:creationId xmlns:a16="http://schemas.microsoft.com/office/drawing/2014/main" id="{0902CB2C-C739-45E2-BC17-EA5FA5E67979}"/>
              </a:ext>
            </a:extLst>
          </p:cNvPr>
          <p:cNvSpPr txBox="1"/>
          <p:nvPr/>
        </p:nvSpPr>
        <p:spPr>
          <a:xfrm>
            <a:off x="6406918" y="1923528"/>
            <a:ext cx="5298839" cy="1670073"/>
          </a:xfrm>
          <a:prstGeom prst="rect">
            <a:avLst/>
          </a:prstGeom>
          <a:noFill/>
        </p:spPr>
        <p:txBody>
          <a:bodyPr wrap="square">
            <a:spAutoFit/>
          </a:bodyPr>
          <a:lstStyle/>
          <a:p>
            <a:pPr marL="285750" indent="-285750">
              <a:lnSpc>
                <a:spcPct val="150000"/>
              </a:lnSpc>
              <a:buFont typeface="Wingdings" panose="05000000000000000000" pitchFamily="2" charset="2"/>
              <a:buChar char="l"/>
            </a:pPr>
            <a:r>
              <a:rPr kumimoji="1" lang="zh-CN" altLang="en-US" sz="1400" dirty="0">
                <a:solidFill>
                  <a:srgbClr val="1A1918"/>
                </a:solidFill>
                <a:latin typeface="微软雅黑" panose="020B0503020204020204" pitchFamily="34" charset="-122"/>
                <a:ea typeface="微软雅黑" panose="020B0503020204020204" pitchFamily="34" charset="-122"/>
              </a:rPr>
              <a:t>维拉苷酶</a:t>
            </a:r>
            <a:r>
              <a:rPr kumimoji="1" lang="el-GR" altLang="zh-CN" sz="1400" dirty="0">
                <a:solidFill>
                  <a:srgbClr val="1A1918"/>
                </a:solidFill>
                <a:latin typeface="微软雅黑" panose="020B0503020204020204" pitchFamily="34" charset="-122"/>
                <a:ea typeface="微软雅黑" panose="020B0503020204020204" pitchFamily="34" charset="-122"/>
              </a:rPr>
              <a:t>α</a:t>
            </a:r>
            <a:r>
              <a:rPr kumimoji="1" lang="zh-CN" altLang="en-US" sz="1400" b="1" dirty="0">
                <a:solidFill>
                  <a:srgbClr val="1A1918"/>
                </a:solidFill>
                <a:latin typeface="微软雅黑" panose="020B0503020204020204" pitchFamily="34" charset="-122"/>
                <a:ea typeface="微软雅黑" panose="020B0503020204020204" pitchFamily="34" charset="-122"/>
              </a:rPr>
              <a:t>抗体产生风险低</a:t>
            </a:r>
            <a:endParaRPr kumimoji="1" lang="en-US" altLang="zh-CN" sz="1400" b="1" dirty="0">
              <a:solidFill>
                <a:srgbClr val="1A1918"/>
              </a:solidFill>
              <a:latin typeface="微软雅黑" panose="020B0503020204020204" pitchFamily="34" charset="-122"/>
              <a:ea typeface="微软雅黑" panose="020B0503020204020204" pitchFamily="34" charset="-122"/>
            </a:endParaRPr>
          </a:p>
          <a:p>
            <a:pPr marL="742950" lvl="1" indent="-285750">
              <a:lnSpc>
                <a:spcPct val="150000"/>
              </a:lnSpc>
              <a:buFont typeface="Wingdings" panose="05000000000000000000" pitchFamily="2" charset="2"/>
              <a:buChar char="Ø"/>
            </a:pPr>
            <a:r>
              <a:rPr kumimoji="1" lang="zh-CN" altLang="en-US" sz="1400" dirty="0">
                <a:solidFill>
                  <a:srgbClr val="1A1918"/>
                </a:solidFill>
                <a:latin typeface="微软雅黑" panose="020B0503020204020204" pitchFamily="34" charset="-122"/>
                <a:ea typeface="微软雅黑" panose="020B0503020204020204" pitchFamily="34" charset="-122"/>
              </a:rPr>
              <a:t>一项与伊米苷酶的头对头研究中</a:t>
            </a:r>
            <a:r>
              <a:rPr kumimoji="1" lang="zh-CN" altLang="en-US" sz="1400" b="1" dirty="0">
                <a:solidFill>
                  <a:srgbClr val="1A1918"/>
                </a:solidFill>
                <a:latin typeface="微软雅黑" panose="020B0503020204020204" pitchFamily="34" charset="-122"/>
                <a:ea typeface="微软雅黑" panose="020B0503020204020204" pitchFamily="34" charset="-122"/>
              </a:rPr>
              <a:t>，</a:t>
            </a:r>
            <a:r>
              <a:rPr kumimoji="1" lang="en-US" altLang="zh-CN" sz="1400" b="1" dirty="0">
                <a:solidFill>
                  <a:srgbClr val="C00000"/>
                </a:solidFill>
                <a:latin typeface="微软雅黑" panose="020B0503020204020204" pitchFamily="34" charset="-122"/>
                <a:ea typeface="微软雅黑" panose="020B0503020204020204" pitchFamily="34" charset="-122"/>
              </a:rPr>
              <a:t>0% (0/17) </a:t>
            </a:r>
            <a:r>
              <a:rPr kumimoji="1" lang="zh-CN" altLang="en-US" sz="1400" dirty="0">
                <a:solidFill>
                  <a:srgbClr val="1A1918"/>
                </a:solidFill>
                <a:latin typeface="微软雅黑" panose="020B0503020204020204" pitchFamily="34" charset="-122"/>
                <a:ea typeface="微软雅黑" panose="020B0503020204020204" pitchFamily="34" charset="-122"/>
              </a:rPr>
              <a:t>使用维拉苷酶</a:t>
            </a:r>
            <a:r>
              <a:rPr kumimoji="1" lang="el-GR" altLang="zh-CN" sz="1400" dirty="0">
                <a:solidFill>
                  <a:srgbClr val="1A1918"/>
                </a:solidFill>
                <a:latin typeface="微软雅黑" panose="020B0503020204020204" pitchFamily="34" charset="-122"/>
                <a:ea typeface="微软雅黑" panose="020B0503020204020204" pitchFamily="34" charset="-122"/>
              </a:rPr>
              <a:t>α</a:t>
            </a:r>
            <a:r>
              <a:rPr kumimoji="1" lang="en-US" altLang="zh-CN" sz="1400" dirty="0">
                <a:solidFill>
                  <a:srgbClr val="1A1918"/>
                </a:solidFill>
                <a:latin typeface="微软雅黑" panose="020B0503020204020204" pitchFamily="34" charset="-122"/>
                <a:ea typeface="微软雅黑" panose="020B0503020204020204" pitchFamily="34" charset="-122"/>
              </a:rPr>
              <a:t> </a:t>
            </a:r>
            <a:r>
              <a:rPr kumimoji="1" lang="zh-CN" altLang="en-US" sz="1400" dirty="0">
                <a:solidFill>
                  <a:srgbClr val="1A1918"/>
                </a:solidFill>
                <a:latin typeface="微软雅黑" panose="020B0503020204020204" pitchFamily="34" charset="-122"/>
                <a:ea typeface="微软雅黑" panose="020B0503020204020204" pitchFamily="34" charset="-122"/>
              </a:rPr>
              <a:t>的初治患者产生抗药物抗体，而接受伊米苷酶治疗的患者</a:t>
            </a:r>
            <a:r>
              <a:rPr kumimoji="1" lang="en-US" altLang="zh-CN" sz="1400" dirty="0">
                <a:solidFill>
                  <a:srgbClr val="1A1918"/>
                </a:solidFill>
                <a:latin typeface="微软雅黑" panose="020B0503020204020204" pitchFamily="34" charset="-122"/>
                <a:ea typeface="微软雅黑" panose="020B0503020204020204" pitchFamily="34" charset="-122"/>
              </a:rPr>
              <a:t>23.5% (4/17) </a:t>
            </a:r>
            <a:r>
              <a:rPr kumimoji="1" lang="zh-CN" altLang="en-US" sz="1400" dirty="0">
                <a:solidFill>
                  <a:srgbClr val="1A1918"/>
                </a:solidFill>
                <a:latin typeface="微软雅黑" panose="020B0503020204020204" pitchFamily="34" charset="-122"/>
                <a:ea typeface="微软雅黑" panose="020B0503020204020204" pitchFamily="34" charset="-122"/>
              </a:rPr>
              <a:t>产生了抗伊米苷酶抗体</a:t>
            </a:r>
            <a:endParaRPr kumimoji="1" lang="en-US" altLang="zh-CN" sz="1400" dirty="0">
              <a:solidFill>
                <a:srgbClr val="1A1918"/>
              </a:solidFill>
              <a:latin typeface="微软雅黑" panose="020B0503020204020204" pitchFamily="34" charset="-122"/>
              <a:ea typeface="微软雅黑" panose="020B0503020204020204" pitchFamily="34" charset="-122"/>
            </a:endParaRPr>
          </a:p>
          <a:p>
            <a:pPr marL="285750" indent="-285750">
              <a:lnSpc>
                <a:spcPct val="150000"/>
              </a:lnSpc>
              <a:buFont typeface="Arial" panose="020B0604020202020204" pitchFamily="34" charset="0"/>
              <a:buChar char="•"/>
            </a:pPr>
            <a:endParaRPr kumimoji="1" lang="en-US" altLang="zh-CN" sz="1400" dirty="0">
              <a:solidFill>
                <a:srgbClr val="1A1918"/>
              </a:solidFill>
              <a:latin typeface="微软雅黑" panose="020B0503020204020204" pitchFamily="34" charset="-122"/>
              <a:ea typeface="微软雅黑" panose="020B0503020204020204" pitchFamily="34" charset="-122"/>
            </a:endParaRPr>
          </a:p>
        </p:txBody>
      </p:sp>
      <p:sp>
        <p:nvSpPr>
          <p:cNvPr id="16" name="文本框 15">
            <a:extLst>
              <a:ext uri="{FF2B5EF4-FFF2-40B4-BE49-F238E27FC236}">
                <a16:creationId xmlns:a16="http://schemas.microsoft.com/office/drawing/2014/main" id="{E76631C2-C3BE-4E1B-8089-0FA87677AF83}"/>
              </a:ext>
            </a:extLst>
          </p:cNvPr>
          <p:cNvSpPr txBox="1"/>
          <p:nvPr/>
        </p:nvSpPr>
        <p:spPr>
          <a:xfrm>
            <a:off x="6411064" y="5506376"/>
            <a:ext cx="5093834" cy="700576"/>
          </a:xfrm>
          <a:prstGeom prst="rect">
            <a:avLst/>
          </a:prstGeom>
          <a:noFill/>
        </p:spPr>
        <p:txBody>
          <a:bodyPr wrap="square">
            <a:spAutoFit/>
          </a:bodyPr>
          <a:lstStyle/>
          <a:p>
            <a:pPr marL="285750" indent="-285750">
              <a:lnSpc>
                <a:spcPct val="150000"/>
              </a:lnSpc>
              <a:buFont typeface="Wingdings" panose="05000000000000000000" pitchFamily="2" charset="2"/>
              <a:buChar char="l"/>
            </a:pPr>
            <a:r>
              <a:rPr kumimoji="1" lang="zh-CN" altLang="en-US" sz="1400" dirty="0">
                <a:solidFill>
                  <a:srgbClr val="1A1918"/>
                </a:solidFill>
                <a:latin typeface="微软雅黑" panose="020B0503020204020204" pitchFamily="34" charset="-122"/>
                <a:ea typeface="微软雅黑" panose="020B0503020204020204" pitchFamily="34" charset="-122"/>
              </a:rPr>
              <a:t>维拉苷酶</a:t>
            </a:r>
            <a:r>
              <a:rPr kumimoji="1" lang="en-US" altLang="zh-CN" sz="1400" dirty="0">
                <a:solidFill>
                  <a:srgbClr val="1A1918"/>
                </a:solidFill>
                <a:latin typeface="微软雅黑" panose="020B0503020204020204" pitchFamily="34" charset="-122"/>
                <a:ea typeface="微软雅黑" panose="020B0503020204020204" pitchFamily="34" charset="-122"/>
              </a:rPr>
              <a:t>α</a:t>
            </a:r>
            <a:r>
              <a:rPr kumimoji="1" lang="zh-CN" altLang="en-US" sz="1400" dirty="0">
                <a:solidFill>
                  <a:srgbClr val="1A1918"/>
                </a:solidFill>
                <a:latin typeface="微软雅黑" panose="020B0503020204020204" pitchFamily="34" charset="-122"/>
                <a:ea typeface="微软雅黑" panose="020B0503020204020204" pitchFamily="34" charset="-122"/>
              </a:rPr>
              <a:t>在</a:t>
            </a:r>
            <a:r>
              <a:rPr kumimoji="1" lang="zh-CN" altLang="en-US" sz="1400" b="1" dirty="0">
                <a:solidFill>
                  <a:srgbClr val="1A1918"/>
                </a:solidFill>
                <a:latin typeface="微软雅黑" panose="020B0503020204020204" pitchFamily="34" charset="-122"/>
                <a:ea typeface="微软雅黑" panose="020B0503020204020204" pitchFamily="34" charset="-122"/>
              </a:rPr>
              <a:t>儿童和青少年的临床研究中，安全性特征与成人相似</a:t>
            </a:r>
            <a:endParaRPr kumimoji="1" lang="en-US" altLang="zh-CN" sz="1400" b="1" baseline="30000" dirty="0">
              <a:solidFill>
                <a:srgbClr val="1A1918"/>
              </a:solidFill>
              <a:latin typeface="微软雅黑" panose="020B0503020204020204" pitchFamily="34" charset="-122"/>
              <a:ea typeface="微软雅黑" panose="020B0503020204020204" pitchFamily="34" charset="-122"/>
            </a:endParaRPr>
          </a:p>
        </p:txBody>
      </p:sp>
      <p:graphicFrame>
        <p:nvGraphicFramePr>
          <p:cNvPr id="19" name="Content Placeholder 5">
            <a:extLst>
              <a:ext uri="{FF2B5EF4-FFF2-40B4-BE49-F238E27FC236}">
                <a16:creationId xmlns:a16="http://schemas.microsoft.com/office/drawing/2014/main" id="{BF86704A-DAF7-4943-ADE8-53ECBCC15309}"/>
              </a:ext>
            </a:extLst>
          </p:cNvPr>
          <p:cNvGraphicFramePr>
            <a:graphicFrameLocks/>
          </p:cNvGraphicFramePr>
          <p:nvPr>
            <p:extLst>
              <p:ext uri="{D42A27DB-BD31-4B8C-83A1-F6EECF244321}">
                <p14:modId xmlns:p14="http://schemas.microsoft.com/office/powerpoint/2010/main" val="1411211524"/>
              </p:ext>
            </p:extLst>
          </p:nvPr>
        </p:nvGraphicFramePr>
        <p:xfrm>
          <a:off x="7334630" y="3429000"/>
          <a:ext cx="3915005" cy="2129121"/>
        </p:xfrm>
        <a:graphic>
          <a:graphicData uri="http://schemas.openxmlformats.org/drawingml/2006/chart">
            <c:chart xmlns:c="http://schemas.openxmlformats.org/drawingml/2006/chart" xmlns:r="http://schemas.openxmlformats.org/officeDocument/2006/relationships" r:id="rId7"/>
          </a:graphicData>
        </a:graphic>
      </p:graphicFrame>
      <p:sp>
        <p:nvSpPr>
          <p:cNvPr id="21" name="文本框 20">
            <a:extLst>
              <a:ext uri="{FF2B5EF4-FFF2-40B4-BE49-F238E27FC236}">
                <a16:creationId xmlns:a16="http://schemas.microsoft.com/office/drawing/2014/main" id="{5EBDA718-B06B-438D-B8DC-EDB362727C2C}"/>
              </a:ext>
            </a:extLst>
          </p:cNvPr>
          <p:cNvSpPr txBox="1"/>
          <p:nvPr/>
        </p:nvSpPr>
        <p:spPr>
          <a:xfrm>
            <a:off x="500154" y="6506373"/>
            <a:ext cx="11391809" cy="184666"/>
          </a:xfrm>
          <a:prstGeom prst="rect">
            <a:avLst/>
          </a:prstGeom>
          <a:noFill/>
        </p:spPr>
        <p:txBody>
          <a:bodyPr wrap="square">
            <a:spAutoFit/>
          </a:bodyPr>
          <a:lstStyle/>
          <a:p>
            <a:r>
              <a:rPr lang="zh-CN" altLang="en-US" sz="600" dirty="0">
                <a:latin typeface="微软雅黑" panose="020B0503020204020204" pitchFamily="34" charset="-122"/>
                <a:ea typeface="微软雅黑" panose="020B0503020204020204" pitchFamily="34" charset="-122"/>
              </a:rPr>
              <a:t>参考文献：</a:t>
            </a:r>
            <a:r>
              <a:rPr lang="en-US" sz="600" dirty="0">
                <a:latin typeface="微软雅黑" panose="020B0503020204020204" pitchFamily="34" charset="-122"/>
                <a:ea typeface="微软雅黑" panose="020B0503020204020204" pitchFamily="34" charset="-122"/>
              </a:rPr>
              <a:t>1. </a:t>
            </a:r>
            <a:r>
              <a:rPr lang="zh-CN" altLang="en-US" sz="600" dirty="0">
                <a:latin typeface="微软雅黑" panose="020B0503020204020204" pitchFamily="34" charset="-122"/>
                <a:ea typeface="微软雅黑" panose="020B0503020204020204" pitchFamily="34" charset="-122"/>
              </a:rPr>
              <a:t>注射用维拉苷酶</a:t>
            </a:r>
            <a:r>
              <a:rPr lang="en-US" altLang="zh-CN" sz="600" dirty="0">
                <a:latin typeface="微软雅黑" panose="020B0503020204020204" pitchFamily="34" charset="-122"/>
                <a:ea typeface="微软雅黑" panose="020B0503020204020204" pitchFamily="34" charset="-122"/>
              </a:rPr>
              <a:t>α</a:t>
            </a:r>
            <a:r>
              <a:rPr lang="zh-CN" altLang="en-US" sz="600" dirty="0">
                <a:latin typeface="微软雅黑" panose="020B0503020204020204" pitchFamily="34" charset="-122"/>
                <a:ea typeface="微软雅黑" panose="020B0503020204020204" pitchFamily="34" charset="-122"/>
              </a:rPr>
              <a:t>申请上市技术审评报告；</a:t>
            </a:r>
            <a:r>
              <a:rPr lang="en-US" altLang="zh-CN" sz="600" dirty="0">
                <a:latin typeface="微软雅黑" panose="020B0503020204020204" pitchFamily="34" charset="-122"/>
                <a:ea typeface="微软雅黑" panose="020B0503020204020204" pitchFamily="34" charset="-122"/>
              </a:rPr>
              <a:t>2. PERIODIC BENEFIT-RISK EVALUATION REPORT For </a:t>
            </a:r>
            <a:r>
              <a:rPr lang="en-US" altLang="zh-CN" sz="600" dirty="0" err="1">
                <a:latin typeface="微软雅黑" panose="020B0503020204020204" pitchFamily="34" charset="-122"/>
                <a:ea typeface="微软雅黑" panose="020B0503020204020204" pitchFamily="34" charset="-122"/>
              </a:rPr>
              <a:t>Velaglucerase</a:t>
            </a:r>
            <a:r>
              <a:rPr lang="en-US" altLang="zh-CN" sz="600" dirty="0">
                <a:latin typeface="微软雅黑" panose="020B0503020204020204" pitchFamily="34" charset="-122"/>
                <a:ea typeface="微软雅黑" panose="020B0503020204020204" pitchFamily="34" charset="-122"/>
              </a:rPr>
              <a:t> alfa: 26 February 2020 to 25 February 2021. Data on file.</a:t>
            </a:r>
            <a:r>
              <a:rPr lang="zh-CN" altLang="en-US" sz="600" dirty="0">
                <a:latin typeface="微软雅黑" panose="020B0503020204020204" pitchFamily="34" charset="-122"/>
                <a:ea typeface="微软雅黑" panose="020B0503020204020204" pitchFamily="34" charset="-122"/>
              </a:rPr>
              <a:t>；</a:t>
            </a:r>
            <a:r>
              <a:rPr lang="en-US" altLang="zh-CN" sz="600" dirty="0">
                <a:latin typeface="微软雅黑" panose="020B0503020204020204" pitchFamily="34" charset="-122"/>
                <a:ea typeface="微软雅黑" panose="020B0503020204020204" pitchFamily="34" charset="-122"/>
              </a:rPr>
              <a:t>3. </a:t>
            </a:r>
            <a:r>
              <a:rPr lang="nl-NL" altLang="zh-CN" sz="600" dirty="0">
                <a:latin typeface="微软雅黑" panose="020B0503020204020204" pitchFamily="34" charset="-122"/>
                <a:ea typeface="微软雅黑" panose="020B0503020204020204" pitchFamily="34" charset="-122"/>
              </a:rPr>
              <a:t>Ben </a:t>
            </a:r>
            <a:r>
              <a:rPr lang="nl-NL" altLang="zh-CN" sz="600" dirty="0" err="1">
                <a:latin typeface="微软雅黑" panose="020B0503020204020204" pitchFamily="34" charset="-122"/>
                <a:ea typeface="微软雅黑" panose="020B0503020204020204" pitchFamily="34" charset="-122"/>
              </a:rPr>
              <a:t>Turkia</a:t>
            </a:r>
            <a:r>
              <a:rPr lang="nl-NL" altLang="zh-CN" sz="600" dirty="0">
                <a:latin typeface="微软雅黑" panose="020B0503020204020204" pitchFamily="34" charset="-122"/>
                <a:ea typeface="微软雅黑" panose="020B0503020204020204" pitchFamily="34" charset="-122"/>
              </a:rPr>
              <a:t> H, et al. Am J </a:t>
            </a:r>
            <a:r>
              <a:rPr lang="nl-NL" altLang="zh-CN" sz="600" dirty="0" err="1">
                <a:latin typeface="微软雅黑" panose="020B0503020204020204" pitchFamily="34" charset="-122"/>
                <a:ea typeface="微软雅黑" panose="020B0503020204020204" pitchFamily="34" charset="-122"/>
              </a:rPr>
              <a:t>Hematol</a:t>
            </a:r>
            <a:r>
              <a:rPr lang="nl-NL" altLang="zh-CN" sz="600" dirty="0">
                <a:latin typeface="微软雅黑" panose="020B0503020204020204" pitchFamily="34" charset="-122"/>
                <a:ea typeface="微软雅黑" panose="020B0503020204020204" pitchFamily="34" charset="-122"/>
              </a:rPr>
              <a:t>. 2013 Mar;88(3):179-84.</a:t>
            </a:r>
            <a:r>
              <a:rPr lang="zh-CN" altLang="en-US" sz="600" dirty="0">
                <a:latin typeface="微软雅黑" panose="020B0503020204020204" pitchFamily="34" charset="-122"/>
                <a:ea typeface="微软雅黑" panose="020B0503020204020204" pitchFamily="34" charset="-122"/>
              </a:rPr>
              <a:t>；</a:t>
            </a:r>
            <a:r>
              <a:rPr lang="en-US" altLang="zh-CN" sz="600" dirty="0">
                <a:latin typeface="微软雅黑" panose="020B0503020204020204" pitchFamily="34" charset="-122"/>
                <a:ea typeface="微软雅黑" panose="020B0503020204020204" pitchFamily="34" charset="-122"/>
              </a:rPr>
              <a:t>4.</a:t>
            </a:r>
            <a:r>
              <a:rPr lang="zh-CN" altLang="en-US" sz="600" dirty="0">
                <a:latin typeface="微软雅黑" panose="020B0503020204020204" pitchFamily="34" charset="-122"/>
                <a:ea typeface="微软雅黑" panose="020B0503020204020204" pitchFamily="34" charset="-122"/>
              </a:rPr>
              <a:t>注射用维拉苷酶</a:t>
            </a:r>
            <a:r>
              <a:rPr lang="en-US" altLang="zh-CN" sz="600" dirty="0">
                <a:latin typeface="微软雅黑" panose="020B0503020204020204" pitchFamily="34" charset="-122"/>
                <a:ea typeface="微软雅黑" panose="020B0503020204020204" pitchFamily="34" charset="-122"/>
              </a:rPr>
              <a:t>α</a:t>
            </a:r>
            <a:r>
              <a:rPr lang="zh-CN" altLang="en-US" sz="600" dirty="0">
                <a:latin typeface="微软雅黑" panose="020B0503020204020204" pitchFamily="34" charset="-122"/>
                <a:ea typeface="微软雅黑" panose="020B0503020204020204" pitchFamily="34" charset="-122"/>
              </a:rPr>
              <a:t>说明书</a:t>
            </a:r>
            <a:endParaRPr lang="en-US" sz="600" dirty="0">
              <a:latin typeface="微软雅黑" panose="020B0503020204020204" pitchFamily="34" charset="-122"/>
              <a:ea typeface="微软雅黑" panose="020B0503020204020204" pitchFamily="34" charset="-122"/>
            </a:endParaRPr>
          </a:p>
        </p:txBody>
      </p:sp>
      <p:grpSp>
        <p:nvGrpSpPr>
          <p:cNvPr id="23" name="Group 808">
            <a:extLst>
              <a:ext uri="{FF2B5EF4-FFF2-40B4-BE49-F238E27FC236}">
                <a16:creationId xmlns:a16="http://schemas.microsoft.com/office/drawing/2014/main" id="{4CFFAF12-5662-48A0-ADDB-71DE2A79E7DC}"/>
              </a:ext>
            </a:extLst>
          </p:cNvPr>
          <p:cNvGrpSpPr/>
          <p:nvPr/>
        </p:nvGrpSpPr>
        <p:grpSpPr>
          <a:xfrm>
            <a:off x="7911735" y="4482090"/>
            <a:ext cx="1078731" cy="700576"/>
            <a:chOff x="2413000" y="260648"/>
            <a:chExt cx="1528763" cy="1098550"/>
          </a:xfrm>
        </p:grpSpPr>
        <p:sp>
          <p:nvSpPr>
            <p:cNvPr id="24" name="Freeform 102">
              <a:extLst>
                <a:ext uri="{FF2B5EF4-FFF2-40B4-BE49-F238E27FC236}">
                  <a16:creationId xmlns:a16="http://schemas.microsoft.com/office/drawing/2014/main" id="{0A36C454-0E2A-4ADB-8C8F-F21C042DC325}"/>
                </a:ext>
              </a:extLst>
            </p:cNvPr>
            <p:cNvSpPr>
              <a:spLocks noEditPoints="1"/>
            </p:cNvSpPr>
            <p:nvPr/>
          </p:nvSpPr>
          <p:spPr bwMode="auto">
            <a:xfrm>
              <a:off x="2416175" y="260648"/>
              <a:ext cx="811213" cy="901700"/>
            </a:xfrm>
            <a:custGeom>
              <a:avLst/>
              <a:gdLst/>
              <a:ahLst/>
              <a:cxnLst>
                <a:cxn ang="0">
                  <a:pos x="25" y="565"/>
                </a:cxn>
                <a:cxn ang="0">
                  <a:pos x="27" y="568"/>
                </a:cxn>
                <a:cxn ang="0">
                  <a:pos x="27" y="567"/>
                </a:cxn>
                <a:cxn ang="0">
                  <a:pos x="88" y="222"/>
                </a:cxn>
                <a:cxn ang="0">
                  <a:pos x="76" y="239"/>
                </a:cxn>
                <a:cxn ang="0">
                  <a:pos x="50" y="278"/>
                </a:cxn>
                <a:cxn ang="0">
                  <a:pos x="27" y="320"/>
                </a:cxn>
                <a:cxn ang="0">
                  <a:pos x="9" y="362"/>
                </a:cxn>
                <a:cxn ang="0">
                  <a:pos x="4" y="382"/>
                </a:cxn>
                <a:cxn ang="0">
                  <a:pos x="0" y="403"/>
                </a:cxn>
                <a:cxn ang="0">
                  <a:pos x="2" y="402"/>
                </a:cxn>
                <a:cxn ang="0">
                  <a:pos x="2" y="402"/>
                </a:cxn>
                <a:cxn ang="0">
                  <a:pos x="7" y="417"/>
                </a:cxn>
                <a:cxn ang="0">
                  <a:pos x="21" y="457"/>
                </a:cxn>
                <a:cxn ang="0">
                  <a:pos x="24" y="445"/>
                </a:cxn>
                <a:cxn ang="0">
                  <a:pos x="25" y="436"/>
                </a:cxn>
                <a:cxn ang="0">
                  <a:pos x="38" y="391"/>
                </a:cxn>
                <a:cxn ang="0">
                  <a:pos x="46" y="375"/>
                </a:cxn>
                <a:cxn ang="0">
                  <a:pos x="53" y="358"/>
                </a:cxn>
                <a:cxn ang="0">
                  <a:pos x="65" y="335"/>
                </a:cxn>
                <a:cxn ang="0">
                  <a:pos x="75" y="320"/>
                </a:cxn>
                <a:cxn ang="0">
                  <a:pos x="93" y="295"/>
                </a:cxn>
                <a:cxn ang="0">
                  <a:pos x="90" y="270"/>
                </a:cxn>
                <a:cxn ang="0">
                  <a:pos x="88" y="261"/>
                </a:cxn>
                <a:cxn ang="0">
                  <a:pos x="88" y="222"/>
                </a:cxn>
                <a:cxn ang="0">
                  <a:pos x="188" y="194"/>
                </a:cxn>
                <a:cxn ang="0">
                  <a:pos x="155" y="207"/>
                </a:cxn>
                <a:cxn ang="0">
                  <a:pos x="151" y="210"/>
                </a:cxn>
                <a:cxn ang="0">
                  <a:pos x="141" y="224"/>
                </a:cxn>
                <a:cxn ang="0">
                  <a:pos x="133" y="245"/>
                </a:cxn>
                <a:cxn ang="0">
                  <a:pos x="147" y="231"/>
                </a:cxn>
                <a:cxn ang="0">
                  <a:pos x="188" y="194"/>
                </a:cxn>
                <a:cxn ang="0">
                  <a:pos x="498" y="60"/>
                </a:cxn>
                <a:cxn ang="0">
                  <a:pos x="481" y="62"/>
                </a:cxn>
                <a:cxn ang="0">
                  <a:pos x="474" y="63"/>
                </a:cxn>
                <a:cxn ang="0">
                  <a:pos x="472" y="63"/>
                </a:cxn>
                <a:cxn ang="0">
                  <a:pos x="496" y="64"/>
                </a:cxn>
                <a:cxn ang="0">
                  <a:pos x="496" y="63"/>
                </a:cxn>
                <a:cxn ang="0">
                  <a:pos x="496" y="63"/>
                </a:cxn>
                <a:cxn ang="0">
                  <a:pos x="495" y="62"/>
                </a:cxn>
                <a:cxn ang="0">
                  <a:pos x="494" y="63"/>
                </a:cxn>
                <a:cxn ang="0">
                  <a:pos x="494" y="63"/>
                </a:cxn>
                <a:cxn ang="0">
                  <a:pos x="496" y="60"/>
                </a:cxn>
                <a:cxn ang="0">
                  <a:pos x="440" y="0"/>
                </a:cxn>
                <a:cxn ang="0">
                  <a:pos x="431" y="0"/>
                </a:cxn>
                <a:cxn ang="0">
                  <a:pos x="420" y="1"/>
                </a:cxn>
                <a:cxn ang="0">
                  <a:pos x="349" y="26"/>
                </a:cxn>
                <a:cxn ang="0">
                  <a:pos x="288" y="54"/>
                </a:cxn>
                <a:cxn ang="0">
                  <a:pos x="272" y="63"/>
                </a:cxn>
                <a:cxn ang="0">
                  <a:pos x="247" y="80"/>
                </a:cxn>
                <a:cxn ang="0">
                  <a:pos x="269" y="74"/>
                </a:cxn>
                <a:cxn ang="0">
                  <a:pos x="356" y="56"/>
                </a:cxn>
                <a:cxn ang="0">
                  <a:pos x="439" y="47"/>
                </a:cxn>
                <a:cxn ang="0">
                  <a:pos x="511" y="43"/>
                </a:cxn>
                <a:cxn ang="0">
                  <a:pos x="511" y="43"/>
                </a:cxn>
                <a:cxn ang="0">
                  <a:pos x="507" y="37"/>
                </a:cxn>
                <a:cxn ang="0">
                  <a:pos x="506" y="33"/>
                </a:cxn>
                <a:cxn ang="0">
                  <a:pos x="508" y="30"/>
                </a:cxn>
                <a:cxn ang="0">
                  <a:pos x="510" y="26"/>
                </a:cxn>
                <a:cxn ang="0">
                  <a:pos x="506" y="17"/>
                </a:cxn>
                <a:cxn ang="0">
                  <a:pos x="498" y="12"/>
                </a:cxn>
                <a:cxn ang="0">
                  <a:pos x="477" y="5"/>
                </a:cxn>
                <a:cxn ang="0">
                  <a:pos x="451" y="0"/>
                </a:cxn>
              </a:cxnLst>
              <a:rect l="0" t="0" r="r" b="b"/>
              <a:pathLst>
                <a:path w="511" h="568">
                  <a:moveTo>
                    <a:pt x="25" y="565"/>
                  </a:moveTo>
                  <a:lnTo>
                    <a:pt x="25" y="565"/>
                  </a:lnTo>
                  <a:lnTo>
                    <a:pt x="27" y="568"/>
                  </a:lnTo>
                  <a:lnTo>
                    <a:pt x="27" y="568"/>
                  </a:lnTo>
                  <a:lnTo>
                    <a:pt x="27" y="567"/>
                  </a:lnTo>
                  <a:lnTo>
                    <a:pt x="27" y="567"/>
                  </a:lnTo>
                  <a:lnTo>
                    <a:pt x="25" y="565"/>
                  </a:lnTo>
                  <a:close/>
                  <a:moveTo>
                    <a:pt x="88" y="222"/>
                  </a:moveTo>
                  <a:lnTo>
                    <a:pt x="88" y="222"/>
                  </a:lnTo>
                  <a:lnTo>
                    <a:pt x="76" y="239"/>
                  </a:lnTo>
                  <a:lnTo>
                    <a:pt x="63" y="257"/>
                  </a:lnTo>
                  <a:lnTo>
                    <a:pt x="50" y="278"/>
                  </a:lnTo>
                  <a:lnTo>
                    <a:pt x="38" y="299"/>
                  </a:lnTo>
                  <a:lnTo>
                    <a:pt x="27" y="320"/>
                  </a:lnTo>
                  <a:lnTo>
                    <a:pt x="17" y="343"/>
                  </a:lnTo>
                  <a:lnTo>
                    <a:pt x="9" y="362"/>
                  </a:lnTo>
                  <a:lnTo>
                    <a:pt x="4" y="382"/>
                  </a:lnTo>
                  <a:lnTo>
                    <a:pt x="4" y="382"/>
                  </a:lnTo>
                  <a:lnTo>
                    <a:pt x="0" y="403"/>
                  </a:lnTo>
                  <a:lnTo>
                    <a:pt x="0" y="403"/>
                  </a:lnTo>
                  <a:lnTo>
                    <a:pt x="2" y="402"/>
                  </a:lnTo>
                  <a:lnTo>
                    <a:pt x="2" y="402"/>
                  </a:lnTo>
                  <a:lnTo>
                    <a:pt x="2" y="402"/>
                  </a:lnTo>
                  <a:lnTo>
                    <a:pt x="2" y="402"/>
                  </a:lnTo>
                  <a:lnTo>
                    <a:pt x="3" y="406"/>
                  </a:lnTo>
                  <a:lnTo>
                    <a:pt x="7" y="417"/>
                  </a:lnTo>
                  <a:lnTo>
                    <a:pt x="13" y="435"/>
                  </a:lnTo>
                  <a:lnTo>
                    <a:pt x="21" y="457"/>
                  </a:lnTo>
                  <a:lnTo>
                    <a:pt x="21" y="457"/>
                  </a:lnTo>
                  <a:lnTo>
                    <a:pt x="24" y="445"/>
                  </a:lnTo>
                  <a:lnTo>
                    <a:pt x="25" y="436"/>
                  </a:lnTo>
                  <a:lnTo>
                    <a:pt x="25" y="436"/>
                  </a:lnTo>
                  <a:lnTo>
                    <a:pt x="33" y="408"/>
                  </a:lnTo>
                  <a:lnTo>
                    <a:pt x="38" y="391"/>
                  </a:lnTo>
                  <a:lnTo>
                    <a:pt x="42" y="381"/>
                  </a:lnTo>
                  <a:lnTo>
                    <a:pt x="46" y="375"/>
                  </a:lnTo>
                  <a:lnTo>
                    <a:pt x="46" y="375"/>
                  </a:lnTo>
                  <a:lnTo>
                    <a:pt x="53" y="358"/>
                  </a:lnTo>
                  <a:lnTo>
                    <a:pt x="59" y="347"/>
                  </a:lnTo>
                  <a:lnTo>
                    <a:pt x="65" y="335"/>
                  </a:lnTo>
                  <a:lnTo>
                    <a:pt x="65" y="335"/>
                  </a:lnTo>
                  <a:lnTo>
                    <a:pt x="75" y="320"/>
                  </a:lnTo>
                  <a:lnTo>
                    <a:pt x="93" y="295"/>
                  </a:lnTo>
                  <a:lnTo>
                    <a:pt x="93" y="295"/>
                  </a:lnTo>
                  <a:lnTo>
                    <a:pt x="92" y="285"/>
                  </a:lnTo>
                  <a:lnTo>
                    <a:pt x="90" y="270"/>
                  </a:lnTo>
                  <a:lnTo>
                    <a:pt x="90" y="270"/>
                  </a:lnTo>
                  <a:lnTo>
                    <a:pt x="88" y="261"/>
                  </a:lnTo>
                  <a:lnTo>
                    <a:pt x="88" y="249"/>
                  </a:lnTo>
                  <a:lnTo>
                    <a:pt x="88" y="222"/>
                  </a:lnTo>
                  <a:close/>
                  <a:moveTo>
                    <a:pt x="188" y="194"/>
                  </a:moveTo>
                  <a:lnTo>
                    <a:pt x="188" y="194"/>
                  </a:lnTo>
                  <a:lnTo>
                    <a:pt x="167" y="202"/>
                  </a:lnTo>
                  <a:lnTo>
                    <a:pt x="155" y="207"/>
                  </a:lnTo>
                  <a:lnTo>
                    <a:pt x="155" y="207"/>
                  </a:lnTo>
                  <a:lnTo>
                    <a:pt x="151" y="210"/>
                  </a:lnTo>
                  <a:lnTo>
                    <a:pt x="147" y="214"/>
                  </a:lnTo>
                  <a:lnTo>
                    <a:pt x="141" y="224"/>
                  </a:lnTo>
                  <a:lnTo>
                    <a:pt x="137" y="236"/>
                  </a:lnTo>
                  <a:lnTo>
                    <a:pt x="133" y="245"/>
                  </a:lnTo>
                  <a:lnTo>
                    <a:pt x="133" y="245"/>
                  </a:lnTo>
                  <a:lnTo>
                    <a:pt x="147" y="231"/>
                  </a:lnTo>
                  <a:lnTo>
                    <a:pt x="147" y="231"/>
                  </a:lnTo>
                  <a:lnTo>
                    <a:pt x="188" y="194"/>
                  </a:lnTo>
                  <a:close/>
                  <a:moveTo>
                    <a:pt x="498" y="60"/>
                  </a:moveTo>
                  <a:lnTo>
                    <a:pt x="498" y="60"/>
                  </a:lnTo>
                  <a:lnTo>
                    <a:pt x="487" y="60"/>
                  </a:lnTo>
                  <a:lnTo>
                    <a:pt x="481" y="62"/>
                  </a:lnTo>
                  <a:lnTo>
                    <a:pt x="481" y="62"/>
                  </a:lnTo>
                  <a:lnTo>
                    <a:pt x="474" y="63"/>
                  </a:lnTo>
                  <a:lnTo>
                    <a:pt x="472" y="63"/>
                  </a:lnTo>
                  <a:lnTo>
                    <a:pt x="472" y="63"/>
                  </a:lnTo>
                  <a:lnTo>
                    <a:pt x="472" y="63"/>
                  </a:lnTo>
                  <a:lnTo>
                    <a:pt x="496" y="64"/>
                  </a:lnTo>
                  <a:lnTo>
                    <a:pt x="496" y="64"/>
                  </a:lnTo>
                  <a:lnTo>
                    <a:pt x="496" y="63"/>
                  </a:lnTo>
                  <a:lnTo>
                    <a:pt x="496" y="63"/>
                  </a:lnTo>
                  <a:lnTo>
                    <a:pt x="496" y="63"/>
                  </a:lnTo>
                  <a:lnTo>
                    <a:pt x="495" y="62"/>
                  </a:lnTo>
                  <a:lnTo>
                    <a:pt x="495" y="62"/>
                  </a:lnTo>
                  <a:lnTo>
                    <a:pt x="494" y="63"/>
                  </a:lnTo>
                  <a:lnTo>
                    <a:pt x="494" y="63"/>
                  </a:lnTo>
                  <a:lnTo>
                    <a:pt x="494" y="63"/>
                  </a:lnTo>
                  <a:lnTo>
                    <a:pt x="494" y="63"/>
                  </a:lnTo>
                  <a:lnTo>
                    <a:pt x="496" y="60"/>
                  </a:lnTo>
                  <a:lnTo>
                    <a:pt x="496" y="60"/>
                  </a:lnTo>
                  <a:lnTo>
                    <a:pt x="498" y="60"/>
                  </a:lnTo>
                  <a:close/>
                  <a:moveTo>
                    <a:pt x="440" y="0"/>
                  </a:moveTo>
                  <a:lnTo>
                    <a:pt x="440" y="0"/>
                  </a:lnTo>
                  <a:lnTo>
                    <a:pt x="431" y="0"/>
                  </a:lnTo>
                  <a:lnTo>
                    <a:pt x="420" y="1"/>
                  </a:lnTo>
                  <a:lnTo>
                    <a:pt x="420" y="1"/>
                  </a:lnTo>
                  <a:lnTo>
                    <a:pt x="390" y="12"/>
                  </a:lnTo>
                  <a:lnTo>
                    <a:pt x="349" y="26"/>
                  </a:lnTo>
                  <a:lnTo>
                    <a:pt x="307" y="45"/>
                  </a:lnTo>
                  <a:lnTo>
                    <a:pt x="288" y="54"/>
                  </a:lnTo>
                  <a:lnTo>
                    <a:pt x="272" y="63"/>
                  </a:lnTo>
                  <a:lnTo>
                    <a:pt x="272" y="63"/>
                  </a:lnTo>
                  <a:lnTo>
                    <a:pt x="247" y="80"/>
                  </a:lnTo>
                  <a:lnTo>
                    <a:pt x="247" y="80"/>
                  </a:lnTo>
                  <a:lnTo>
                    <a:pt x="269" y="74"/>
                  </a:lnTo>
                  <a:lnTo>
                    <a:pt x="269" y="74"/>
                  </a:lnTo>
                  <a:lnTo>
                    <a:pt x="356" y="56"/>
                  </a:lnTo>
                  <a:lnTo>
                    <a:pt x="356" y="56"/>
                  </a:lnTo>
                  <a:lnTo>
                    <a:pt x="390" y="53"/>
                  </a:lnTo>
                  <a:lnTo>
                    <a:pt x="439" y="47"/>
                  </a:lnTo>
                  <a:lnTo>
                    <a:pt x="511" y="43"/>
                  </a:lnTo>
                  <a:lnTo>
                    <a:pt x="511" y="43"/>
                  </a:lnTo>
                  <a:lnTo>
                    <a:pt x="511" y="43"/>
                  </a:lnTo>
                  <a:lnTo>
                    <a:pt x="511" y="43"/>
                  </a:lnTo>
                  <a:lnTo>
                    <a:pt x="508" y="39"/>
                  </a:lnTo>
                  <a:lnTo>
                    <a:pt x="507" y="37"/>
                  </a:lnTo>
                  <a:lnTo>
                    <a:pt x="506" y="33"/>
                  </a:lnTo>
                  <a:lnTo>
                    <a:pt x="506" y="33"/>
                  </a:lnTo>
                  <a:lnTo>
                    <a:pt x="507" y="33"/>
                  </a:lnTo>
                  <a:lnTo>
                    <a:pt x="508" y="30"/>
                  </a:lnTo>
                  <a:lnTo>
                    <a:pt x="510" y="26"/>
                  </a:lnTo>
                  <a:lnTo>
                    <a:pt x="510" y="26"/>
                  </a:lnTo>
                  <a:lnTo>
                    <a:pt x="508" y="21"/>
                  </a:lnTo>
                  <a:lnTo>
                    <a:pt x="506" y="17"/>
                  </a:lnTo>
                  <a:lnTo>
                    <a:pt x="503" y="13"/>
                  </a:lnTo>
                  <a:lnTo>
                    <a:pt x="498" y="12"/>
                  </a:lnTo>
                  <a:lnTo>
                    <a:pt x="498" y="12"/>
                  </a:lnTo>
                  <a:lnTo>
                    <a:pt x="477" y="5"/>
                  </a:lnTo>
                  <a:lnTo>
                    <a:pt x="460" y="1"/>
                  </a:lnTo>
                  <a:lnTo>
                    <a:pt x="451" y="0"/>
                  </a:lnTo>
                  <a:lnTo>
                    <a:pt x="440" y="0"/>
                  </a:lnTo>
                  <a:close/>
                </a:path>
              </a:pathLst>
            </a:custGeom>
            <a:solidFill>
              <a:srgbClr val="FCC550"/>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5" name="Freeform 103">
              <a:extLst>
                <a:ext uri="{FF2B5EF4-FFF2-40B4-BE49-F238E27FC236}">
                  <a16:creationId xmlns:a16="http://schemas.microsoft.com/office/drawing/2014/main" id="{25F65AB9-834B-491A-A020-32FB60E177DF}"/>
                </a:ext>
              </a:extLst>
            </p:cNvPr>
            <p:cNvSpPr>
              <a:spLocks/>
            </p:cNvSpPr>
            <p:nvPr/>
          </p:nvSpPr>
          <p:spPr bwMode="auto">
            <a:xfrm>
              <a:off x="2455863" y="1157586"/>
              <a:ext cx="3175" cy="4763"/>
            </a:xfrm>
            <a:custGeom>
              <a:avLst/>
              <a:gdLst/>
              <a:ahLst/>
              <a:cxnLst>
                <a:cxn ang="0">
                  <a:pos x="0" y="0"/>
                </a:cxn>
                <a:cxn ang="0">
                  <a:pos x="0" y="0"/>
                </a:cxn>
                <a:cxn ang="0">
                  <a:pos x="2" y="3"/>
                </a:cxn>
                <a:cxn ang="0">
                  <a:pos x="2" y="3"/>
                </a:cxn>
                <a:cxn ang="0">
                  <a:pos x="2" y="2"/>
                </a:cxn>
                <a:cxn ang="0">
                  <a:pos x="2" y="2"/>
                </a:cxn>
                <a:cxn ang="0">
                  <a:pos x="0" y="0"/>
                </a:cxn>
              </a:cxnLst>
              <a:rect l="0" t="0" r="r" b="b"/>
              <a:pathLst>
                <a:path w="2" h="3">
                  <a:moveTo>
                    <a:pt x="0" y="0"/>
                  </a:moveTo>
                  <a:lnTo>
                    <a:pt x="0" y="0"/>
                  </a:lnTo>
                  <a:lnTo>
                    <a:pt x="2" y="3"/>
                  </a:lnTo>
                  <a:lnTo>
                    <a:pt x="2" y="3"/>
                  </a:lnTo>
                  <a:lnTo>
                    <a:pt x="2" y="2"/>
                  </a:lnTo>
                  <a:lnTo>
                    <a:pt x="2" y="2"/>
                  </a:lnTo>
                  <a:lnTo>
                    <a:pt x="0"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6" name="Freeform 104">
              <a:extLst>
                <a:ext uri="{FF2B5EF4-FFF2-40B4-BE49-F238E27FC236}">
                  <a16:creationId xmlns:a16="http://schemas.microsoft.com/office/drawing/2014/main" id="{04B7E723-9902-4D5A-82FE-AF1D69B15CB6}"/>
                </a:ext>
              </a:extLst>
            </p:cNvPr>
            <p:cNvSpPr>
              <a:spLocks/>
            </p:cNvSpPr>
            <p:nvPr/>
          </p:nvSpPr>
          <p:spPr bwMode="auto">
            <a:xfrm>
              <a:off x="2416175" y="613073"/>
              <a:ext cx="147638" cy="373063"/>
            </a:xfrm>
            <a:custGeom>
              <a:avLst/>
              <a:gdLst/>
              <a:ahLst/>
              <a:cxnLst>
                <a:cxn ang="0">
                  <a:pos x="88" y="0"/>
                </a:cxn>
                <a:cxn ang="0">
                  <a:pos x="88" y="0"/>
                </a:cxn>
                <a:cxn ang="0">
                  <a:pos x="76" y="17"/>
                </a:cxn>
                <a:cxn ang="0">
                  <a:pos x="63" y="35"/>
                </a:cxn>
                <a:cxn ang="0">
                  <a:pos x="50" y="56"/>
                </a:cxn>
                <a:cxn ang="0">
                  <a:pos x="38" y="77"/>
                </a:cxn>
                <a:cxn ang="0">
                  <a:pos x="27" y="98"/>
                </a:cxn>
                <a:cxn ang="0">
                  <a:pos x="17" y="121"/>
                </a:cxn>
                <a:cxn ang="0">
                  <a:pos x="9" y="140"/>
                </a:cxn>
                <a:cxn ang="0">
                  <a:pos x="4" y="160"/>
                </a:cxn>
                <a:cxn ang="0">
                  <a:pos x="4" y="160"/>
                </a:cxn>
                <a:cxn ang="0">
                  <a:pos x="0" y="181"/>
                </a:cxn>
                <a:cxn ang="0">
                  <a:pos x="0" y="181"/>
                </a:cxn>
                <a:cxn ang="0">
                  <a:pos x="2" y="180"/>
                </a:cxn>
                <a:cxn ang="0">
                  <a:pos x="2" y="180"/>
                </a:cxn>
                <a:cxn ang="0">
                  <a:pos x="2" y="180"/>
                </a:cxn>
                <a:cxn ang="0">
                  <a:pos x="2" y="180"/>
                </a:cxn>
                <a:cxn ang="0">
                  <a:pos x="3" y="184"/>
                </a:cxn>
                <a:cxn ang="0">
                  <a:pos x="7" y="195"/>
                </a:cxn>
                <a:cxn ang="0">
                  <a:pos x="13" y="213"/>
                </a:cxn>
                <a:cxn ang="0">
                  <a:pos x="21" y="235"/>
                </a:cxn>
                <a:cxn ang="0">
                  <a:pos x="21" y="235"/>
                </a:cxn>
                <a:cxn ang="0">
                  <a:pos x="24" y="223"/>
                </a:cxn>
                <a:cxn ang="0">
                  <a:pos x="25" y="214"/>
                </a:cxn>
                <a:cxn ang="0">
                  <a:pos x="25" y="214"/>
                </a:cxn>
                <a:cxn ang="0">
                  <a:pos x="33" y="186"/>
                </a:cxn>
                <a:cxn ang="0">
                  <a:pos x="38" y="169"/>
                </a:cxn>
                <a:cxn ang="0">
                  <a:pos x="42" y="159"/>
                </a:cxn>
                <a:cxn ang="0">
                  <a:pos x="46" y="153"/>
                </a:cxn>
                <a:cxn ang="0">
                  <a:pos x="46" y="153"/>
                </a:cxn>
                <a:cxn ang="0">
                  <a:pos x="53" y="136"/>
                </a:cxn>
                <a:cxn ang="0">
                  <a:pos x="59" y="125"/>
                </a:cxn>
                <a:cxn ang="0">
                  <a:pos x="65" y="113"/>
                </a:cxn>
                <a:cxn ang="0">
                  <a:pos x="65" y="113"/>
                </a:cxn>
                <a:cxn ang="0">
                  <a:pos x="75" y="98"/>
                </a:cxn>
                <a:cxn ang="0">
                  <a:pos x="93" y="73"/>
                </a:cxn>
                <a:cxn ang="0">
                  <a:pos x="93" y="73"/>
                </a:cxn>
                <a:cxn ang="0">
                  <a:pos x="92" y="63"/>
                </a:cxn>
                <a:cxn ang="0">
                  <a:pos x="90" y="48"/>
                </a:cxn>
                <a:cxn ang="0">
                  <a:pos x="90" y="48"/>
                </a:cxn>
                <a:cxn ang="0">
                  <a:pos x="88" y="39"/>
                </a:cxn>
                <a:cxn ang="0">
                  <a:pos x="88" y="27"/>
                </a:cxn>
                <a:cxn ang="0">
                  <a:pos x="88" y="0"/>
                </a:cxn>
              </a:cxnLst>
              <a:rect l="0" t="0" r="r" b="b"/>
              <a:pathLst>
                <a:path w="93" h="235">
                  <a:moveTo>
                    <a:pt x="88" y="0"/>
                  </a:moveTo>
                  <a:lnTo>
                    <a:pt x="88" y="0"/>
                  </a:lnTo>
                  <a:lnTo>
                    <a:pt x="76" y="17"/>
                  </a:lnTo>
                  <a:lnTo>
                    <a:pt x="63" y="35"/>
                  </a:lnTo>
                  <a:lnTo>
                    <a:pt x="50" y="56"/>
                  </a:lnTo>
                  <a:lnTo>
                    <a:pt x="38" y="77"/>
                  </a:lnTo>
                  <a:lnTo>
                    <a:pt x="27" y="98"/>
                  </a:lnTo>
                  <a:lnTo>
                    <a:pt x="17" y="121"/>
                  </a:lnTo>
                  <a:lnTo>
                    <a:pt x="9" y="140"/>
                  </a:lnTo>
                  <a:lnTo>
                    <a:pt x="4" y="160"/>
                  </a:lnTo>
                  <a:lnTo>
                    <a:pt x="4" y="160"/>
                  </a:lnTo>
                  <a:lnTo>
                    <a:pt x="0" y="181"/>
                  </a:lnTo>
                  <a:lnTo>
                    <a:pt x="0" y="181"/>
                  </a:lnTo>
                  <a:lnTo>
                    <a:pt x="2" y="180"/>
                  </a:lnTo>
                  <a:lnTo>
                    <a:pt x="2" y="180"/>
                  </a:lnTo>
                  <a:lnTo>
                    <a:pt x="2" y="180"/>
                  </a:lnTo>
                  <a:lnTo>
                    <a:pt x="2" y="180"/>
                  </a:lnTo>
                  <a:lnTo>
                    <a:pt x="3" y="184"/>
                  </a:lnTo>
                  <a:lnTo>
                    <a:pt x="7" y="195"/>
                  </a:lnTo>
                  <a:lnTo>
                    <a:pt x="13" y="213"/>
                  </a:lnTo>
                  <a:lnTo>
                    <a:pt x="21" y="235"/>
                  </a:lnTo>
                  <a:lnTo>
                    <a:pt x="21" y="235"/>
                  </a:lnTo>
                  <a:lnTo>
                    <a:pt x="24" y="223"/>
                  </a:lnTo>
                  <a:lnTo>
                    <a:pt x="25" y="214"/>
                  </a:lnTo>
                  <a:lnTo>
                    <a:pt x="25" y="214"/>
                  </a:lnTo>
                  <a:lnTo>
                    <a:pt x="33" y="186"/>
                  </a:lnTo>
                  <a:lnTo>
                    <a:pt x="38" y="169"/>
                  </a:lnTo>
                  <a:lnTo>
                    <a:pt x="42" y="159"/>
                  </a:lnTo>
                  <a:lnTo>
                    <a:pt x="46" y="153"/>
                  </a:lnTo>
                  <a:lnTo>
                    <a:pt x="46" y="153"/>
                  </a:lnTo>
                  <a:lnTo>
                    <a:pt x="53" y="136"/>
                  </a:lnTo>
                  <a:lnTo>
                    <a:pt x="59" y="125"/>
                  </a:lnTo>
                  <a:lnTo>
                    <a:pt x="65" y="113"/>
                  </a:lnTo>
                  <a:lnTo>
                    <a:pt x="65" y="113"/>
                  </a:lnTo>
                  <a:lnTo>
                    <a:pt x="75" y="98"/>
                  </a:lnTo>
                  <a:lnTo>
                    <a:pt x="93" y="73"/>
                  </a:lnTo>
                  <a:lnTo>
                    <a:pt x="93" y="73"/>
                  </a:lnTo>
                  <a:lnTo>
                    <a:pt x="92" y="63"/>
                  </a:lnTo>
                  <a:lnTo>
                    <a:pt x="90" y="48"/>
                  </a:lnTo>
                  <a:lnTo>
                    <a:pt x="90" y="48"/>
                  </a:lnTo>
                  <a:lnTo>
                    <a:pt x="88" y="39"/>
                  </a:lnTo>
                  <a:lnTo>
                    <a:pt x="88" y="27"/>
                  </a:lnTo>
                  <a:lnTo>
                    <a:pt x="88"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7" name="Freeform 105">
              <a:extLst>
                <a:ext uri="{FF2B5EF4-FFF2-40B4-BE49-F238E27FC236}">
                  <a16:creationId xmlns:a16="http://schemas.microsoft.com/office/drawing/2014/main" id="{672A986F-20C8-4AE2-98DC-D28F5154284E}"/>
                </a:ext>
              </a:extLst>
            </p:cNvPr>
            <p:cNvSpPr>
              <a:spLocks/>
            </p:cNvSpPr>
            <p:nvPr/>
          </p:nvSpPr>
          <p:spPr bwMode="auto">
            <a:xfrm>
              <a:off x="2627313" y="568623"/>
              <a:ext cx="87313" cy="80963"/>
            </a:xfrm>
            <a:custGeom>
              <a:avLst/>
              <a:gdLst/>
              <a:ahLst/>
              <a:cxnLst>
                <a:cxn ang="0">
                  <a:pos x="55" y="0"/>
                </a:cxn>
                <a:cxn ang="0">
                  <a:pos x="55" y="0"/>
                </a:cxn>
                <a:cxn ang="0">
                  <a:pos x="34" y="8"/>
                </a:cxn>
                <a:cxn ang="0">
                  <a:pos x="22" y="13"/>
                </a:cxn>
                <a:cxn ang="0">
                  <a:pos x="22" y="13"/>
                </a:cxn>
                <a:cxn ang="0">
                  <a:pos x="18" y="16"/>
                </a:cxn>
                <a:cxn ang="0">
                  <a:pos x="14" y="20"/>
                </a:cxn>
                <a:cxn ang="0">
                  <a:pos x="8" y="30"/>
                </a:cxn>
                <a:cxn ang="0">
                  <a:pos x="4" y="42"/>
                </a:cxn>
                <a:cxn ang="0">
                  <a:pos x="0" y="51"/>
                </a:cxn>
                <a:cxn ang="0">
                  <a:pos x="0" y="51"/>
                </a:cxn>
                <a:cxn ang="0">
                  <a:pos x="14" y="37"/>
                </a:cxn>
                <a:cxn ang="0">
                  <a:pos x="14" y="37"/>
                </a:cxn>
                <a:cxn ang="0">
                  <a:pos x="55" y="0"/>
                </a:cxn>
              </a:cxnLst>
              <a:rect l="0" t="0" r="r" b="b"/>
              <a:pathLst>
                <a:path w="55" h="51">
                  <a:moveTo>
                    <a:pt x="55" y="0"/>
                  </a:moveTo>
                  <a:lnTo>
                    <a:pt x="55" y="0"/>
                  </a:lnTo>
                  <a:lnTo>
                    <a:pt x="34" y="8"/>
                  </a:lnTo>
                  <a:lnTo>
                    <a:pt x="22" y="13"/>
                  </a:lnTo>
                  <a:lnTo>
                    <a:pt x="22" y="13"/>
                  </a:lnTo>
                  <a:lnTo>
                    <a:pt x="18" y="16"/>
                  </a:lnTo>
                  <a:lnTo>
                    <a:pt x="14" y="20"/>
                  </a:lnTo>
                  <a:lnTo>
                    <a:pt x="8" y="30"/>
                  </a:lnTo>
                  <a:lnTo>
                    <a:pt x="4" y="42"/>
                  </a:lnTo>
                  <a:lnTo>
                    <a:pt x="0" y="51"/>
                  </a:lnTo>
                  <a:lnTo>
                    <a:pt x="0" y="51"/>
                  </a:lnTo>
                  <a:lnTo>
                    <a:pt x="14" y="37"/>
                  </a:lnTo>
                  <a:lnTo>
                    <a:pt x="14" y="37"/>
                  </a:lnTo>
                  <a:lnTo>
                    <a:pt x="55"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8" name="Freeform 106">
              <a:extLst>
                <a:ext uri="{FF2B5EF4-FFF2-40B4-BE49-F238E27FC236}">
                  <a16:creationId xmlns:a16="http://schemas.microsoft.com/office/drawing/2014/main" id="{03460157-0FA2-4456-802F-65FAC3CBCA87}"/>
                </a:ext>
              </a:extLst>
            </p:cNvPr>
            <p:cNvSpPr>
              <a:spLocks/>
            </p:cNvSpPr>
            <p:nvPr/>
          </p:nvSpPr>
          <p:spPr bwMode="auto">
            <a:xfrm>
              <a:off x="3165475" y="355898"/>
              <a:ext cx="41275" cy="6350"/>
            </a:xfrm>
            <a:custGeom>
              <a:avLst/>
              <a:gdLst/>
              <a:ahLst/>
              <a:cxnLst>
                <a:cxn ang="0">
                  <a:pos x="26" y="0"/>
                </a:cxn>
                <a:cxn ang="0">
                  <a:pos x="26" y="0"/>
                </a:cxn>
                <a:cxn ang="0">
                  <a:pos x="15" y="0"/>
                </a:cxn>
                <a:cxn ang="0">
                  <a:pos x="9" y="2"/>
                </a:cxn>
                <a:cxn ang="0">
                  <a:pos x="9" y="2"/>
                </a:cxn>
                <a:cxn ang="0">
                  <a:pos x="2" y="3"/>
                </a:cxn>
                <a:cxn ang="0">
                  <a:pos x="0" y="3"/>
                </a:cxn>
                <a:cxn ang="0">
                  <a:pos x="0" y="3"/>
                </a:cxn>
                <a:cxn ang="0">
                  <a:pos x="0" y="3"/>
                </a:cxn>
                <a:cxn ang="0">
                  <a:pos x="24" y="4"/>
                </a:cxn>
                <a:cxn ang="0">
                  <a:pos x="24" y="4"/>
                </a:cxn>
                <a:cxn ang="0">
                  <a:pos x="24" y="3"/>
                </a:cxn>
                <a:cxn ang="0">
                  <a:pos x="24" y="3"/>
                </a:cxn>
                <a:cxn ang="0">
                  <a:pos x="24" y="3"/>
                </a:cxn>
                <a:cxn ang="0">
                  <a:pos x="23" y="2"/>
                </a:cxn>
                <a:cxn ang="0">
                  <a:pos x="23" y="2"/>
                </a:cxn>
                <a:cxn ang="0">
                  <a:pos x="22" y="3"/>
                </a:cxn>
                <a:cxn ang="0">
                  <a:pos x="22" y="3"/>
                </a:cxn>
                <a:cxn ang="0">
                  <a:pos x="22" y="3"/>
                </a:cxn>
                <a:cxn ang="0">
                  <a:pos x="22" y="3"/>
                </a:cxn>
                <a:cxn ang="0">
                  <a:pos x="24" y="0"/>
                </a:cxn>
                <a:cxn ang="0">
                  <a:pos x="24" y="0"/>
                </a:cxn>
                <a:cxn ang="0">
                  <a:pos x="26" y="0"/>
                </a:cxn>
              </a:cxnLst>
              <a:rect l="0" t="0" r="r" b="b"/>
              <a:pathLst>
                <a:path w="26" h="4">
                  <a:moveTo>
                    <a:pt x="26" y="0"/>
                  </a:moveTo>
                  <a:lnTo>
                    <a:pt x="26" y="0"/>
                  </a:lnTo>
                  <a:lnTo>
                    <a:pt x="15" y="0"/>
                  </a:lnTo>
                  <a:lnTo>
                    <a:pt x="9" y="2"/>
                  </a:lnTo>
                  <a:lnTo>
                    <a:pt x="9" y="2"/>
                  </a:lnTo>
                  <a:lnTo>
                    <a:pt x="2" y="3"/>
                  </a:lnTo>
                  <a:lnTo>
                    <a:pt x="0" y="3"/>
                  </a:lnTo>
                  <a:lnTo>
                    <a:pt x="0" y="3"/>
                  </a:lnTo>
                  <a:lnTo>
                    <a:pt x="0" y="3"/>
                  </a:lnTo>
                  <a:lnTo>
                    <a:pt x="24" y="4"/>
                  </a:lnTo>
                  <a:lnTo>
                    <a:pt x="24" y="4"/>
                  </a:lnTo>
                  <a:lnTo>
                    <a:pt x="24" y="3"/>
                  </a:lnTo>
                  <a:lnTo>
                    <a:pt x="24" y="3"/>
                  </a:lnTo>
                  <a:lnTo>
                    <a:pt x="24" y="3"/>
                  </a:lnTo>
                  <a:lnTo>
                    <a:pt x="23" y="2"/>
                  </a:lnTo>
                  <a:lnTo>
                    <a:pt x="23" y="2"/>
                  </a:lnTo>
                  <a:lnTo>
                    <a:pt x="22" y="3"/>
                  </a:lnTo>
                  <a:lnTo>
                    <a:pt x="22" y="3"/>
                  </a:lnTo>
                  <a:lnTo>
                    <a:pt x="22" y="3"/>
                  </a:lnTo>
                  <a:lnTo>
                    <a:pt x="22" y="3"/>
                  </a:lnTo>
                  <a:lnTo>
                    <a:pt x="24" y="0"/>
                  </a:lnTo>
                  <a:lnTo>
                    <a:pt x="24" y="0"/>
                  </a:lnTo>
                  <a:lnTo>
                    <a:pt x="26"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9" name="Freeform 107">
              <a:extLst>
                <a:ext uri="{FF2B5EF4-FFF2-40B4-BE49-F238E27FC236}">
                  <a16:creationId xmlns:a16="http://schemas.microsoft.com/office/drawing/2014/main" id="{6EC0D8F6-0B08-4A40-AB58-E110D1116A92}"/>
                </a:ext>
              </a:extLst>
            </p:cNvPr>
            <p:cNvSpPr>
              <a:spLocks/>
            </p:cNvSpPr>
            <p:nvPr/>
          </p:nvSpPr>
          <p:spPr bwMode="auto">
            <a:xfrm>
              <a:off x="2808288" y="260648"/>
              <a:ext cx="419100" cy="127000"/>
            </a:xfrm>
            <a:custGeom>
              <a:avLst/>
              <a:gdLst/>
              <a:ahLst/>
              <a:cxnLst>
                <a:cxn ang="0">
                  <a:pos x="193" y="0"/>
                </a:cxn>
                <a:cxn ang="0">
                  <a:pos x="193" y="0"/>
                </a:cxn>
                <a:cxn ang="0">
                  <a:pos x="184" y="0"/>
                </a:cxn>
                <a:cxn ang="0">
                  <a:pos x="173" y="1"/>
                </a:cxn>
                <a:cxn ang="0">
                  <a:pos x="173" y="1"/>
                </a:cxn>
                <a:cxn ang="0">
                  <a:pos x="143" y="12"/>
                </a:cxn>
                <a:cxn ang="0">
                  <a:pos x="102" y="26"/>
                </a:cxn>
                <a:cxn ang="0">
                  <a:pos x="60" y="45"/>
                </a:cxn>
                <a:cxn ang="0">
                  <a:pos x="41" y="54"/>
                </a:cxn>
                <a:cxn ang="0">
                  <a:pos x="25" y="63"/>
                </a:cxn>
                <a:cxn ang="0">
                  <a:pos x="25" y="63"/>
                </a:cxn>
                <a:cxn ang="0">
                  <a:pos x="0" y="80"/>
                </a:cxn>
                <a:cxn ang="0">
                  <a:pos x="0" y="80"/>
                </a:cxn>
                <a:cxn ang="0">
                  <a:pos x="22" y="74"/>
                </a:cxn>
                <a:cxn ang="0">
                  <a:pos x="22" y="74"/>
                </a:cxn>
                <a:cxn ang="0">
                  <a:pos x="109" y="56"/>
                </a:cxn>
                <a:cxn ang="0">
                  <a:pos x="109" y="56"/>
                </a:cxn>
                <a:cxn ang="0">
                  <a:pos x="143" y="53"/>
                </a:cxn>
                <a:cxn ang="0">
                  <a:pos x="192" y="47"/>
                </a:cxn>
                <a:cxn ang="0">
                  <a:pos x="264" y="43"/>
                </a:cxn>
                <a:cxn ang="0">
                  <a:pos x="264" y="43"/>
                </a:cxn>
                <a:cxn ang="0">
                  <a:pos x="264" y="43"/>
                </a:cxn>
                <a:cxn ang="0">
                  <a:pos x="264" y="43"/>
                </a:cxn>
                <a:cxn ang="0">
                  <a:pos x="261" y="39"/>
                </a:cxn>
                <a:cxn ang="0">
                  <a:pos x="260" y="37"/>
                </a:cxn>
                <a:cxn ang="0">
                  <a:pos x="259" y="33"/>
                </a:cxn>
                <a:cxn ang="0">
                  <a:pos x="259" y="33"/>
                </a:cxn>
                <a:cxn ang="0">
                  <a:pos x="260" y="33"/>
                </a:cxn>
                <a:cxn ang="0">
                  <a:pos x="261" y="30"/>
                </a:cxn>
                <a:cxn ang="0">
                  <a:pos x="263" y="26"/>
                </a:cxn>
                <a:cxn ang="0">
                  <a:pos x="263" y="26"/>
                </a:cxn>
                <a:cxn ang="0">
                  <a:pos x="261" y="21"/>
                </a:cxn>
                <a:cxn ang="0">
                  <a:pos x="259" y="17"/>
                </a:cxn>
                <a:cxn ang="0">
                  <a:pos x="256" y="13"/>
                </a:cxn>
                <a:cxn ang="0">
                  <a:pos x="251" y="12"/>
                </a:cxn>
                <a:cxn ang="0">
                  <a:pos x="251" y="12"/>
                </a:cxn>
                <a:cxn ang="0">
                  <a:pos x="230" y="5"/>
                </a:cxn>
                <a:cxn ang="0">
                  <a:pos x="213" y="1"/>
                </a:cxn>
                <a:cxn ang="0">
                  <a:pos x="204" y="0"/>
                </a:cxn>
                <a:cxn ang="0">
                  <a:pos x="193" y="0"/>
                </a:cxn>
              </a:cxnLst>
              <a:rect l="0" t="0" r="r" b="b"/>
              <a:pathLst>
                <a:path w="264" h="80">
                  <a:moveTo>
                    <a:pt x="193" y="0"/>
                  </a:moveTo>
                  <a:lnTo>
                    <a:pt x="193" y="0"/>
                  </a:lnTo>
                  <a:lnTo>
                    <a:pt x="184" y="0"/>
                  </a:lnTo>
                  <a:lnTo>
                    <a:pt x="173" y="1"/>
                  </a:lnTo>
                  <a:lnTo>
                    <a:pt x="173" y="1"/>
                  </a:lnTo>
                  <a:lnTo>
                    <a:pt x="143" y="12"/>
                  </a:lnTo>
                  <a:lnTo>
                    <a:pt x="102" y="26"/>
                  </a:lnTo>
                  <a:lnTo>
                    <a:pt x="60" y="45"/>
                  </a:lnTo>
                  <a:lnTo>
                    <a:pt x="41" y="54"/>
                  </a:lnTo>
                  <a:lnTo>
                    <a:pt x="25" y="63"/>
                  </a:lnTo>
                  <a:lnTo>
                    <a:pt x="25" y="63"/>
                  </a:lnTo>
                  <a:lnTo>
                    <a:pt x="0" y="80"/>
                  </a:lnTo>
                  <a:lnTo>
                    <a:pt x="0" y="80"/>
                  </a:lnTo>
                  <a:lnTo>
                    <a:pt x="22" y="74"/>
                  </a:lnTo>
                  <a:lnTo>
                    <a:pt x="22" y="74"/>
                  </a:lnTo>
                  <a:lnTo>
                    <a:pt x="109" y="56"/>
                  </a:lnTo>
                  <a:lnTo>
                    <a:pt x="109" y="56"/>
                  </a:lnTo>
                  <a:lnTo>
                    <a:pt x="143" y="53"/>
                  </a:lnTo>
                  <a:lnTo>
                    <a:pt x="192" y="47"/>
                  </a:lnTo>
                  <a:lnTo>
                    <a:pt x="264" y="43"/>
                  </a:lnTo>
                  <a:lnTo>
                    <a:pt x="264" y="43"/>
                  </a:lnTo>
                  <a:lnTo>
                    <a:pt x="264" y="43"/>
                  </a:lnTo>
                  <a:lnTo>
                    <a:pt x="264" y="43"/>
                  </a:lnTo>
                  <a:lnTo>
                    <a:pt x="261" y="39"/>
                  </a:lnTo>
                  <a:lnTo>
                    <a:pt x="260" y="37"/>
                  </a:lnTo>
                  <a:lnTo>
                    <a:pt x="259" y="33"/>
                  </a:lnTo>
                  <a:lnTo>
                    <a:pt x="259" y="33"/>
                  </a:lnTo>
                  <a:lnTo>
                    <a:pt x="260" y="33"/>
                  </a:lnTo>
                  <a:lnTo>
                    <a:pt x="261" y="30"/>
                  </a:lnTo>
                  <a:lnTo>
                    <a:pt x="263" y="26"/>
                  </a:lnTo>
                  <a:lnTo>
                    <a:pt x="263" y="26"/>
                  </a:lnTo>
                  <a:lnTo>
                    <a:pt x="261" y="21"/>
                  </a:lnTo>
                  <a:lnTo>
                    <a:pt x="259" y="17"/>
                  </a:lnTo>
                  <a:lnTo>
                    <a:pt x="256" y="13"/>
                  </a:lnTo>
                  <a:lnTo>
                    <a:pt x="251" y="12"/>
                  </a:lnTo>
                  <a:lnTo>
                    <a:pt x="251" y="12"/>
                  </a:lnTo>
                  <a:lnTo>
                    <a:pt x="230" y="5"/>
                  </a:lnTo>
                  <a:lnTo>
                    <a:pt x="213" y="1"/>
                  </a:lnTo>
                  <a:lnTo>
                    <a:pt x="204" y="0"/>
                  </a:lnTo>
                  <a:lnTo>
                    <a:pt x="193"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30" name="Freeform 108">
              <a:extLst>
                <a:ext uri="{FF2B5EF4-FFF2-40B4-BE49-F238E27FC236}">
                  <a16:creationId xmlns:a16="http://schemas.microsoft.com/office/drawing/2014/main" id="{CAB74030-7AE7-4043-A38F-27BE3E491E2D}"/>
                </a:ext>
              </a:extLst>
            </p:cNvPr>
            <p:cNvSpPr>
              <a:spLocks/>
            </p:cNvSpPr>
            <p:nvPr/>
          </p:nvSpPr>
          <p:spPr bwMode="auto">
            <a:xfrm>
              <a:off x="3022600" y="1346498"/>
              <a:ext cx="104775" cy="12700"/>
            </a:xfrm>
            <a:custGeom>
              <a:avLst/>
              <a:gdLst/>
              <a:ahLst/>
              <a:cxnLst>
                <a:cxn ang="0">
                  <a:pos x="65" y="0"/>
                </a:cxn>
                <a:cxn ang="0">
                  <a:pos x="61" y="1"/>
                </a:cxn>
                <a:cxn ang="0">
                  <a:pos x="51" y="1"/>
                </a:cxn>
                <a:cxn ang="0">
                  <a:pos x="45" y="1"/>
                </a:cxn>
                <a:cxn ang="0">
                  <a:pos x="44" y="3"/>
                </a:cxn>
                <a:cxn ang="0">
                  <a:pos x="42" y="4"/>
                </a:cxn>
                <a:cxn ang="0">
                  <a:pos x="33" y="4"/>
                </a:cxn>
                <a:cxn ang="0">
                  <a:pos x="30" y="4"/>
                </a:cxn>
                <a:cxn ang="0">
                  <a:pos x="28" y="4"/>
                </a:cxn>
                <a:cxn ang="0">
                  <a:pos x="25" y="5"/>
                </a:cxn>
                <a:cxn ang="0">
                  <a:pos x="23" y="5"/>
                </a:cxn>
                <a:cxn ang="0">
                  <a:pos x="12" y="5"/>
                </a:cxn>
                <a:cxn ang="0">
                  <a:pos x="2" y="7"/>
                </a:cxn>
                <a:cxn ang="0">
                  <a:pos x="0" y="7"/>
                </a:cxn>
                <a:cxn ang="0">
                  <a:pos x="2" y="8"/>
                </a:cxn>
                <a:cxn ang="0">
                  <a:pos x="2" y="8"/>
                </a:cxn>
                <a:cxn ang="0">
                  <a:pos x="8" y="7"/>
                </a:cxn>
                <a:cxn ang="0">
                  <a:pos x="11" y="7"/>
                </a:cxn>
                <a:cxn ang="0">
                  <a:pos x="15" y="7"/>
                </a:cxn>
                <a:cxn ang="0">
                  <a:pos x="24" y="7"/>
                </a:cxn>
                <a:cxn ang="0">
                  <a:pos x="25" y="7"/>
                </a:cxn>
                <a:cxn ang="0">
                  <a:pos x="27" y="7"/>
                </a:cxn>
                <a:cxn ang="0">
                  <a:pos x="32" y="5"/>
                </a:cxn>
                <a:cxn ang="0">
                  <a:pos x="38" y="5"/>
                </a:cxn>
                <a:cxn ang="0">
                  <a:pos x="48" y="4"/>
                </a:cxn>
                <a:cxn ang="0">
                  <a:pos x="49" y="4"/>
                </a:cxn>
                <a:cxn ang="0">
                  <a:pos x="51" y="3"/>
                </a:cxn>
                <a:cxn ang="0">
                  <a:pos x="51" y="3"/>
                </a:cxn>
                <a:cxn ang="0">
                  <a:pos x="54" y="3"/>
                </a:cxn>
                <a:cxn ang="0">
                  <a:pos x="57" y="3"/>
                </a:cxn>
                <a:cxn ang="0">
                  <a:pos x="65" y="1"/>
                </a:cxn>
                <a:cxn ang="0">
                  <a:pos x="66" y="0"/>
                </a:cxn>
                <a:cxn ang="0">
                  <a:pos x="65" y="0"/>
                </a:cxn>
              </a:cxnLst>
              <a:rect l="0" t="0" r="r" b="b"/>
              <a:pathLst>
                <a:path w="66" h="8">
                  <a:moveTo>
                    <a:pt x="65" y="0"/>
                  </a:moveTo>
                  <a:lnTo>
                    <a:pt x="65" y="0"/>
                  </a:lnTo>
                  <a:lnTo>
                    <a:pt x="61" y="1"/>
                  </a:lnTo>
                  <a:lnTo>
                    <a:pt x="61" y="1"/>
                  </a:lnTo>
                  <a:lnTo>
                    <a:pt x="51" y="1"/>
                  </a:lnTo>
                  <a:lnTo>
                    <a:pt x="51" y="1"/>
                  </a:lnTo>
                  <a:lnTo>
                    <a:pt x="45" y="1"/>
                  </a:lnTo>
                  <a:lnTo>
                    <a:pt x="45" y="1"/>
                  </a:lnTo>
                  <a:lnTo>
                    <a:pt x="45" y="3"/>
                  </a:lnTo>
                  <a:lnTo>
                    <a:pt x="44" y="3"/>
                  </a:lnTo>
                  <a:lnTo>
                    <a:pt x="44" y="4"/>
                  </a:lnTo>
                  <a:lnTo>
                    <a:pt x="42" y="4"/>
                  </a:lnTo>
                  <a:lnTo>
                    <a:pt x="42" y="4"/>
                  </a:lnTo>
                  <a:lnTo>
                    <a:pt x="33" y="4"/>
                  </a:lnTo>
                  <a:lnTo>
                    <a:pt x="33" y="4"/>
                  </a:lnTo>
                  <a:lnTo>
                    <a:pt x="30" y="4"/>
                  </a:lnTo>
                  <a:lnTo>
                    <a:pt x="30" y="4"/>
                  </a:lnTo>
                  <a:lnTo>
                    <a:pt x="28" y="4"/>
                  </a:lnTo>
                  <a:lnTo>
                    <a:pt x="28" y="4"/>
                  </a:lnTo>
                  <a:lnTo>
                    <a:pt x="25" y="5"/>
                  </a:lnTo>
                  <a:lnTo>
                    <a:pt x="25" y="5"/>
                  </a:lnTo>
                  <a:lnTo>
                    <a:pt x="23" y="5"/>
                  </a:lnTo>
                  <a:lnTo>
                    <a:pt x="23" y="5"/>
                  </a:lnTo>
                  <a:lnTo>
                    <a:pt x="12" y="5"/>
                  </a:lnTo>
                  <a:lnTo>
                    <a:pt x="12" y="5"/>
                  </a:lnTo>
                  <a:lnTo>
                    <a:pt x="2" y="7"/>
                  </a:lnTo>
                  <a:lnTo>
                    <a:pt x="2" y="7"/>
                  </a:lnTo>
                  <a:lnTo>
                    <a:pt x="0" y="7"/>
                  </a:lnTo>
                  <a:lnTo>
                    <a:pt x="0" y="8"/>
                  </a:lnTo>
                  <a:lnTo>
                    <a:pt x="2" y="8"/>
                  </a:lnTo>
                  <a:lnTo>
                    <a:pt x="2" y="8"/>
                  </a:lnTo>
                  <a:lnTo>
                    <a:pt x="2" y="8"/>
                  </a:lnTo>
                  <a:lnTo>
                    <a:pt x="2" y="8"/>
                  </a:lnTo>
                  <a:lnTo>
                    <a:pt x="8" y="7"/>
                  </a:lnTo>
                  <a:lnTo>
                    <a:pt x="8" y="7"/>
                  </a:lnTo>
                  <a:lnTo>
                    <a:pt x="11" y="7"/>
                  </a:lnTo>
                  <a:lnTo>
                    <a:pt x="11" y="7"/>
                  </a:lnTo>
                  <a:lnTo>
                    <a:pt x="15" y="7"/>
                  </a:lnTo>
                  <a:lnTo>
                    <a:pt x="15" y="7"/>
                  </a:lnTo>
                  <a:lnTo>
                    <a:pt x="24" y="7"/>
                  </a:lnTo>
                  <a:lnTo>
                    <a:pt x="24" y="7"/>
                  </a:lnTo>
                  <a:lnTo>
                    <a:pt x="25" y="7"/>
                  </a:lnTo>
                  <a:lnTo>
                    <a:pt x="25" y="7"/>
                  </a:lnTo>
                  <a:lnTo>
                    <a:pt x="27" y="7"/>
                  </a:lnTo>
                  <a:lnTo>
                    <a:pt x="27" y="7"/>
                  </a:lnTo>
                  <a:lnTo>
                    <a:pt x="32" y="5"/>
                  </a:lnTo>
                  <a:lnTo>
                    <a:pt x="32" y="5"/>
                  </a:lnTo>
                  <a:lnTo>
                    <a:pt x="38" y="5"/>
                  </a:lnTo>
                  <a:lnTo>
                    <a:pt x="38" y="5"/>
                  </a:lnTo>
                  <a:lnTo>
                    <a:pt x="48" y="4"/>
                  </a:lnTo>
                  <a:lnTo>
                    <a:pt x="48" y="4"/>
                  </a:lnTo>
                  <a:lnTo>
                    <a:pt x="49" y="4"/>
                  </a:lnTo>
                  <a:lnTo>
                    <a:pt x="51" y="3"/>
                  </a:lnTo>
                  <a:lnTo>
                    <a:pt x="51" y="3"/>
                  </a:lnTo>
                  <a:lnTo>
                    <a:pt x="51" y="3"/>
                  </a:lnTo>
                  <a:lnTo>
                    <a:pt x="51" y="3"/>
                  </a:lnTo>
                  <a:lnTo>
                    <a:pt x="54" y="3"/>
                  </a:lnTo>
                  <a:lnTo>
                    <a:pt x="54" y="3"/>
                  </a:lnTo>
                  <a:lnTo>
                    <a:pt x="57" y="3"/>
                  </a:lnTo>
                  <a:lnTo>
                    <a:pt x="57" y="3"/>
                  </a:lnTo>
                  <a:lnTo>
                    <a:pt x="65" y="1"/>
                  </a:lnTo>
                  <a:lnTo>
                    <a:pt x="65" y="1"/>
                  </a:lnTo>
                  <a:lnTo>
                    <a:pt x="66" y="1"/>
                  </a:lnTo>
                  <a:lnTo>
                    <a:pt x="66" y="0"/>
                  </a:lnTo>
                  <a:lnTo>
                    <a:pt x="66" y="0"/>
                  </a:lnTo>
                  <a:lnTo>
                    <a:pt x="65" y="0"/>
                  </a:lnTo>
                  <a:close/>
                </a:path>
              </a:pathLst>
            </a:custGeom>
            <a:solidFill>
              <a:srgbClr val="FCC550"/>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32" name="Freeform 109">
              <a:extLst>
                <a:ext uri="{FF2B5EF4-FFF2-40B4-BE49-F238E27FC236}">
                  <a16:creationId xmlns:a16="http://schemas.microsoft.com/office/drawing/2014/main" id="{FAC1E387-85AE-4D39-8EFB-D11529839AED}"/>
                </a:ext>
              </a:extLst>
            </p:cNvPr>
            <p:cNvSpPr>
              <a:spLocks/>
            </p:cNvSpPr>
            <p:nvPr/>
          </p:nvSpPr>
          <p:spPr bwMode="auto">
            <a:xfrm>
              <a:off x="3022600" y="1346498"/>
              <a:ext cx="104775" cy="12700"/>
            </a:xfrm>
            <a:custGeom>
              <a:avLst/>
              <a:gdLst/>
              <a:ahLst/>
              <a:cxnLst>
                <a:cxn ang="0">
                  <a:pos x="65" y="0"/>
                </a:cxn>
                <a:cxn ang="0">
                  <a:pos x="61" y="1"/>
                </a:cxn>
                <a:cxn ang="0">
                  <a:pos x="51" y="1"/>
                </a:cxn>
                <a:cxn ang="0">
                  <a:pos x="45" y="1"/>
                </a:cxn>
                <a:cxn ang="0">
                  <a:pos x="44" y="3"/>
                </a:cxn>
                <a:cxn ang="0">
                  <a:pos x="42" y="4"/>
                </a:cxn>
                <a:cxn ang="0">
                  <a:pos x="33" y="4"/>
                </a:cxn>
                <a:cxn ang="0">
                  <a:pos x="30" y="4"/>
                </a:cxn>
                <a:cxn ang="0">
                  <a:pos x="28" y="4"/>
                </a:cxn>
                <a:cxn ang="0">
                  <a:pos x="25" y="5"/>
                </a:cxn>
                <a:cxn ang="0">
                  <a:pos x="23" y="5"/>
                </a:cxn>
                <a:cxn ang="0">
                  <a:pos x="12" y="5"/>
                </a:cxn>
                <a:cxn ang="0">
                  <a:pos x="2" y="7"/>
                </a:cxn>
                <a:cxn ang="0">
                  <a:pos x="0" y="7"/>
                </a:cxn>
                <a:cxn ang="0">
                  <a:pos x="2" y="8"/>
                </a:cxn>
                <a:cxn ang="0">
                  <a:pos x="2" y="8"/>
                </a:cxn>
                <a:cxn ang="0">
                  <a:pos x="8" y="7"/>
                </a:cxn>
                <a:cxn ang="0">
                  <a:pos x="11" y="7"/>
                </a:cxn>
                <a:cxn ang="0">
                  <a:pos x="15" y="7"/>
                </a:cxn>
                <a:cxn ang="0">
                  <a:pos x="24" y="7"/>
                </a:cxn>
                <a:cxn ang="0">
                  <a:pos x="25" y="7"/>
                </a:cxn>
                <a:cxn ang="0">
                  <a:pos x="27" y="7"/>
                </a:cxn>
                <a:cxn ang="0">
                  <a:pos x="32" y="5"/>
                </a:cxn>
                <a:cxn ang="0">
                  <a:pos x="38" y="5"/>
                </a:cxn>
                <a:cxn ang="0">
                  <a:pos x="48" y="4"/>
                </a:cxn>
                <a:cxn ang="0">
                  <a:pos x="49" y="4"/>
                </a:cxn>
                <a:cxn ang="0">
                  <a:pos x="51" y="3"/>
                </a:cxn>
                <a:cxn ang="0">
                  <a:pos x="51" y="3"/>
                </a:cxn>
                <a:cxn ang="0">
                  <a:pos x="54" y="3"/>
                </a:cxn>
                <a:cxn ang="0">
                  <a:pos x="57" y="3"/>
                </a:cxn>
                <a:cxn ang="0">
                  <a:pos x="65" y="1"/>
                </a:cxn>
                <a:cxn ang="0">
                  <a:pos x="66" y="0"/>
                </a:cxn>
                <a:cxn ang="0">
                  <a:pos x="65" y="0"/>
                </a:cxn>
              </a:cxnLst>
              <a:rect l="0" t="0" r="r" b="b"/>
              <a:pathLst>
                <a:path w="66" h="8">
                  <a:moveTo>
                    <a:pt x="65" y="0"/>
                  </a:moveTo>
                  <a:lnTo>
                    <a:pt x="65" y="0"/>
                  </a:lnTo>
                  <a:lnTo>
                    <a:pt x="61" y="1"/>
                  </a:lnTo>
                  <a:lnTo>
                    <a:pt x="61" y="1"/>
                  </a:lnTo>
                  <a:lnTo>
                    <a:pt x="51" y="1"/>
                  </a:lnTo>
                  <a:lnTo>
                    <a:pt x="51" y="1"/>
                  </a:lnTo>
                  <a:lnTo>
                    <a:pt x="45" y="1"/>
                  </a:lnTo>
                  <a:lnTo>
                    <a:pt x="45" y="1"/>
                  </a:lnTo>
                  <a:lnTo>
                    <a:pt x="45" y="3"/>
                  </a:lnTo>
                  <a:lnTo>
                    <a:pt x="44" y="3"/>
                  </a:lnTo>
                  <a:lnTo>
                    <a:pt x="44" y="4"/>
                  </a:lnTo>
                  <a:lnTo>
                    <a:pt x="42" y="4"/>
                  </a:lnTo>
                  <a:lnTo>
                    <a:pt x="42" y="4"/>
                  </a:lnTo>
                  <a:lnTo>
                    <a:pt x="33" y="4"/>
                  </a:lnTo>
                  <a:lnTo>
                    <a:pt x="33" y="4"/>
                  </a:lnTo>
                  <a:lnTo>
                    <a:pt x="30" y="4"/>
                  </a:lnTo>
                  <a:lnTo>
                    <a:pt x="30" y="4"/>
                  </a:lnTo>
                  <a:lnTo>
                    <a:pt x="28" y="4"/>
                  </a:lnTo>
                  <a:lnTo>
                    <a:pt x="28" y="4"/>
                  </a:lnTo>
                  <a:lnTo>
                    <a:pt x="25" y="5"/>
                  </a:lnTo>
                  <a:lnTo>
                    <a:pt x="25" y="5"/>
                  </a:lnTo>
                  <a:lnTo>
                    <a:pt x="23" y="5"/>
                  </a:lnTo>
                  <a:lnTo>
                    <a:pt x="23" y="5"/>
                  </a:lnTo>
                  <a:lnTo>
                    <a:pt x="12" y="5"/>
                  </a:lnTo>
                  <a:lnTo>
                    <a:pt x="12" y="5"/>
                  </a:lnTo>
                  <a:lnTo>
                    <a:pt x="2" y="7"/>
                  </a:lnTo>
                  <a:lnTo>
                    <a:pt x="2" y="7"/>
                  </a:lnTo>
                  <a:lnTo>
                    <a:pt x="0" y="7"/>
                  </a:lnTo>
                  <a:lnTo>
                    <a:pt x="0" y="8"/>
                  </a:lnTo>
                  <a:lnTo>
                    <a:pt x="2" y="8"/>
                  </a:lnTo>
                  <a:lnTo>
                    <a:pt x="2" y="8"/>
                  </a:lnTo>
                  <a:lnTo>
                    <a:pt x="2" y="8"/>
                  </a:lnTo>
                  <a:lnTo>
                    <a:pt x="2" y="8"/>
                  </a:lnTo>
                  <a:lnTo>
                    <a:pt x="8" y="7"/>
                  </a:lnTo>
                  <a:lnTo>
                    <a:pt x="8" y="7"/>
                  </a:lnTo>
                  <a:lnTo>
                    <a:pt x="11" y="7"/>
                  </a:lnTo>
                  <a:lnTo>
                    <a:pt x="11" y="7"/>
                  </a:lnTo>
                  <a:lnTo>
                    <a:pt x="15" y="7"/>
                  </a:lnTo>
                  <a:lnTo>
                    <a:pt x="15" y="7"/>
                  </a:lnTo>
                  <a:lnTo>
                    <a:pt x="24" y="7"/>
                  </a:lnTo>
                  <a:lnTo>
                    <a:pt x="24" y="7"/>
                  </a:lnTo>
                  <a:lnTo>
                    <a:pt x="25" y="7"/>
                  </a:lnTo>
                  <a:lnTo>
                    <a:pt x="25" y="7"/>
                  </a:lnTo>
                  <a:lnTo>
                    <a:pt x="27" y="7"/>
                  </a:lnTo>
                  <a:lnTo>
                    <a:pt x="27" y="7"/>
                  </a:lnTo>
                  <a:lnTo>
                    <a:pt x="32" y="5"/>
                  </a:lnTo>
                  <a:lnTo>
                    <a:pt x="32" y="5"/>
                  </a:lnTo>
                  <a:lnTo>
                    <a:pt x="38" y="5"/>
                  </a:lnTo>
                  <a:lnTo>
                    <a:pt x="38" y="5"/>
                  </a:lnTo>
                  <a:lnTo>
                    <a:pt x="48" y="4"/>
                  </a:lnTo>
                  <a:lnTo>
                    <a:pt x="48" y="4"/>
                  </a:lnTo>
                  <a:lnTo>
                    <a:pt x="49" y="4"/>
                  </a:lnTo>
                  <a:lnTo>
                    <a:pt x="51" y="3"/>
                  </a:lnTo>
                  <a:lnTo>
                    <a:pt x="51" y="3"/>
                  </a:lnTo>
                  <a:lnTo>
                    <a:pt x="51" y="3"/>
                  </a:lnTo>
                  <a:lnTo>
                    <a:pt x="51" y="3"/>
                  </a:lnTo>
                  <a:lnTo>
                    <a:pt x="54" y="3"/>
                  </a:lnTo>
                  <a:lnTo>
                    <a:pt x="54" y="3"/>
                  </a:lnTo>
                  <a:lnTo>
                    <a:pt x="57" y="3"/>
                  </a:lnTo>
                  <a:lnTo>
                    <a:pt x="57" y="3"/>
                  </a:lnTo>
                  <a:lnTo>
                    <a:pt x="65" y="1"/>
                  </a:lnTo>
                  <a:lnTo>
                    <a:pt x="65" y="1"/>
                  </a:lnTo>
                  <a:lnTo>
                    <a:pt x="66" y="1"/>
                  </a:lnTo>
                  <a:lnTo>
                    <a:pt x="66" y="0"/>
                  </a:lnTo>
                  <a:lnTo>
                    <a:pt x="66" y="0"/>
                  </a:lnTo>
                  <a:lnTo>
                    <a:pt x="65"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33" name="Freeform 110">
              <a:extLst>
                <a:ext uri="{FF2B5EF4-FFF2-40B4-BE49-F238E27FC236}">
                  <a16:creationId xmlns:a16="http://schemas.microsoft.com/office/drawing/2014/main" id="{7E521DAE-18B4-47B3-983A-EF3030377F38}"/>
                </a:ext>
              </a:extLst>
            </p:cNvPr>
            <p:cNvSpPr>
              <a:spLocks/>
            </p:cNvSpPr>
            <p:nvPr/>
          </p:nvSpPr>
          <p:spPr bwMode="auto">
            <a:xfrm>
              <a:off x="3155950" y="1332211"/>
              <a:ext cx="46038" cy="9525"/>
            </a:xfrm>
            <a:custGeom>
              <a:avLst/>
              <a:gdLst/>
              <a:ahLst/>
              <a:cxnLst>
                <a:cxn ang="0">
                  <a:pos x="29" y="0"/>
                </a:cxn>
                <a:cxn ang="0">
                  <a:pos x="29" y="0"/>
                </a:cxn>
                <a:cxn ang="0">
                  <a:pos x="25" y="1"/>
                </a:cxn>
                <a:cxn ang="0">
                  <a:pos x="25" y="1"/>
                </a:cxn>
                <a:cxn ang="0">
                  <a:pos x="17" y="2"/>
                </a:cxn>
                <a:cxn ang="0">
                  <a:pos x="17" y="2"/>
                </a:cxn>
                <a:cxn ang="0">
                  <a:pos x="8" y="4"/>
                </a:cxn>
                <a:cxn ang="0">
                  <a:pos x="0" y="5"/>
                </a:cxn>
                <a:cxn ang="0">
                  <a:pos x="0" y="5"/>
                </a:cxn>
                <a:cxn ang="0">
                  <a:pos x="3" y="6"/>
                </a:cxn>
                <a:cxn ang="0">
                  <a:pos x="3" y="6"/>
                </a:cxn>
                <a:cxn ang="0">
                  <a:pos x="4" y="6"/>
                </a:cxn>
                <a:cxn ang="0">
                  <a:pos x="4" y="6"/>
                </a:cxn>
                <a:cxn ang="0">
                  <a:pos x="7" y="5"/>
                </a:cxn>
                <a:cxn ang="0">
                  <a:pos x="7" y="5"/>
                </a:cxn>
                <a:cxn ang="0">
                  <a:pos x="13" y="4"/>
                </a:cxn>
                <a:cxn ang="0">
                  <a:pos x="13" y="4"/>
                </a:cxn>
                <a:cxn ang="0">
                  <a:pos x="21" y="4"/>
                </a:cxn>
                <a:cxn ang="0">
                  <a:pos x="21" y="4"/>
                </a:cxn>
                <a:cxn ang="0">
                  <a:pos x="27" y="2"/>
                </a:cxn>
                <a:cxn ang="0">
                  <a:pos x="27" y="2"/>
                </a:cxn>
                <a:cxn ang="0">
                  <a:pos x="29" y="2"/>
                </a:cxn>
                <a:cxn ang="0">
                  <a:pos x="29" y="1"/>
                </a:cxn>
                <a:cxn ang="0">
                  <a:pos x="29" y="1"/>
                </a:cxn>
                <a:cxn ang="0">
                  <a:pos x="29" y="0"/>
                </a:cxn>
              </a:cxnLst>
              <a:rect l="0" t="0" r="r" b="b"/>
              <a:pathLst>
                <a:path w="29" h="6">
                  <a:moveTo>
                    <a:pt x="29" y="0"/>
                  </a:moveTo>
                  <a:lnTo>
                    <a:pt x="29" y="0"/>
                  </a:lnTo>
                  <a:lnTo>
                    <a:pt x="25" y="1"/>
                  </a:lnTo>
                  <a:lnTo>
                    <a:pt x="25" y="1"/>
                  </a:lnTo>
                  <a:lnTo>
                    <a:pt x="17" y="2"/>
                  </a:lnTo>
                  <a:lnTo>
                    <a:pt x="17" y="2"/>
                  </a:lnTo>
                  <a:lnTo>
                    <a:pt x="8" y="4"/>
                  </a:lnTo>
                  <a:lnTo>
                    <a:pt x="0" y="5"/>
                  </a:lnTo>
                  <a:lnTo>
                    <a:pt x="0" y="5"/>
                  </a:lnTo>
                  <a:lnTo>
                    <a:pt x="3" y="6"/>
                  </a:lnTo>
                  <a:lnTo>
                    <a:pt x="3" y="6"/>
                  </a:lnTo>
                  <a:lnTo>
                    <a:pt x="4" y="6"/>
                  </a:lnTo>
                  <a:lnTo>
                    <a:pt x="4" y="6"/>
                  </a:lnTo>
                  <a:lnTo>
                    <a:pt x="7" y="5"/>
                  </a:lnTo>
                  <a:lnTo>
                    <a:pt x="7" y="5"/>
                  </a:lnTo>
                  <a:lnTo>
                    <a:pt x="13" y="4"/>
                  </a:lnTo>
                  <a:lnTo>
                    <a:pt x="13" y="4"/>
                  </a:lnTo>
                  <a:lnTo>
                    <a:pt x="21" y="4"/>
                  </a:lnTo>
                  <a:lnTo>
                    <a:pt x="21" y="4"/>
                  </a:lnTo>
                  <a:lnTo>
                    <a:pt x="27" y="2"/>
                  </a:lnTo>
                  <a:lnTo>
                    <a:pt x="27" y="2"/>
                  </a:lnTo>
                  <a:lnTo>
                    <a:pt x="29" y="2"/>
                  </a:lnTo>
                  <a:lnTo>
                    <a:pt x="29" y="1"/>
                  </a:lnTo>
                  <a:lnTo>
                    <a:pt x="29" y="1"/>
                  </a:lnTo>
                  <a:lnTo>
                    <a:pt x="29" y="0"/>
                  </a:lnTo>
                  <a:close/>
                </a:path>
              </a:pathLst>
            </a:custGeom>
            <a:solidFill>
              <a:srgbClr val="FCC550"/>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34" name="Freeform 111">
              <a:extLst>
                <a:ext uri="{FF2B5EF4-FFF2-40B4-BE49-F238E27FC236}">
                  <a16:creationId xmlns:a16="http://schemas.microsoft.com/office/drawing/2014/main" id="{DB1686F6-9E19-40A6-A42E-89FCB2DC0B0A}"/>
                </a:ext>
              </a:extLst>
            </p:cNvPr>
            <p:cNvSpPr>
              <a:spLocks/>
            </p:cNvSpPr>
            <p:nvPr/>
          </p:nvSpPr>
          <p:spPr bwMode="auto">
            <a:xfrm>
              <a:off x="3155950" y="1332211"/>
              <a:ext cx="46038" cy="9525"/>
            </a:xfrm>
            <a:custGeom>
              <a:avLst/>
              <a:gdLst/>
              <a:ahLst/>
              <a:cxnLst>
                <a:cxn ang="0">
                  <a:pos x="29" y="0"/>
                </a:cxn>
                <a:cxn ang="0">
                  <a:pos x="29" y="0"/>
                </a:cxn>
                <a:cxn ang="0">
                  <a:pos x="25" y="1"/>
                </a:cxn>
                <a:cxn ang="0">
                  <a:pos x="25" y="1"/>
                </a:cxn>
                <a:cxn ang="0">
                  <a:pos x="17" y="2"/>
                </a:cxn>
                <a:cxn ang="0">
                  <a:pos x="17" y="2"/>
                </a:cxn>
                <a:cxn ang="0">
                  <a:pos x="8" y="4"/>
                </a:cxn>
                <a:cxn ang="0">
                  <a:pos x="0" y="5"/>
                </a:cxn>
                <a:cxn ang="0">
                  <a:pos x="0" y="5"/>
                </a:cxn>
                <a:cxn ang="0">
                  <a:pos x="3" y="6"/>
                </a:cxn>
                <a:cxn ang="0">
                  <a:pos x="3" y="6"/>
                </a:cxn>
                <a:cxn ang="0">
                  <a:pos x="4" y="6"/>
                </a:cxn>
                <a:cxn ang="0">
                  <a:pos x="4" y="6"/>
                </a:cxn>
                <a:cxn ang="0">
                  <a:pos x="7" y="5"/>
                </a:cxn>
                <a:cxn ang="0">
                  <a:pos x="7" y="5"/>
                </a:cxn>
                <a:cxn ang="0">
                  <a:pos x="13" y="4"/>
                </a:cxn>
                <a:cxn ang="0">
                  <a:pos x="13" y="4"/>
                </a:cxn>
                <a:cxn ang="0">
                  <a:pos x="21" y="4"/>
                </a:cxn>
                <a:cxn ang="0">
                  <a:pos x="21" y="4"/>
                </a:cxn>
                <a:cxn ang="0">
                  <a:pos x="27" y="2"/>
                </a:cxn>
                <a:cxn ang="0">
                  <a:pos x="27" y="2"/>
                </a:cxn>
                <a:cxn ang="0">
                  <a:pos x="29" y="2"/>
                </a:cxn>
                <a:cxn ang="0">
                  <a:pos x="29" y="1"/>
                </a:cxn>
                <a:cxn ang="0">
                  <a:pos x="29" y="1"/>
                </a:cxn>
                <a:cxn ang="0">
                  <a:pos x="29" y="0"/>
                </a:cxn>
              </a:cxnLst>
              <a:rect l="0" t="0" r="r" b="b"/>
              <a:pathLst>
                <a:path w="29" h="6">
                  <a:moveTo>
                    <a:pt x="29" y="0"/>
                  </a:moveTo>
                  <a:lnTo>
                    <a:pt x="29" y="0"/>
                  </a:lnTo>
                  <a:lnTo>
                    <a:pt x="25" y="1"/>
                  </a:lnTo>
                  <a:lnTo>
                    <a:pt x="25" y="1"/>
                  </a:lnTo>
                  <a:lnTo>
                    <a:pt x="17" y="2"/>
                  </a:lnTo>
                  <a:lnTo>
                    <a:pt x="17" y="2"/>
                  </a:lnTo>
                  <a:lnTo>
                    <a:pt x="8" y="4"/>
                  </a:lnTo>
                  <a:lnTo>
                    <a:pt x="0" y="5"/>
                  </a:lnTo>
                  <a:lnTo>
                    <a:pt x="0" y="5"/>
                  </a:lnTo>
                  <a:lnTo>
                    <a:pt x="3" y="6"/>
                  </a:lnTo>
                  <a:lnTo>
                    <a:pt x="3" y="6"/>
                  </a:lnTo>
                  <a:lnTo>
                    <a:pt x="4" y="6"/>
                  </a:lnTo>
                  <a:lnTo>
                    <a:pt x="4" y="6"/>
                  </a:lnTo>
                  <a:lnTo>
                    <a:pt x="7" y="5"/>
                  </a:lnTo>
                  <a:lnTo>
                    <a:pt x="7" y="5"/>
                  </a:lnTo>
                  <a:lnTo>
                    <a:pt x="13" y="4"/>
                  </a:lnTo>
                  <a:lnTo>
                    <a:pt x="13" y="4"/>
                  </a:lnTo>
                  <a:lnTo>
                    <a:pt x="21" y="4"/>
                  </a:lnTo>
                  <a:lnTo>
                    <a:pt x="21" y="4"/>
                  </a:lnTo>
                  <a:lnTo>
                    <a:pt x="27" y="2"/>
                  </a:lnTo>
                  <a:lnTo>
                    <a:pt x="27" y="2"/>
                  </a:lnTo>
                  <a:lnTo>
                    <a:pt x="29" y="2"/>
                  </a:lnTo>
                  <a:lnTo>
                    <a:pt x="29" y="1"/>
                  </a:lnTo>
                  <a:lnTo>
                    <a:pt x="29" y="1"/>
                  </a:lnTo>
                  <a:lnTo>
                    <a:pt x="29"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35" name="Freeform 112">
              <a:extLst>
                <a:ext uri="{FF2B5EF4-FFF2-40B4-BE49-F238E27FC236}">
                  <a16:creationId xmlns:a16="http://schemas.microsoft.com/office/drawing/2014/main" id="{92662DDE-3C2A-4F63-AAD1-00FECD78E7D6}"/>
                </a:ext>
              </a:extLst>
            </p:cNvPr>
            <p:cNvSpPr>
              <a:spLocks/>
            </p:cNvSpPr>
            <p:nvPr/>
          </p:nvSpPr>
          <p:spPr bwMode="auto">
            <a:xfrm>
              <a:off x="3214688" y="1308398"/>
              <a:ext cx="101600" cy="25400"/>
            </a:xfrm>
            <a:custGeom>
              <a:avLst/>
              <a:gdLst/>
              <a:ahLst/>
              <a:cxnLst>
                <a:cxn ang="0">
                  <a:pos x="63" y="0"/>
                </a:cxn>
                <a:cxn ang="0">
                  <a:pos x="63" y="0"/>
                </a:cxn>
                <a:cxn ang="0">
                  <a:pos x="55" y="2"/>
                </a:cxn>
                <a:cxn ang="0">
                  <a:pos x="55" y="2"/>
                </a:cxn>
                <a:cxn ang="0">
                  <a:pos x="49" y="4"/>
                </a:cxn>
                <a:cxn ang="0">
                  <a:pos x="49" y="4"/>
                </a:cxn>
                <a:cxn ang="0">
                  <a:pos x="42" y="6"/>
                </a:cxn>
                <a:cxn ang="0">
                  <a:pos x="35" y="7"/>
                </a:cxn>
                <a:cxn ang="0">
                  <a:pos x="35" y="7"/>
                </a:cxn>
                <a:cxn ang="0">
                  <a:pos x="25" y="10"/>
                </a:cxn>
                <a:cxn ang="0">
                  <a:pos x="25" y="10"/>
                </a:cxn>
                <a:cxn ang="0">
                  <a:pos x="13" y="12"/>
                </a:cxn>
                <a:cxn ang="0">
                  <a:pos x="13" y="12"/>
                </a:cxn>
                <a:cxn ang="0">
                  <a:pos x="7" y="13"/>
                </a:cxn>
                <a:cxn ang="0">
                  <a:pos x="1" y="13"/>
                </a:cxn>
                <a:cxn ang="0">
                  <a:pos x="1" y="13"/>
                </a:cxn>
                <a:cxn ang="0">
                  <a:pos x="0" y="15"/>
                </a:cxn>
                <a:cxn ang="0">
                  <a:pos x="0" y="16"/>
                </a:cxn>
                <a:cxn ang="0">
                  <a:pos x="1" y="16"/>
                </a:cxn>
                <a:cxn ang="0">
                  <a:pos x="1" y="16"/>
                </a:cxn>
                <a:cxn ang="0">
                  <a:pos x="1" y="16"/>
                </a:cxn>
                <a:cxn ang="0">
                  <a:pos x="1" y="16"/>
                </a:cxn>
                <a:cxn ang="0">
                  <a:pos x="9" y="15"/>
                </a:cxn>
                <a:cxn ang="0">
                  <a:pos x="9" y="15"/>
                </a:cxn>
                <a:cxn ang="0">
                  <a:pos x="12" y="15"/>
                </a:cxn>
                <a:cxn ang="0">
                  <a:pos x="14" y="13"/>
                </a:cxn>
                <a:cxn ang="0">
                  <a:pos x="14" y="13"/>
                </a:cxn>
                <a:cxn ang="0">
                  <a:pos x="22" y="12"/>
                </a:cxn>
                <a:cxn ang="0">
                  <a:pos x="22" y="12"/>
                </a:cxn>
                <a:cxn ang="0">
                  <a:pos x="30" y="10"/>
                </a:cxn>
                <a:cxn ang="0">
                  <a:pos x="30" y="10"/>
                </a:cxn>
                <a:cxn ang="0">
                  <a:pos x="34" y="8"/>
                </a:cxn>
                <a:cxn ang="0">
                  <a:pos x="38" y="7"/>
                </a:cxn>
                <a:cxn ang="0">
                  <a:pos x="38" y="7"/>
                </a:cxn>
                <a:cxn ang="0">
                  <a:pos x="42" y="7"/>
                </a:cxn>
                <a:cxn ang="0">
                  <a:pos x="47" y="7"/>
                </a:cxn>
                <a:cxn ang="0">
                  <a:pos x="47" y="7"/>
                </a:cxn>
                <a:cxn ang="0">
                  <a:pos x="51" y="6"/>
                </a:cxn>
                <a:cxn ang="0">
                  <a:pos x="58" y="3"/>
                </a:cxn>
                <a:cxn ang="0">
                  <a:pos x="58" y="3"/>
                </a:cxn>
                <a:cxn ang="0">
                  <a:pos x="64" y="0"/>
                </a:cxn>
                <a:cxn ang="0">
                  <a:pos x="64" y="0"/>
                </a:cxn>
                <a:cxn ang="0">
                  <a:pos x="64" y="0"/>
                </a:cxn>
                <a:cxn ang="0">
                  <a:pos x="63" y="0"/>
                </a:cxn>
              </a:cxnLst>
              <a:rect l="0" t="0" r="r" b="b"/>
              <a:pathLst>
                <a:path w="64" h="16">
                  <a:moveTo>
                    <a:pt x="63" y="0"/>
                  </a:moveTo>
                  <a:lnTo>
                    <a:pt x="63" y="0"/>
                  </a:lnTo>
                  <a:lnTo>
                    <a:pt x="55" y="2"/>
                  </a:lnTo>
                  <a:lnTo>
                    <a:pt x="55" y="2"/>
                  </a:lnTo>
                  <a:lnTo>
                    <a:pt x="49" y="4"/>
                  </a:lnTo>
                  <a:lnTo>
                    <a:pt x="49" y="4"/>
                  </a:lnTo>
                  <a:lnTo>
                    <a:pt x="42" y="6"/>
                  </a:lnTo>
                  <a:lnTo>
                    <a:pt x="35" y="7"/>
                  </a:lnTo>
                  <a:lnTo>
                    <a:pt x="35" y="7"/>
                  </a:lnTo>
                  <a:lnTo>
                    <a:pt x="25" y="10"/>
                  </a:lnTo>
                  <a:lnTo>
                    <a:pt x="25" y="10"/>
                  </a:lnTo>
                  <a:lnTo>
                    <a:pt x="13" y="12"/>
                  </a:lnTo>
                  <a:lnTo>
                    <a:pt x="13" y="12"/>
                  </a:lnTo>
                  <a:lnTo>
                    <a:pt x="7" y="13"/>
                  </a:lnTo>
                  <a:lnTo>
                    <a:pt x="1" y="13"/>
                  </a:lnTo>
                  <a:lnTo>
                    <a:pt x="1" y="13"/>
                  </a:lnTo>
                  <a:lnTo>
                    <a:pt x="0" y="15"/>
                  </a:lnTo>
                  <a:lnTo>
                    <a:pt x="0" y="16"/>
                  </a:lnTo>
                  <a:lnTo>
                    <a:pt x="1" y="16"/>
                  </a:lnTo>
                  <a:lnTo>
                    <a:pt x="1" y="16"/>
                  </a:lnTo>
                  <a:lnTo>
                    <a:pt x="1" y="16"/>
                  </a:lnTo>
                  <a:lnTo>
                    <a:pt x="1" y="16"/>
                  </a:lnTo>
                  <a:lnTo>
                    <a:pt x="9" y="15"/>
                  </a:lnTo>
                  <a:lnTo>
                    <a:pt x="9" y="15"/>
                  </a:lnTo>
                  <a:lnTo>
                    <a:pt x="12" y="15"/>
                  </a:lnTo>
                  <a:lnTo>
                    <a:pt x="14" y="13"/>
                  </a:lnTo>
                  <a:lnTo>
                    <a:pt x="14" y="13"/>
                  </a:lnTo>
                  <a:lnTo>
                    <a:pt x="22" y="12"/>
                  </a:lnTo>
                  <a:lnTo>
                    <a:pt x="22" y="12"/>
                  </a:lnTo>
                  <a:lnTo>
                    <a:pt x="30" y="10"/>
                  </a:lnTo>
                  <a:lnTo>
                    <a:pt x="30" y="10"/>
                  </a:lnTo>
                  <a:lnTo>
                    <a:pt x="34" y="8"/>
                  </a:lnTo>
                  <a:lnTo>
                    <a:pt x="38" y="7"/>
                  </a:lnTo>
                  <a:lnTo>
                    <a:pt x="38" y="7"/>
                  </a:lnTo>
                  <a:lnTo>
                    <a:pt x="42" y="7"/>
                  </a:lnTo>
                  <a:lnTo>
                    <a:pt x="47" y="7"/>
                  </a:lnTo>
                  <a:lnTo>
                    <a:pt x="47" y="7"/>
                  </a:lnTo>
                  <a:lnTo>
                    <a:pt x="51" y="6"/>
                  </a:lnTo>
                  <a:lnTo>
                    <a:pt x="58" y="3"/>
                  </a:lnTo>
                  <a:lnTo>
                    <a:pt x="58" y="3"/>
                  </a:lnTo>
                  <a:lnTo>
                    <a:pt x="64" y="0"/>
                  </a:lnTo>
                  <a:lnTo>
                    <a:pt x="64" y="0"/>
                  </a:lnTo>
                  <a:lnTo>
                    <a:pt x="64" y="0"/>
                  </a:lnTo>
                  <a:lnTo>
                    <a:pt x="63" y="0"/>
                  </a:lnTo>
                  <a:close/>
                </a:path>
              </a:pathLst>
            </a:custGeom>
            <a:solidFill>
              <a:srgbClr val="FCC550"/>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36" name="Freeform 113">
              <a:extLst>
                <a:ext uri="{FF2B5EF4-FFF2-40B4-BE49-F238E27FC236}">
                  <a16:creationId xmlns:a16="http://schemas.microsoft.com/office/drawing/2014/main" id="{F5A2B9B4-5193-4AFE-B3B5-0E81E2FA90A4}"/>
                </a:ext>
              </a:extLst>
            </p:cNvPr>
            <p:cNvSpPr>
              <a:spLocks/>
            </p:cNvSpPr>
            <p:nvPr/>
          </p:nvSpPr>
          <p:spPr bwMode="auto">
            <a:xfrm>
              <a:off x="3214688" y="1308398"/>
              <a:ext cx="101600" cy="25400"/>
            </a:xfrm>
            <a:custGeom>
              <a:avLst/>
              <a:gdLst/>
              <a:ahLst/>
              <a:cxnLst>
                <a:cxn ang="0">
                  <a:pos x="63" y="0"/>
                </a:cxn>
                <a:cxn ang="0">
                  <a:pos x="63" y="0"/>
                </a:cxn>
                <a:cxn ang="0">
                  <a:pos x="55" y="2"/>
                </a:cxn>
                <a:cxn ang="0">
                  <a:pos x="55" y="2"/>
                </a:cxn>
                <a:cxn ang="0">
                  <a:pos x="49" y="4"/>
                </a:cxn>
                <a:cxn ang="0">
                  <a:pos x="49" y="4"/>
                </a:cxn>
                <a:cxn ang="0">
                  <a:pos x="42" y="6"/>
                </a:cxn>
                <a:cxn ang="0">
                  <a:pos x="35" y="7"/>
                </a:cxn>
                <a:cxn ang="0">
                  <a:pos x="35" y="7"/>
                </a:cxn>
                <a:cxn ang="0">
                  <a:pos x="25" y="10"/>
                </a:cxn>
                <a:cxn ang="0">
                  <a:pos x="25" y="10"/>
                </a:cxn>
                <a:cxn ang="0">
                  <a:pos x="13" y="12"/>
                </a:cxn>
                <a:cxn ang="0">
                  <a:pos x="13" y="12"/>
                </a:cxn>
                <a:cxn ang="0">
                  <a:pos x="7" y="13"/>
                </a:cxn>
                <a:cxn ang="0">
                  <a:pos x="1" y="13"/>
                </a:cxn>
                <a:cxn ang="0">
                  <a:pos x="1" y="13"/>
                </a:cxn>
                <a:cxn ang="0">
                  <a:pos x="0" y="15"/>
                </a:cxn>
                <a:cxn ang="0">
                  <a:pos x="0" y="16"/>
                </a:cxn>
                <a:cxn ang="0">
                  <a:pos x="1" y="16"/>
                </a:cxn>
                <a:cxn ang="0">
                  <a:pos x="1" y="16"/>
                </a:cxn>
                <a:cxn ang="0">
                  <a:pos x="1" y="16"/>
                </a:cxn>
                <a:cxn ang="0">
                  <a:pos x="1" y="16"/>
                </a:cxn>
                <a:cxn ang="0">
                  <a:pos x="9" y="15"/>
                </a:cxn>
                <a:cxn ang="0">
                  <a:pos x="9" y="15"/>
                </a:cxn>
                <a:cxn ang="0">
                  <a:pos x="12" y="15"/>
                </a:cxn>
                <a:cxn ang="0">
                  <a:pos x="14" y="13"/>
                </a:cxn>
                <a:cxn ang="0">
                  <a:pos x="14" y="13"/>
                </a:cxn>
                <a:cxn ang="0">
                  <a:pos x="22" y="12"/>
                </a:cxn>
                <a:cxn ang="0">
                  <a:pos x="22" y="12"/>
                </a:cxn>
                <a:cxn ang="0">
                  <a:pos x="30" y="10"/>
                </a:cxn>
                <a:cxn ang="0">
                  <a:pos x="30" y="10"/>
                </a:cxn>
                <a:cxn ang="0">
                  <a:pos x="34" y="8"/>
                </a:cxn>
                <a:cxn ang="0">
                  <a:pos x="38" y="7"/>
                </a:cxn>
                <a:cxn ang="0">
                  <a:pos x="38" y="7"/>
                </a:cxn>
                <a:cxn ang="0">
                  <a:pos x="42" y="7"/>
                </a:cxn>
                <a:cxn ang="0">
                  <a:pos x="47" y="7"/>
                </a:cxn>
                <a:cxn ang="0">
                  <a:pos x="47" y="7"/>
                </a:cxn>
                <a:cxn ang="0">
                  <a:pos x="51" y="6"/>
                </a:cxn>
                <a:cxn ang="0">
                  <a:pos x="58" y="3"/>
                </a:cxn>
                <a:cxn ang="0">
                  <a:pos x="58" y="3"/>
                </a:cxn>
                <a:cxn ang="0">
                  <a:pos x="64" y="0"/>
                </a:cxn>
                <a:cxn ang="0">
                  <a:pos x="64" y="0"/>
                </a:cxn>
                <a:cxn ang="0">
                  <a:pos x="64" y="0"/>
                </a:cxn>
                <a:cxn ang="0">
                  <a:pos x="63" y="0"/>
                </a:cxn>
              </a:cxnLst>
              <a:rect l="0" t="0" r="r" b="b"/>
              <a:pathLst>
                <a:path w="64" h="16">
                  <a:moveTo>
                    <a:pt x="63" y="0"/>
                  </a:moveTo>
                  <a:lnTo>
                    <a:pt x="63" y="0"/>
                  </a:lnTo>
                  <a:lnTo>
                    <a:pt x="55" y="2"/>
                  </a:lnTo>
                  <a:lnTo>
                    <a:pt x="55" y="2"/>
                  </a:lnTo>
                  <a:lnTo>
                    <a:pt x="49" y="4"/>
                  </a:lnTo>
                  <a:lnTo>
                    <a:pt x="49" y="4"/>
                  </a:lnTo>
                  <a:lnTo>
                    <a:pt x="42" y="6"/>
                  </a:lnTo>
                  <a:lnTo>
                    <a:pt x="35" y="7"/>
                  </a:lnTo>
                  <a:lnTo>
                    <a:pt x="35" y="7"/>
                  </a:lnTo>
                  <a:lnTo>
                    <a:pt x="25" y="10"/>
                  </a:lnTo>
                  <a:lnTo>
                    <a:pt x="25" y="10"/>
                  </a:lnTo>
                  <a:lnTo>
                    <a:pt x="13" y="12"/>
                  </a:lnTo>
                  <a:lnTo>
                    <a:pt x="13" y="12"/>
                  </a:lnTo>
                  <a:lnTo>
                    <a:pt x="7" y="13"/>
                  </a:lnTo>
                  <a:lnTo>
                    <a:pt x="1" y="13"/>
                  </a:lnTo>
                  <a:lnTo>
                    <a:pt x="1" y="13"/>
                  </a:lnTo>
                  <a:lnTo>
                    <a:pt x="0" y="15"/>
                  </a:lnTo>
                  <a:lnTo>
                    <a:pt x="0" y="16"/>
                  </a:lnTo>
                  <a:lnTo>
                    <a:pt x="1" y="16"/>
                  </a:lnTo>
                  <a:lnTo>
                    <a:pt x="1" y="16"/>
                  </a:lnTo>
                  <a:lnTo>
                    <a:pt x="1" y="16"/>
                  </a:lnTo>
                  <a:lnTo>
                    <a:pt x="1" y="16"/>
                  </a:lnTo>
                  <a:lnTo>
                    <a:pt x="9" y="15"/>
                  </a:lnTo>
                  <a:lnTo>
                    <a:pt x="9" y="15"/>
                  </a:lnTo>
                  <a:lnTo>
                    <a:pt x="12" y="15"/>
                  </a:lnTo>
                  <a:lnTo>
                    <a:pt x="14" y="13"/>
                  </a:lnTo>
                  <a:lnTo>
                    <a:pt x="14" y="13"/>
                  </a:lnTo>
                  <a:lnTo>
                    <a:pt x="22" y="12"/>
                  </a:lnTo>
                  <a:lnTo>
                    <a:pt x="22" y="12"/>
                  </a:lnTo>
                  <a:lnTo>
                    <a:pt x="30" y="10"/>
                  </a:lnTo>
                  <a:lnTo>
                    <a:pt x="30" y="10"/>
                  </a:lnTo>
                  <a:lnTo>
                    <a:pt x="34" y="8"/>
                  </a:lnTo>
                  <a:lnTo>
                    <a:pt x="38" y="7"/>
                  </a:lnTo>
                  <a:lnTo>
                    <a:pt x="38" y="7"/>
                  </a:lnTo>
                  <a:lnTo>
                    <a:pt x="42" y="7"/>
                  </a:lnTo>
                  <a:lnTo>
                    <a:pt x="47" y="7"/>
                  </a:lnTo>
                  <a:lnTo>
                    <a:pt x="47" y="7"/>
                  </a:lnTo>
                  <a:lnTo>
                    <a:pt x="51" y="6"/>
                  </a:lnTo>
                  <a:lnTo>
                    <a:pt x="58" y="3"/>
                  </a:lnTo>
                  <a:lnTo>
                    <a:pt x="58" y="3"/>
                  </a:lnTo>
                  <a:lnTo>
                    <a:pt x="64" y="0"/>
                  </a:lnTo>
                  <a:lnTo>
                    <a:pt x="64" y="0"/>
                  </a:lnTo>
                  <a:lnTo>
                    <a:pt x="64" y="0"/>
                  </a:lnTo>
                  <a:lnTo>
                    <a:pt x="63"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38" name="Freeform 114">
              <a:extLst>
                <a:ext uri="{FF2B5EF4-FFF2-40B4-BE49-F238E27FC236}">
                  <a16:creationId xmlns:a16="http://schemas.microsoft.com/office/drawing/2014/main" id="{E4F4DDB9-A626-4102-A8D1-883D9CA40645}"/>
                </a:ext>
              </a:extLst>
            </p:cNvPr>
            <p:cNvSpPr>
              <a:spLocks noEditPoints="1"/>
            </p:cNvSpPr>
            <p:nvPr/>
          </p:nvSpPr>
          <p:spPr bwMode="auto">
            <a:xfrm>
              <a:off x="2413000" y="708323"/>
              <a:ext cx="1527175" cy="650875"/>
            </a:xfrm>
            <a:custGeom>
              <a:avLst/>
              <a:gdLst/>
              <a:ahLst/>
              <a:cxnLst>
                <a:cxn ang="0">
                  <a:pos x="5" y="221"/>
                </a:cxn>
                <a:cxn ang="0">
                  <a:pos x="15" y="252"/>
                </a:cxn>
                <a:cxn ang="0">
                  <a:pos x="1" y="158"/>
                </a:cxn>
                <a:cxn ang="0">
                  <a:pos x="474" y="332"/>
                </a:cxn>
                <a:cxn ang="0">
                  <a:pos x="672" y="283"/>
                </a:cxn>
                <a:cxn ang="0">
                  <a:pos x="824" y="214"/>
                </a:cxn>
                <a:cxn ang="0">
                  <a:pos x="741" y="258"/>
                </a:cxn>
                <a:cxn ang="0">
                  <a:pos x="724" y="265"/>
                </a:cxn>
                <a:cxn ang="0">
                  <a:pos x="602" y="309"/>
                </a:cxn>
                <a:cxn ang="0">
                  <a:pos x="530" y="327"/>
                </a:cxn>
                <a:cxn ang="0">
                  <a:pos x="497" y="336"/>
                </a:cxn>
                <a:cxn ang="0">
                  <a:pos x="471" y="336"/>
                </a:cxn>
                <a:cxn ang="0">
                  <a:pos x="934" y="84"/>
                </a:cxn>
                <a:cxn ang="0">
                  <a:pos x="854" y="175"/>
                </a:cxn>
                <a:cxn ang="0">
                  <a:pos x="714" y="251"/>
                </a:cxn>
                <a:cxn ang="0">
                  <a:pos x="428" y="325"/>
                </a:cxn>
                <a:cxn ang="0">
                  <a:pos x="260" y="322"/>
                </a:cxn>
                <a:cxn ang="0">
                  <a:pos x="114" y="283"/>
                </a:cxn>
                <a:cxn ang="0">
                  <a:pos x="31" y="191"/>
                </a:cxn>
                <a:cxn ang="0">
                  <a:pos x="29" y="285"/>
                </a:cxn>
                <a:cxn ang="0">
                  <a:pos x="69" y="336"/>
                </a:cxn>
                <a:cxn ang="0">
                  <a:pos x="165" y="389"/>
                </a:cxn>
                <a:cxn ang="0">
                  <a:pos x="253" y="406"/>
                </a:cxn>
                <a:cxn ang="0">
                  <a:pos x="374" y="410"/>
                </a:cxn>
                <a:cxn ang="0">
                  <a:pos x="350" y="409"/>
                </a:cxn>
                <a:cxn ang="0">
                  <a:pos x="225" y="399"/>
                </a:cxn>
                <a:cxn ang="0">
                  <a:pos x="181" y="388"/>
                </a:cxn>
                <a:cxn ang="0">
                  <a:pos x="199" y="389"/>
                </a:cxn>
                <a:cxn ang="0">
                  <a:pos x="285" y="402"/>
                </a:cxn>
                <a:cxn ang="0">
                  <a:pos x="358" y="403"/>
                </a:cxn>
                <a:cxn ang="0">
                  <a:pos x="366" y="397"/>
                </a:cxn>
                <a:cxn ang="0">
                  <a:pos x="379" y="399"/>
                </a:cxn>
                <a:cxn ang="0">
                  <a:pos x="399" y="399"/>
                </a:cxn>
                <a:cxn ang="0">
                  <a:pos x="412" y="393"/>
                </a:cxn>
                <a:cxn ang="0">
                  <a:pos x="424" y="393"/>
                </a:cxn>
                <a:cxn ang="0">
                  <a:pos x="430" y="397"/>
                </a:cxn>
                <a:cxn ang="0">
                  <a:pos x="456" y="391"/>
                </a:cxn>
                <a:cxn ang="0">
                  <a:pos x="496" y="388"/>
                </a:cxn>
                <a:cxn ang="0">
                  <a:pos x="522" y="382"/>
                </a:cxn>
                <a:cxn ang="0">
                  <a:pos x="551" y="374"/>
                </a:cxn>
                <a:cxn ang="0">
                  <a:pos x="576" y="369"/>
                </a:cxn>
                <a:cxn ang="0">
                  <a:pos x="586" y="360"/>
                </a:cxn>
                <a:cxn ang="0">
                  <a:pos x="586" y="364"/>
                </a:cxn>
                <a:cxn ang="0">
                  <a:pos x="584" y="368"/>
                </a:cxn>
                <a:cxn ang="0">
                  <a:pos x="623" y="355"/>
                </a:cxn>
                <a:cxn ang="0">
                  <a:pos x="638" y="347"/>
                </a:cxn>
                <a:cxn ang="0">
                  <a:pos x="653" y="344"/>
                </a:cxn>
                <a:cxn ang="0">
                  <a:pos x="663" y="344"/>
                </a:cxn>
                <a:cxn ang="0">
                  <a:pos x="672" y="336"/>
                </a:cxn>
                <a:cxn ang="0">
                  <a:pos x="680" y="339"/>
                </a:cxn>
                <a:cxn ang="0">
                  <a:pos x="690" y="330"/>
                </a:cxn>
                <a:cxn ang="0">
                  <a:pos x="703" y="327"/>
                </a:cxn>
                <a:cxn ang="0">
                  <a:pos x="709" y="327"/>
                </a:cxn>
                <a:cxn ang="0">
                  <a:pos x="724" y="321"/>
                </a:cxn>
                <a:cxn ang="0">
                  <a:pos x="749" y="310"/>
                </a:cxn>
                <a:cxn ang="0">
                  <a:pos x="866" y="247"/>
                </a:cxn>
                <a:cxn ang="0">
                  <a:pos x="879" y="235"/>
                </a:cxn>
                <a:cxn ang="0">
                  <a:pos x="892" y="214"/>
                </a:cxn>
                <a:cxn ang="0">
                  <a:pos x="899" y="214"/>
                </a:cxn>
                <a:cxn ang="0">
                  <a:pos x="923" y="184"/>
                </a:cxn>
                <a:cxn ang="0">
                  <a:pos x="940" y="146"/>
                </a:cxn>
                <a:cxn ang="0">
                  <a:pos x="937" y="104"/>
                </a:cxn>
                <a:cxn ang="0">
                  <a:pos x="962" y="29"/>
                </a:cxn>
              </a:cxnLst>
              <a:rect l="0" t="0" r="r" b="b"/>
              <a:pathLst>
                <a:path w="962" h="410">
                  <a:moveTo>
                    <a:pt x="2" y="121"/>
                  </a:moveTo>
                  <a:lnTo>
                    <a:pt x="2" y="121"/>
                  </a:lnTo>
                  <a:lnTo>
                    <a:pt x="1" y="130"/>
                  </a:lnTo>
                  <a:lnTo>
                    <a:pt x="0" y="143"/>
                  </a:lnTo>
                  <a:lnTo>
                    <a:pt x="1" y="175"/>
                  </a:lnTo>
                  <a:lnTo>
                    <a:pt x="4" y="206"/>
                  </a:lnTo>
                  <a:lnTo>
                    <a:pt x="5" y="221"/>
                  </a:lnTo>
                  <a:lnTo>
                    <a:pt x="8" y="233"/>
                  </a:lnTo>
                  <a:lnTo>
                    <a:pt x="8" y="233"/>
                  </a:lnTo>
                  <a:lnTo>
                    <a:pt x="15" y="258"/>
                  </a:lnTo>
                  <a:lnTo>
                    <a:pt x="21" y="269"/>
                  </a:lnTo>
                  <a:lnTo>
                    <a:pt x="27" y="283"/>
                  </a:lnTo>
                  <a:lnTo>
                    <a:pt x="27" y="283"/>
                  </a:lnTo>
                  <a:lnTo>
                    <a:pt x="15" y="252"/>
                  </a:lnTo>
                  <a:lnTo>
                    <a:pt x="15" y="252"/>
                  </a:lnTo>
                  <a:lnTo>
                    <a:pt x="11" y="241"/>
                  </a:lnTo>
                  <a:lnTo>
                    <a:pt x="8" y="226"/>
                  </a:lnTo>
                  <a:lnTo>
                    <a:pt x="5" y="210"/>
                  </a:lnTo>
                  <a:lnTo>
                    <a:pt x="2" y="193"/>
                  </a:lnTo>
                  <a:lnTo>
                    <a:pt x="1" y="176"/>
                  </a:lnTo>
                  <a:lnTo>
                    <a:pt x="1" y="158"/>
                  </a:lnTo>
                  <a:lnTo>
                    <a:pt x="1" y="139"/>
                  </a:lnTo>
                  <a:lnTo>
                    <a:pt x="2" y="121"/>
                  </a:lnTo>
                  <a:close/>
                  <a:moveTo>
                    <a:pt x="414" y="343"/>
                  </a:moveTo>
                  <a:lnTo>
                    <a:pt x="414" y="343"/>
                  </a:lnTo>
                  <a:lnTo>
                    <a:pt x="405" y="342"/>
                  </a:lnTo>
                  <a:lnTo>
                    <a:pt x="405" y="342"/>
                  </a:lnTo>
                  <a:lnTo>
                    <a:pt x="474" y="332"/>
                  </a:lnTo>
                  <a:lnTo>
                    <a:pt x="474" y="332"/>
                  </a:lnTo>
                  <a:lnTo>
                    <a:pt x="523" y="322"/>
                  </a:lnTo>
                  <a:lnTo>
                    <a:pt x="575" y="311"/>
                  </a:lnTo>
                  <a:lnTo>
                    <a:pt x="575" y="311"/>
                  </a:lnTo>
                  <a:lnTo>
                    <a:pt x="596" y="306"/>
                  </a:lnTo>
                  <a:lnTo>
                    <a:pt x="631" y="296"/>
                  </a:lnTo>
                  <a:lnTo>
                    <a:pt x="672" y="283"/>
                  </a:lnTo>
                  <a:lnTo>
                    <a:pt x="702" y="272"/>
                  </a:lnTo>
                  <a:lnTo>
                    <a:pt x="702" y="272"/>
                  </a:lnTo>
                  <a:lnTo>
                    <a:pt x="756" y="248"/>
                  </a:lnTo>
                  <a:lnTo>
                    <a:pt x="802" y="227"/>
                  </a:lnTo>
                  <a:lnTo>
                    <a:pt x="802" y="227"/>
                  </a:lnTo>
                  <a:lnTo>
                    <a:pt x="824" y="214"/>
                  </a:lnTo>
                  <a:lnTo>
                    <a:pt x="824" y="214"/>
                  </a:lnTo>
                  <a:lnTo>
                    <a:pt x="816" y="221"/>
                  </a:lnTo>
                  <a:lnTo>
                    <a:pt x="808" y="226"/>
                  </a:lnTo>
                  <a:lnTo>
                    <a:pt x="799" y="231"/>
                  </a:lnTo>
                  <a:lnTo>
                    <a:pt x="799" y="231"/>
                  </a:lnTo>
                  <a:lnTo>
                    <a:pt x="751" y="255"/>
                  </a:lnTo>
                  <a:lnTo>
                    <a:pt x="751" y="255"/>
                  </a:lnTo>
                  <a:lnTo>
                    <a:pt x="741" y="258"/>
                  </a:lnTo>
                  <a:lnTo>
                    <a:pt x="739" y="258"/>
                  </a:lnTo>
                  <a:lnTo>
                    <a:pt x="736" y="259"/>
                  </a:lnTo>
                  <a:lnTo>
                    <a:pt x="736" y="259"/>
                  </a:lnTo>
                  <a:lnTo>
                    <a:pt x="733" y="262"/>
                  </a:lnTo>
                  <a:lnTo>
                    <a:pt x="728" y="264"/>
                  </a:lnTo>
                  <a:lnTo>
                    <a:pt x="728" y="264"/>
                  </a:lnTo>
                  <a:lnTo>
                    <a:pt x="724" y="265"/>
                  </a:lnTo>
                  <a:lnTo>
                    <a:pt x="718" y="268"/>
                  </a:lnTo>
                  <a:lnTo>
                    <a:pt x="718" y="268"/>
                  </a:lnTo>
                  <a:lnTo>
                    <a:pt x="699" y="276"/>
                  </a:lnTo>
                  <a:lnTo>
                    <a:pt x="674" y="286"/>
                  </a:lnTo>
                  <a:lnTo>
                    <a:pt x="674" y="286"/>
                  </a:lnTo>
                  <a:lnTo>
                    <a:pt x="602" y="309"/>
                  </a:lnTo>
                  <a:lnTo>
                    <a:pt x="602" y="309"/>
                  </a:lnTo>
                  <a:lnTo>
                    <a:pt x="575" y="315"/>
                  </a:lnTo>
                  <a:lnTo>
                    <a:pt x="547" y="322"/>
                  </a:lnTo>
                  <a:lnTo>
                    <a:pt x="547" y="322"/>
                  </a:lnTo>
                  <a:lnTo>
                    <a:pt x="539" y="323"/>
                  </a:lnTo>
                  <a:lnTo>
                    <a:pt x="535" y="325"/>
                  </a:lnTo>
                  <a:lnTo>
                    <a:pt x="530" y="327"/>
                  </a:lnTo>
                  <a:lnTo>
                    <a:pt x="530" y="327"/>
                  </a:lnTo>
                  <a:lnTo>
                    <a:pt x="529" y="328"/>
                  </a:lnTo>
                  <a:lnTo>
                    <a:pt x="527" y="330"/>
                  </a:lnTo>
                  <a:lnTo>
                    <a:pt x="527" y="331"/>
                  </a:lnTo>
                  <a:lnTo>
                    <a:pt x="525" y="331"/>
                  </a:lnTo>
                  <a:lnTo>
                    <a:pt x="525" y="331"/>
                  </a:lnTo>
                  <a:lnTo>
                    <a:pt x="512" y="334"/>
                  </a:lnTo>
                  <a:lnTo>
                    <a:pt x="497" y="336"/>
                  </a:lnTo>
                  <a:lnTo>
                    <a:pt x="497" y="336"/>
                  </a:lnTo>
                  <a:lnTo>
                    <a:pt x="492" y="336"/>
                  </a:lnTo>
                  <a:lnTo>
                    <a:pt x="492" y="336"/>
                  </a:lnTo>
                  <a:lnTo>
                    <a:pt x="483" y="336"/>
                  </a:lnTo>
                  <a:lnTo>
                    <a:pt x="483" y="336"/>
                  </a:lnTo>
                  <a:lnTo>
                    <a:pt x="471" y="336"/>
                  </a:lnTo>
                  <a:lnTo>
                    <a:pt x="471" y="336"/>
                  </a:lnTo>
                  <a:lnTo>
                    <a:pt x="462" y="339"/>
                  </a:lnTo>
                  <a:lnTo>
                    <a:pt x="462" y="339"/>
                  </a:lnTo>
                  <a:lnTo>
                    <a:pt x="437" y="342"/>
                  </a:lnTo>
                  <a:lnTo>
                    <a:pt x="437" y="342"/>
                  </a:lnTo>
                  <a:lnTo>
                    <a:pt x="414" y="343"/>
                  </a:lnTo>
                  <a:close/>
                  <a:moveTo>
                    <a:pt x="934" y="84"/>
                  </a:moveTo>
                  <a:lnTo>
                    <a:pt x="934" y="84"/>
                  </a:lnTo>
                  <a:lnTo>
                    <a:pt x="924" y="105"/>
                  </a:lnTo>
                  <a:lnTo>
                    <a:pt x="912" y="122"/>
                  </a:lnTo>
                  <a:lnTo>
                    <a:pt x="912" y="122"/>
                  </a:lnTo>
                  <a:lnTo>
                    <a:pt x="901" y="134"/>
                  </a:lnTo>
                  <a:lnTo>
                    <a:pt x="888" y="147"/>
                  </a:lnTo>
                  <a:lnTo>
                    <a:pt x="873" y="162"/>
                  </a:lnTo>
                  <a:lnTo>
                    <a:pt x="854" y="175"/>
                  </a:lnTo>
                  <a:lnTo>
                    <a:pt x="836" y="189"/>
                  </a:lnTo>
                  <a:lnTo>
                    <a:pt x="815" y="204"/>
                  </a:lnTo>
                  <a:lnTo>
                    <a:pt x="794" y="216"/>
                  </a:lnTo>
                  <a:lnTo>
                    <a:pt x="774" y="226"/>
                  </a:lnTo>
                  <a:lnTo>
                    <a:pt x="774" y="226"/>
                  </a:lnTo>
                  <a:lnTo>
                    <a:pt x="748" y="238"/>
                  </a:lnTo>
                  <a:lnTo>
                    <a:pt x="714" y="251"/>
                  </a:lnTo>
                  <a:lnTo>
                    <a:pt x="672" y="267"/>
                  </a:lnTo>
                  <a:lnTo>
                    <a:pt x="625" y="281"/>
                  </a:lnTo>
                  <a:lnTo>
                    <a:pt x="575" y="296"/>
                  </a:lnTo>
                  <a:lnTo>
                    <a:pt x="525" y="309"/>
                  </a:lnTo>
                  <a:lnTo>
                    <a:pt x="475" y="319"/>
                  </a:lnTo>
                  <a:lnTo>
                    <a:pt x="451" y="322"/>
                  </a:lnTo>
                  <a:lnTo>
                    <a:pt x="428" y="325"/>
                  </a:lnTo>
                  <a:lnTo>
                    <a:pt x="428" y="325"/>
                  </a:lnTo>
                  <a:lnTo>
                    <a:pt x="388" y="327"/>
                  </a:lnTo>
                  <a:lnTo>
                    <a:pt x="350" y="327"/>
                  </a:lnTo>
                  <a:lnTo>
                    <a:pt x="350" y="327"/>
                  </a:lnTo>
                  <a:lnTo>
                    <a:pt x="319" y="327"/>
                  </a:lnTo>
                  <a:lnTo>
                    <a:pt x="290" y="326"/>
                  </a:lnTo>
                  <a:lnTo>
                    <a:pt x="260" y="322"/>
                  </a:lnTo>
                  <a:lnTo>
                    <a:pt x="232" y="318"/>
                  </a:lnTo>
                  <a:lnTo>
                    <a:pt x="204" y="313"/>
                  </a:lnTo>
                  <a:lnTo>
                    <a:pt x="177" y="305"/>
                  </a:lnTo>
                  <a:lnTo>
                    <a:pt x="149" y="297"/>
                  </a:lnTo>
                  <a:lnTo>
                    <a:pt x="123" y="286"/>
                  </a:lnTo>
                  <a:lnTo>
                    <a:pt x="123" y="286"/>
                  </a:lnTo>
                  <a:lnTo>
                    <a:pt x="114" y="283"/>
                  </a:lnTo>
                  <a:lnTo>
                    <a:pt x="105" y="279"/>
                  </a:lnTo>
                  <a:lnTo>
                    <a:pt x="88" y="267"/>
                  </a:lnTo>
                  <a:lnTo>
                    <a:pt x="73" y="254"/>
                  </a:lnTo>
                  <a:lnTo>
                    <a:pt x="61" y="238"/>
                  </a:lnTo>
                  <a:lnTo>
                    <a:pt x="50" y="222"/>
                  </a:lnTo>
                  <a:lnTo>
                    <a:pt x="39" y="206"/>
                  </a:lnTo>
                  <a:lnTo>
                    <a:pt x="31" y="191"/>
                  </a:lnTo>
                  <a:lnTo>
                    <a:pt x="23" y="175"/>
                  </a:lnTo>
                  <a:lnTo>
                    <a:pt x="23" y="175"/>
                  </a:lnTo>
                  <a:lnTo>
                    <a:pt x="23" y="191"/>
                  </a:lnTo>
                  <a:lnTo>
                    <a:pt x="23" y="208"/>
                  </a:lnTo>
                  <a:lnTo>
                    <a:pt x="25" y="242"/>
                  </a:lnTo>
                  <a:lnTo>
                    <a:pt x="26" y="269"/>
                  </a:lnTo>
                  <a:lnTo>
                    <a:pt x="29" y="285"/>
                  </a:lnTo>
                  <a:lnTo>
                    <a:pt x="29" y="285"/>
                  </a:lnTo>
                  <a:lnTo>
                    <a:pt x="34" y="297"/>
                  </a:lnTo>
                  <a:lnTo>
                    <a:pt x="42" y="307"/>
                  </a:lnTo>
                  <a:lnTo>
                    <a:pt x="50" y="317"/>
                  </a:lnTo>
                  <a:lnTo>
                    <a:pt x="59" y="327"/>
                  </a:lnTo>
                  <a:lnTo>
                    <a:pt x="59" y="327"/>
                  </a:lnTo>
                  <a:lnTo>
                    <a:pt x="69" y="336"/>
                  </a:lnTo>
                  <a:lnTo>
                    <a:pt x="80" y="346"/>
                  </a:lnTo>
                  <a:lnTo>
                    <a:pt x="99" y="360"/>
                  </a:lnTo>
                  <a:lnTo>
                    <a:pt x="116" y="370"/>
                  </a:lnTo>
                  <a:lnTo>
                    <a:pt x="128" y="376"/>
                  </a:lnTo>
                  <a:lnTo>
                    <a:pt x="128" y="376"/>
                  </a:lnTo>
                  <a:lnTo>
                    <a:pt x="152" y="384"/>
                  </a:lnTo>
                  <a:lnTo>
                    <a:pt x="165" y="389"/>
                  </a:lnTo>
                  <a:lnTo>
                    <a:pt x="173" y="391"/>
                  </a:lnTo>
                  <a:lnTo>
                    <a:pt x="173" y="391"/>
                  </a:lnTo>
                  <a:lnTo>
                    <a:pt x="187" y="394"/>
                  </a:lnTo>
                  <a:lnTo>
                    <a:pt x="203" y="398"/>
                  </a:lnTo>
                  <a:lnTo>
                    <a:pt x="203" y="398"/>
                  </a:lnTo>
                  <a:lnTo>
                    <a:pt x="227" y="402"/>
                  </a:lnTo>
                  <a:lnTo>
                    <a:pt x="253" y="406"/>
                  </a:lnTo>
                  <a:lnTo>
                    <a:pt x="253" y="406"/>
                  </a:lnTo>
                  <a:lnTo>
                    <a:pt x="281" y="407"/>
                  </a:lnTo>
                  <a:lnTo>
                    <a:pt x="304" y="409"/>
                  </a:lnTo>
                  <a:lnTo>
                    <a:pt x="304" y="409"/>
                  </a:lnTo>
                  <a:lnTo>
                    <a:pt x="371" y="410"/>
                  </a:lnTo>
                  <a:lnTo>
                    <a:pt x="371" y="410"/>
                  </a:lnTo>
                  <a:lnTo>
                    <a:pt x="374" y="410"/>
                  </a:lnTo>
                  <a:lnTo>
                    <a:pt x="374" y="409"/>
                  </a:lnTo>
                  <a:lnTo>
                    <a:pt x="372" y="407"/>
                  </a:lnTo>
                  <a:lnTo>
                    <a:pt x="370" y="407"/>
                  </a:lnTo>
                  <a:lnTo>
                    <a:pt x="370" y="407"/>
                  </a:lnTo>
                  <a:lnTo>
                    <a:pt x="362" y="409"/>
                  </a:lnTo>
                  <a:lnTo>
                    <a:pt x="350" y="409"/>
                  </a:lnTo>
                  <a:lnTo>
                    <a:pt x="350" y="409"/>
                  </a:lnTo>
                  <a:lnTo>
                    <a:pt x="346" y="409"/>
                  </a:lnTo>
                  <a:lnTo>
                    <a:pt x="346" y="409"/>
                  </a:lnTo>
                  <a:lnTo>
                    <a:pt x="312" y="409"/>
                  </a:lnTo>
                  <a:lnTo>
                    <a:pt x="312" y="409"/>
                  </a:lnTo>
                  <a:lnTo>
                    <a:pt x="271" y="405"/>
                  </a:lnTo>
                  <a:lnTo>
                    <a:pt x="271" y="405"/>
                  </a:lnTo>
                  <a:lnTo>
                    <a:pt x="225" y="399"/>
                  </a:lnTo>
                  <a:lnTo>
                    <a:pt x="225" y="399"/>
                  </a:lnTo>
                  <a:lnTo>
                    <a:pt x="204" y="395"/>
                  </a:lnTo>
                  <a:lnTo>
                    <a:pt x="187" y="391"/>
                  </a:lnTo>
                  <a:lnTo>
                    <a:pt x="187" y="391"/>
                  </a:lnTo>
                  <a:lnTo>
                    <a:pt x="183" y="391"/>
                  </a:lnTo>
                  <a:lnTo>
                    <a:pt x="182" y="389"/>
                  </a:lnTo>
                  <a:lnTo>
                    <a:pt x="181" y="388"/>
                  </a:lnTo>
                  <a:lnTo>
                    <a:pt x="182" y="386"/>
                  </a:lnTo>
                  <a:lnTo>
                    <a:pt x="182" y="386"/>
                  </a:lnTo>
                  <a:lnTo>
                    <a:pt x="185" y="386"/>
                  </a:lnTo>
                  <a:lnTo>
                    <a:pt x="185" y="386"/>
                  </a:lnTo>
                  <a:lnTo>
                    <a:pt x="191" y="386"/>
                  </a:lnTo>
                  <a:lnTo>
                    <a:pt x="199" y="389"/>
                  </a:lnTo>
                  <a:lnTo>
                    <a:pt x="199" y="389"/>
                  </a:lnTo>
                  <a:lnTo>
                    <a:pt x="214" y="393"/>
                  </a:lnTo>
                  <a:lnTo>
                    <a:pt x="233" y="397"/>
                  </a:lnTo>
                  <a:lnTo>
                    <a:pt x="233" y="397"/>
                  </a:lnTo>
                  <a:lnTo>
                    <a:pt x="257" y="399"/>
                  </a:lnTo>
                  <a:lnTo>
                    <a:pt x="271" y="402"/>
                  </a:lnTo>
                  <a:lnTo>
                    <a:pt x="285" y="402"/>
                  </a:lnTo>
                  <a:lnTo>
                    <a:pt x="285" y="402"/>
                  </a:lnTo>
                  <a:lnTo>
                    <a:pt x="288" y="402"/>
                  </a:lnTo>
                  <a:lnTo>
                    <a:pt x="288" y="402"/>
                  </a:lnTo>
                  <a:lnTo>
                    <a:pt x="300" y="402"/>
                  </a:lnTo>
                  <a:lnTo>
                    <a:pt x="300" y="402"/>
                  </a:lnTo>
                  <a:lnTo>
                    <a:pt x="350" y="403"/>
                  </a:lnTo>
                  <a:lnTo>
                    <a:pt x="350" y="403"/>
                  </a:lnTo>
                  <a:lnTo>
                    <a:pt x="358" y="403"/>
                  </a:lnTo>
                  <a:lnTo>
                    <a:pt x="358" y="403"/>
                  </a:lnTo>
                  <a:lnTo>
                    <a:pt x="362" y="403"/>
                  </a:lnTo>
                  <a:lnTo>
                    <a:pt x="363" y="402"/>
                  </a:lnTo>
                  <a:lnTo>
                    <a:pt x="363" y="399"/>
                  </a:lnTo>
                  <a:lnTo>
                    <a:pt x="363" y="399"/>
                  </a:lnTo>
                  <a:lnTo>
                    <a:pt x="363" y="398"/>
                  </a:lnTo>
                  <a:lnTo>
                    <a:pt x="366" y="397"/>
                  </a:lnTo>
                  <a:lnTo>
                    <a:pt x="372" y="397"/>
                  </a:lnTo>
                  <a:lnTo>
                    <a:pt x="372" y="397"/>
                  </a:lnTo>
                  <a:lnTo>
                    <a:pt x="376" y="397"/>
                  </a:lnTo>
                  <a:lnTo>
                    <a:pt x="376" y="397"/>
                  </a:lnTo>
                  <a:lnTo>
                    <a:pt x="379" y="397"/>
                  </a:lnTo>
                  <a:lnTo>
                    <a:pt x="379" y="398"/>
                  </a:lnTo>
                  <a:lnTo>
                    <a:pt x="379" y="399"/>
                  </a:lnTo>
                  <a:lnTo>
                    <a:pt x="382" y="401"/>
                  </a:lnTo>
                  <a:lnTo>
                    <a:pt x="382" y="401"/>
                  </a:lnTo>
                  <a:lnTo>
                    <a:pt x="386" y="401"/>
                  </a:lnTo>
                  <a:lnTo>
                    <a:pt x="386" y="401"/>
                  </a:lnTo>
                  <a:lnTo>
                    <a:pt x="392" y="401"/>
                  </a:lnTo>
                  <a:lnTo>
                    <a:pt x="399" y="399"/>
                  </a:lnTo>
                  <a:lnTo>
                    <a:pt x="399" y="399"/>
                  </a:lnTo>
                  <a:lnTo>
                    <a:pt x="404" y="398"/>
                  </a:lnTo>
                  <a:lnTo>
                    <a:pt x="405" y="398"/>
                  </a:lnTo>
                  <a:lnTo>
                    <a:pt x="408" y="397"/>
                  </a:lnTo>
                  <a:lnTo>
                    <a:pt x="408" y="397"/>
                  </a:lnTo>
                  <a:lnTo>
                    <a:pt x="409" y="397"/>
                  </a:lnTo>
                  <a:lnTo>
                    <a:pt x="411" y="394"/>
                  </a:lnTo>
                  <a:lnTo>
                    <a:pt x="412" y="393"/>
                  </a:lnTo>
                  <a:lnTo>
                    <a:pt x="414" y="391"/>
                  </a:lnTo>
                  <a:lnTo>
                    <a:pt x="414" y="391"/>
                  </a:lnTo>
                  <a:lnTo>
                    <a:pt x="418" y="391"/>
                  </a:lnTo>
                  <a:lnTo>
                    <a:pt x="418" y="391"/>
                  </a:lnTo>
                  <a:lnTo>
                    <a:pt x="424" y="393"/>
                  </a:lnTo>
                  <a:lnTo>
                    <a:pt x="425" y="393"/>
                  </a:lnTo>
                  <a:lnTo>
                    <a:pt x="424" y="393"/>
                  </a:lnTo>
                  <a:lnTo>
                    <a:pt x="424" y="393"/>
                  </a:lnTo>
                  <a:lnTo>
                    <a:pt x="421" y="394"/>
                  </a:lnTo>
                  <a:lnTo>
                    <a:pt x="420" y="395"/>
                  </a:lnTo>
                  <a:lnTo>
                    <a:pt x="421" y="397"/>
                  </a:lnTo>
                  <a:lnTo>
                    <a:pt x="425" y="397"/>
                  </a:lnTo>
                  <a:lnTo>
                    <a:pt x="425" y="397"/>
                  </a:lnTo>
                  <a:lnTo>
                    <a:pt x="430" y="397"/>
                  </a:lnTo>
                  <a:lnTo>
                    <a:pt x="438" y="395"/>
                  </a:lnTo>
                  <a:lnTo>
                    <a:pt x="438" y="395"/>
                  </a:lnTo>
                  <a:lnTo>
                    <a:pt x="446" y="394"/>
                  </a:lnTo>
                  <a:lnTo>
                    <a:pt x="454" y="391"/>
                  </a:lnTo>
                  <a:lnTo>
                    <a:pt x="454" y="391"/>
                  </a:lnTo>
                  <a:lnTo>
                    <a:pt x="456" y="391"/>
                  </a:lnTo>
                  <a:lnTo>
                    <a:pt x="456" y="391"/>
                  </a:lnTo>
                  <a:lnTo>
                    <a:pt x="460" y="391"/>
                  </a:lnTo>
                  <a:lnTo>
                    <a:pt x="466" y="393"/>
                  </a:lnTo>
                  <a:lnTo>
                    <a:pt x="466" y="393"/>
                  </a:lnTo>
                  <a:lnTo>
                    <a:pt x="472" y="391"/>
                  </a:lnTo>
                  <a:lnTo>
                    <a:pt x="480" y="390"/>
                  </a:lnTo>
                  <a:lnTo>
                    <a:pt x="489" y="388"/>
                  </a:lnTo>
                  <a:lnTo>
                    <a:pt x="496" y="388"/>
                  </a:lnTo>
                  <a:lnTo>
                    <a:pt x="496" y="388"/>
                  </a:lnTo>
                  <a:lnTo>
                    <a:pt x="502" y="386"/>
                  </a:lnTo>
                  <a:lnTo>
                    <a:pt x="506" y="385"/>
                  </a:lnTo>
                  <a:lnTo>
                    <a:pt x="506" y="385"/>
                  </a:lnTo>
                  <a:lnTo>
                    <a:pt x="518" y="382"/>
                  </a:lnTo>
                  <a:lnTo>
                    <a:pt x="518" y="382"/>
                  </a:lnTo>
                  <a:lnTo>
                    <a:pt x="522" y="382"/>
                  </a:lnTo>
                  <a:lnTo>
                    <a:pt x="529" y="381"/>
                  </a:lnTo>
                  <a:lnTo>
                    <a:pt x="529" y="381"/>
                  </a:lnTo>
                  <a:lnTo>
                    <a:pt x="537" y="378"/>
                  </a:lnTo>
                  <a:lnTo>
                    <a:pt x="540" y="376"/>
                  </a:lnTo>
                  <a:lnTo>
                    <a:pt x="547" y="376"/>
                  </a:lnTo>
                  <a:lnTo>
                    <a:pt x="547" y="376"/>
                  </a:lnTo>
                  <a:lnTo>
                    <a:pt x="551" y="374"/>
                  </a:lnTo>
                  <a:lnTo>
                    <a:pt x="551" y="374"/>
                  </a:lnTo>
                  <a:lnTo>
                    <a:pt x="548" y="376"/>
                  </a:lnTo>
                  <a:lnTo>
                    <a:pt x="548" y="376"/>
                  </a:lnTo>
                  <a:lnTo>
                    <a:pt x="571" y="370"/>
                  </a:lnTo>
                  <a:lnTo>
                    <a:pt x="571" y="370"/>
                  </a:lnTo>
                  <a:lnTo>
                    <a:pt x="576" y="369"/>
                  </a:lnTo>
                  <a:lnTo>
                    <a:pt x="576" y="369"/>
                  </a:lnTo>
                  <a:lnTo>
                    <a:pt x="576" y="368"/>
                  </a:lnTo>
                  <a:lnTo>
                    <a:pt x="576" y="368"/>
                  </a:lnTo>
                  <a:lnTo>
                    <a:pt x="575" y="367"/>
                  </a:lnTo>
                  <a:lnTo>
                    <a:pt x="576" y="365"/>
                  </a:lnTo>
                  <a:lnTo>
                    <a:pt x="580" y="363"/>
                  </a:lnTo>
                  <a:lnTo>
                    <a:pt x="580" y="363"/>
                  </a:lnTo>
                  <a:lnTo>
                    <a:pt x="586" y="360"/>
                  </a:lnTo>
                  <a:lnTo>
                    <a:pt x="590" y="359"/>
                  </a:lnTo>
                  <a:lnTo>
                    <a:pt x="593" y="357"/>
                  </a:lnTo>
                  <a:lnTo>
                    <a:pt x="593" y="357"/>
                  </a:lnTo>
                  <a:lnTo>
                    <a:pt x="596" y="359"/>
                  </a:lnTo>
                  <a:lnTo>
                    <a:pt x="594" y="360"/>
                  </a:lnTo>
                  <a:lnTo>
                    <a:pt x="592" y="361"/>
                  </a:lnTo>
                  <a:lnTo>
                    <a:pt x="586" y="364"/>
                  </a:lnTo>
                  <a:lnTo>
                    <a:pt x="586" y="364"/>
                  </a:lnTo>
                  <a:lnTo>
                    <a:pt x="581" y="367"/>
                  </a:lnTo>
                  <a:lnTo>
                    <a:pt x="581" y="367"/>
                  </a:lnTo>
                  <a:lnTo>
                    <a:pt x="583" y="368"/>
                  </a:lnTo>
                  <a:lnTo>
                    <a:pt x="583" y="368"/>
                  </a:lnTo>
                  <a:lnTo>
                    <a:pt x="584" y="368"/>
                  </a:lnTo>
                  <a:lnTo>
                    <a:pt x="584" y="368"/>
                  </a:lnTo>
                  <a:lnTo>
                    <a:pt x="601" y="361"/>
                  </a:lnTo>
                  <a:lnTo>
                    <a:pt x="601" y="361"/>
                  </a:lnTo>
                  <a:lnTo>
                    <a:pt x="614" y="359"/>
                  </a:lnTo>
                  <a:lnTo>
                    <a:pt x="621" y="357"/>
                  </a:lnTo>
                  <a:lnTo>
                    <a:pt x="621" y="357"/>
                  </a:lnTo>
                  <a:lnTo>
                    <a:pt x="623" y="356"/>
                  </a:lnTo>
                  <a:lnTo>
                    <a:pt x="623" y="355"/>
                  </a:lnTo>
                  <a:lnTo>
                    <a:pt x="623" y="352"/>
                  </a:lnTo>
                  <a:lnTo>
                    <a:pt x="623" y="352"/>
                  </a:lnTo>
                  <a:lnTo>
                    <a:pt x="623" y="351"/>
                  </a:lnTo>
                  <a:lnTo>
                    <a:pt x="626" y="349"/>
                  </a:lnTo>
                  <a:lnTo>
                    <a:pt x="631" y="348"/>
                  </a:lnTo>
                  <a:lnTo>
                    <a:pt x="631" y="348"/>
                  </a:lnTo>
                  <a:lnTo>
                    <a:pt x="638" y="347"/>
                  </a:lnTo>
                  <a:lnTo>
                    <a:pt x="646" y="344"/>
                  </a:lnTo>
                  <a:lnTo>
                    <a:pt x="646" y="344"/>
                  </a:lnTo>
                  <a:lnTo>
                    <a:pt x="656" y="342"/>
                  </a:lnTo>
                  <a:lnTo>
                    <a:pt x="656" y="342"/>
                  </a:lnTo>
                  <a:lnTo>
                    <a:pt x="655" y="343"/>
                  </a:lnTo>
                  <a:lnTo>
                    <a:pt x="655" y="343"/>
                  </a:lnTo>
                  <a:lnTo>
                    <a:pt x="653" y="344"/>
                  </a:lnTo>
                  <a:lnTo>
                    <a:pt x="653" y="344"/>
                  </a:lnTo>
                  <a:lnTo>
                    <a:pt x="653" y="346"/>
                  </a:lnTo>
                  <a:lnTo>
                    <a:pt x="656" y="346"/>
                  </a:lnTo>
                  <a:lnTo>
                    <a:pt x="656" y="346"/>
                  </a:lnTo>
                  <a:lnTo>
                    <a:pt x="659" y="346"/>
                  </a:lnTo>
                  <a:lnTo>
                    <a:pt x="659" y="346"/>
                  </a:lnTo>
                  <a:lnTo>
                    <a:pt x="663" y="344"/>
                  </a:lnTo>
                  <a:lnTo>
                    <a:pt x="667" y="342"/>
                  </a:lnTo>
                  <a:lnTo>
                    <a:pt x="667" y="342"/>
                  </a:lnTo>
                  <a:lnTo>
                    <a:pt x="669" y="342"/>
                  </a:lnTo>
                  <a:lnTo>
                    <a:pt x="669" y="338"/>
                  </a:lnTo>
                  <a:lnTo>
                    <a:pt x="669" y="338"/>
                  </a:lnTo>
                  <a:lnTo>
                    <a:pt x="670" y="336"/>
                  </a:lnTo>
                  <a:lnTo>
                    <a:pt x="672" y="336"/>
                  </a:lnTo>
                  <a:lnTo>
                    <a:pt x="672" y="336"/>
                  </a:lnTo>
                  <a:lnTo>
                    <a:pt x="674" y="336"/>
                  </a:lnTo>
                  <a:lnTo>
                    <a:pt x="676" y="339"/>
                  </a:lnTo>
                  <a:lnTo>
                    <a:pt x="676" y="339"/>
                  </a:lnTo>
                  <a:lnTo>
                    <a:pt x="677" y="339"/>
                  </a:lnTo>
                  <a:lnTo>
                    <a:pt x="677" y="339"/>
                  </a:lnTo>
                  <a:lnTo>
                    <a:pt x="680" y="339"/>
                  </a:lnTo>
                  <a:lnTo>
                    <a:pt x="682" y="338"/>
                  </a:lnTo>
                  <a:lnTo>
                    <a:pt x="688" y="332"/>
                  </a:lnTo>
                  <a:lnTo>
                    <a:pt x="688" y="332"/>
                  </a:lnTo>
                  <a:lnTo>
                    <a:pt x="690" y="330"/>
                  </a:lnTo>
                  <a:lnTo>
                    <a:pt x="690" y="330"/>
                  </a:lnTo>
                  <a:lnTo>
                    <a:pt x="690" y="330"/>
                  </a:lnTo>
                  <a:lnTo>
                    <a:pt x="690" y="330"/>
                  </a:lnTo>
                  <a:lnTo>
                    <a:pt x="690" y="331"/>
                  </a:lnTo>
                  <a:lnTo>
                    <a:pt x="690" y="331"/>
                  </a:lnTo>
                  <a:lnTo>
                    <a:pt x="690" y="331"/>
                  </a:lnTo>
                  <a:lnTo>
                    <a:pt x="690" y="331"/>
                  </a:lnTo>
                  <a:lnTo>
                    <a:pt x="701" y="327"/>
                  </a:lnTo>
                  <a:lnTo>
                    <a:pt x="701" y="327"/>
                  </a:lnTo>
                  <a:lnTo>
                    <a:pt x="703" y="327"/>
                  </a:lnTo>
                  <a:lnTo>
                    <a:pt x="703" y="327"/>
                  </a:lnTo>
                  <a:lnTo>
                    <a:pt x="705" y="327"/>
                  </a:lnTo>
                  <a:lnTo>
                    <a:pt x="705" y="327"/>
                  </a:lnTo>
                  <a:lnTo>
                    <a:pt x="706" y="327"/>
                  </a:lnTo>
                  <a:lnTo>
                    <a:pt x="706" y="327"/>
                  </a:lnTo>
                  <a:lnTo>
                    <a:pt x="709" y="327"/>
                  </a:lnTo>
                  <a:lnTo>
                    <a:pt x="709" y="327"/>
                  </a:lnTo>
                  <a:lnTo>
                    <a:pt x="712" y="323"/>
                  </a:lnTo>
                  <a:lnTo>
                    <a:pt x="715" y="322"/>
                  </a:lnTo>
                  <a:lnTo>
                    <a:pt x="719" y="321"/>
                  </a:lnTo>
                  <a:lnTo>
                    <a:pt x="719" y="321"/>
                  </a:lnTo>
                  <a:lnTo>
                    <a:pt x="722" y="321"/>
                  </a:lnTo>
                  <a:lnTo>
                    <a:pt x="722" y="321"/>
                  </a:lnTo>
                  <a:lnTo>
                    <a:pt x="724" y="321"/>
                  </a:lnTo>
                  <a:lnTo>
                    <a:pt x="724" y="321"/>
                  </a:lnTo>
                  <a:lnTo>
                    <a:pt x="727" y="321"/>
                  </a:lnTo>
                  <a:lnTo>
                    <a:pt x="727" y="321"/>
                  </a:lnTo>
                  <a:lnTo>
                    <a:pt x="732" y="319"/>
                  </a:lnTo>
                  <a:lnTo>
                    <a:pt x="732" y="319"/>
                  </a:lnTo>
                  <a:lnTo>
                    <a:pt x="741" y="315"/>
                  </a:lnTo>
                  <a:lnTo>
                    <a:pt x="749" y="310"/>
                  </a:lnTo>
                  <a:lnTo>
                    <a:pt x="760" y="305"/>
                  </a:lnTo>
                  <a:lnTo>
                    <a:pt x="760" y="305"/>
                  </a:lnTo>
                  <a:lnTo>
                    <a:pt x="781" y="293"/>
                  </a:lnTo>
                  <a:lnTo>
                    <a:pt x="814" y="275"/>
                  </a:lnTo>
                  <a:lnTo>
                    <a:pt x="862" y="250"/>
                  </a:lnTo>
                  <a:lnTo>
                    <a:pt x="862" y="250"/>
                  </a:lnTo>
                  <a:lnTo>
                    <a:pt x="866" y="247"/>
                  </a:lnTo>
                  <a:lnTo>
                    <a:pt x="867" y="243"/>
                  </a:lnTo>
                  <a:lnTo>
                    <a:pt x="870" y="238"/>
                  </a:lnTo>
                  <a:lnTo>
                    <a:pt x="870" y="238"/>
                  </a:lnTo>
                  <a:lnTo>
                    <a:pt x="873" y="237"/>
                  </a:lnTo>
                  <a:lnTo>
                    <a:pt x="877" y="235"/>
                  </a:lnTo>
                  <a:lnTo>
                    <a:pt x="877" y="235"/>
                  </a:lnTo>
                  <a:lnTo>
                    <a:pt x="879" y="235"/>
                  </a:lnTo>
                  <a:lnTo>
                    <a:pt x="879" y="235"/>
                  </a:lnTo>
                  <a:lnTo>
                    <a:pt x="886" y="227"/>
                  </a:lnTo>
                  <a:lnTo>
                    <a:pt x="886" y="227"/>
                  </a:lnTo>
                  <a:lnTo>
                    <a:pt x="890" y="222"/>
                  </a:lnTo>
                  <a:lnTo>
                    <a:pt x="891" y="219"/>
                  </a:lnTo>
                  <a:lnTo>
                    <a:pt x="891" y="218"/>
                  </a:lnTo>
                  <a:lnTo>
                    <a:pt x="892" y="214"/>
                  </a:lnTo>
                  <a:lnTo>
                    <a:pt x="892" y="214"/>
                  </a:lnTo>
                  <a:lnTo>
                    <a:pt x="894" y="213"/>
                  </a:lnTo>
                  <a:lnTo>
                    <a:pt x="895" y="213"/>
                  </a:lnTo>
                  <a:lnTo>
                    <a:pt x="895" y="213"/>
                  </a:lnTo>
                  <a:lnTo>
                    <a:pt x="896" y="213"/>
                  </a:lnTo>
                  <a:lnTo>
                    <a:pt x="896" y="213"/>
                  </a:lnTo>
                  <a:lnTo>
                    <a:pt x="899" y="214"/>
                  </a:lnTo>
                  <a:lnTo>
                    <a:pt x="899" y="214"/>
                  </a:lnTo>
                  <a:lnTo>
                    <a:pt x="903" y="213"/>
                  </a:lnTo>
                  <a:lnTo>
                    <a:pt x="903" y="213"/>
                  </a:lnTo>
                  <a:lnTo>
                    <a:pt x="907" y="209"/>
                  </a:lnTo>
                  <a:lnTo>
                    <a:pt x="911" y="202"/>
                  </a:lnTo>
                  <a:lnTo>
                    <a:pt x="923" y="184"/>
                  </a:lnTo>
                  <a:lnTo>
                    <a:pt x="923" y="184"/>
                  </a:lnTo>
                  <a:lnTo>
                    <a:pt x="930" y="172"/>
                  </a:lnTo>
                  <a:lnTo>
                    <a:pt x="936" y="159"/>
                  </a:lnTo>
                  <a:lnTo>
                    <a:pt x="941" y="145"/>
                  </a:lnTo>
                  <a:lnTo>
                    <a:pt x="941" y="145"/>
                  </a:lnTo>
                  <a:lnTo>
                    <a:pt x="942" y="141"/>
                  </a:lnTo>
                  <a:lnTo>
                    <a:pt x="942" y="141"/>
                  </a:lnTo>
                  <a:lnTo>
                    <a:pt x="940" y="146"/>
                  </a:lnTo>
                  <a:lnTo>
                    <a:pt x="937" y="149"/>
                  </a:lnTo>
                  <a:lnTo>
                    <a:pt x="937" y="149"/>
                  </a:lnTo>
                  <a:lnTo>
                    <a:pt x="936" y="146"/>
                  </a:lnTo>
                  <a:lnTo>
                    <a:pt x="934" y="142"/>
                  </a:lnTo>
                  <a:lnTo>
                    <a:pt x="936" y="122"/>
                  </a:lnTo>
                  <a:lnTo>
                    <a:pt x="936" y="122"/>
                  </a:lnTo>
                  <a:lnTo>
                    <a:pt x="937" y="104"/>
                  </a:lnTo>
                  <a:lnTo>
                    <a:pt x="934" y="84"/>
                  </a:lnTo>
                  <a:close/>
                  <a:moveTo>
                    <a:pt x="958" y="0"/>
                  </a:moveTo>
                  <a:lnTo>
                    <a:pt x="958" y="0"/>
                  </a:lnTo>
                  <a:lnTo>
                    <a:pt x="958" y="7"/>
                  </a:lnTo>
                  <a:lnTo>
                    <a:pt x="958" y="7"/>
                  </a:lnTo>
                  <a:lnTo>
                    <a:pt x="962" y="29"/>
                  </a:lnTo>
                  <a:lnTo>
                    <a:pt x="962" y="29"/>
                  </a:lnTo>
                  <a:lnTo>
                    <a:pt x="962" y="17"/>
                  </a:lnTo>
                  <a:lnTo>
                    <a:pt x="961" y="8"/>
                  </a:lnTo>
                  <a:lnTo>
                    <a:pt x="958" y="0"/>
                  </a:lnTo>
                  <a:close/>
                </a:path>
              </a:pathLst>
            </a:custGeom>
            <a:solidFill>
              <a:srgbClr val="FCC550"/>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39" name="Freeform 115">
              <a:extLst>
                <a:ext uri="{FF2B5EF4-FFF2-40B4-BE49-F238E27FC236}">
                  <a16:creationId xmlns:a16="http://schemas.microsoft.com/office/drawing/2014/main" id="{61D990BD-B907-4211-B338-43FFCF611E12}"/>
                </a:ext>
              </a:extLst>
            </p:cNvPr>
            <p:cNvSpPr>
              <a:spLocks/>
            </p:cNvSpPr>
            <p:nvPr/>
          </p:nvSpPr>
          <p:spPr bwMode="auto">
            <a:xfrm>
              <a:off x="2413000" y="900411"/>
              <a:ext cx="42863" cy="257175"/>
            </a:xfrm>
            <a:custGeom>
              <a:avLst/>
              <a:gdLst/>
              <a:ahLst/>
              <a:cxnLst>
                <a:cxn ang="0">
                  <a:pos x="2" y="0"/>
                </a:cxn>
                <a:cxn ang="0">
                  <a:pos x="2" y="0"/>
                </a:cxn>
                <a:cxn ang="0">
                  <a:pos x="1" y="9"/>
                </a:cxn>
                <a:cxn ang="0">
                  <a:pos x="0" y="22"/>
                </a:cxn>
                <a:cxn ang="0">
                  <a:pos x="1" y="54"/>
                </a:cxn>
                <a:cxn ang="0">
                  <a:pos x="4" y="85"/>
                </a:cxn>
                <a:cxn ang="0">
                  <a:pos x="5" y="100"/>
                </a:cxn>
                <a:cxn ang="0">
                  <a:pos x="8" y="112"/>
                </a:cxn>
                <a:cxn ang="0">
                  <a:pos x="8" y="112"/>
                </a:cxn>
                <a:cxn ang="0">
                  <a:pos x="15" y="137"/>
                </a:cxn>
                <a:cxn ang="0">
                  <a:pos x="21" y="148"/>
                </a:cxn>
                <a:cxn ang="0">
                  <a:pos x="27" y="162"/>
                </a:cxn>
                <a:cxn ang="0">
                  <a:pos x="27" y="162"/>
                </a:cxn>
                <a:cxn ang="0">
                  <a:pos x="15" y="131"/>
                </a:cxn>
                <a:cxn ang="0">
                  <a:pos x="15" y="131"/>
                </a:cxn>
                <a:cxn ang="0">
                  <a:pos x="11" y="120"/>
                </a:cxn>
                <a:cxn ang="0">
                  <a:pos x="8" y="105"/>
                </a:cxn>
                <a:cxn ang="0">
                  <a:pos x="5" y="89"/>
                </a:cxn>
                <a:cxn ang="0">
                  <a:pos x="2" y="72"/>
                </a:cxn>
                <a:cxn ang="0">
                  <a:pos x="1" y="55"/>
                </a:cxn>
                <a:cxn ang="0">
                  <a:pos x="1" y="37"/>
                </a:cxn>
                <a:cxn ang="0">
                  <a:pos x="1" y="18"/>
                </a:cxn>
                <a:cxn ang="0">
                  <a:pos x="2" y="0"/>
                </a:cxn>
              </a:cxnLst>
              <a:rect l="0" t="0" r="r" b="b"/>
              <a:pathLst>
                <a:path w="27" h="162">
                  <a:moveTo>
                    <a:pt x="2" y="0"/>
                  </a:moveTo>
                  <a:lnTo>
                    <a:pt x="2" y="0"/>
                  </a:lnTo>
                  <a:lnTo>
                    <a:pt x="1" y="9"/>
                  </a:lnTo>
                  <a:lnTo>
                    <a:pt x="0" y="22"/>
                  </a:lnTo>
                  <a:lnTo>
                    <a:pt x="1" y="54"/>
                  </a:lnTo>
                  <a:lnTo>
                    <a:pt x="4" y="85"/>
                  </a:lnTo>
                  <a:lnTo>
                    <a:pt x="5" y="100"/>
                  </a:lnTo>
                  <a:lnTo>
                    <a:pt x="8" y="112"/>
                  </a:lnTo>
                  <a:lnTo>
                    <a:pt x="8" y="112"/>
                  </a:lnTo>
                  <a:lnTo>
                    <a:pt x="15" y="137"/>
                  </a:lnTo>
                  <a:lnTo>
                    <a:pt x="21" y="148"/>
                  </a:lnTo>
                  <a:lnTo>
                    <a:pt x="27" y="162"/>
                  </a:lnTo>
                  <a:lnTo>
                    <a:pt x="27" y="162"/>
                  </a:lnTo>
                  <a:lnTo>
                    <a:pt x="15" y="131"/>
                  </a:lnTo>
                  <a:lnTo>
                    <a:pt x="15" y="131"/>
                  </a:lnTo>
                  <a:lnTo>
                    <a:pt x="11" y="120"/>
                  </a:lnTo>
                  <a:lnTo>
                    <a:pt x="8" y="105"/>
                  </a:lnTo>
                  <a:lnTo>
                    <a:pt x="5" y="89"/>
                  </a:lnTo>
                  <a:lnTo>
                    <a:pt x="2" y="72"/>
                  </a:lnTo>
                  <a:lnTo>
                    <a:pt x="1" y="55"/>
                  </a:lnTo>
                  <a:lnTo>
                    <a:pt x="1" y="37"/>
                  </a:lnTo>
                  <a:lnTo>
                    <a:pt x="1" y="18"/>
                  </a:lnTo>
                  <a:lnTo>
                    <a:pt x="2"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0" name="Freeform 116">
              <a:extLst>
                <a:ext uri="{FF2B5EF4-FFF2-40B4-BE49-F238E27FC236}">
                  <a16:creationId xmlns:a16="http://schemas.microsoft.com/office/drawing/2014/main" id="{4A6F23E3-FC9C-40C4-945B-1DE7828CF765}"/>
                </a:ext>
              </a:extLst>
            </p:cNvPr>
            <p:cNvSpPr>
              <a:spLocks/>
            </p:cNvSpPr>
            <p:nvPr/>
          </p:nvSpPr>
          <p:spPr bwMode="auto">
            <a:xfrm>
              <a:off x="3055938" y="1048048"/>
              <a:ext cx="665163" cy="204788"/>
            </a:xfrm>
            <a:custGeom>
              <a:avLst/>
              <a:gdLst/>
              <a:ahLst/>
              <a:cxnLst>
                <a:cxn ang="0">
                  <a:pos x="9" y="129"/>
                </a:cxn>
                <a:cxn ang="0">
                  <a:pos x="0" y="128"/>
                </a:cxn>
                <a:cxn ang="0">
                  <a:pos x="69" y="118"/>
                </a:cxn>
                <a:cxn ang="0">
                  <a:pos x="170" y="97"/>
                </a:cxn>
                <a:cxn ang="0">
                  <a:pos x="191" y="92"/>
                </a:cxn>
                <a:cxn ang="0">
                  <a:pos x="267" y="69"/>
                </a:cxn>
                <a:cxn ang="0">
                  <a:pos x="297" y="58"/>
                </a:cxn>
                <a:cxn ang="0">
                  <a:pos x="397" y="13"/>
                </a:cxn>
                <a:cxn ang="0">
                  <a:pos x="419" y="0"/>
                </a:cxn>
                <a:cxn ang="0">
                  <a:pos x="411" y="7"/>
                </a:cxn>
                <a:cxn ang="0">
                  <a:pos x="394" y="17"/>
                </a:cxn>
                <a:cxn ang="0">
                  <a:pos x="346" y="41"/>
                </a:cxn>
                <a:cxn ang="0">
                  <a:pos x="336" y="44"/>
                </a:cxn>
                <a:cxn ang="0">
                  <a:pos x="331" y="45"/>
                </a:cxn>
                <a:cxn ang="0">
                  <a:pos x="328" y="48"/>
                </a:cxn>
                <a:cxn ang="0">
                  <a:pos x="323" y="50"/>
                </a:cxn>
                <a:cxn ang="0">
                  <a:pos x="313" y="54"/>
                </a:cxn>
                <a:cxn ang="0">
                  <a:pos x="294" y="62"/>
                </a:cxn>
                <a:cxn ang="0">
                  <a:pos x="269" y="72"/>
                </a:cxn>
                <a:cxn ang="0">
                  <a:pos x="197" y="95"/>
                </a:cxn>
                <a:cxn ang="0">
                  <a:pos x="142" y="108"/>
                </a:cxn>
                <a:cxn ang="0">
                  <a:pos x="134" y="109"/>
                </a:cxn>
                <a:cxn ang="0">
                  <a:pos x="125" y="113"/>
                </a:cxn>
                <a:cxn ang="0">
                  <a:pos x="124" y="114"/>
                </a:cxn>
                <a:cxn ang="0">
                  <a:pos x="122" y="117"/>
                </a:cxn>
                <a:cxn ang="0">
                  <a:pos x="120" y="117"/>
                </a:cxn>
                <a:cxn ang="0">
                  <a:pos x="92" y="122"/>
                </a:cxn>
                <a:cxn ang="0">
                  <a:pos x="87" y="122"/>
                </a:cxn>
                <a:cxn ang="0">
                  <a:pos x="78" y="122"/>
                </a:cxn>
                <a:cxn ang="0">
                  <a:pos x="66" y="122"/>
                </a:cxn>
                <a:cxn ang="0">
                  <a:pos x="57" y="125"/>
                </a:cxn>
                <a:cxn ang="0">
                  <a:pos x="32" y="128"/>
                </a:cxn>
                <a:cxn ang="0">
                  <a:pos x="9" y="129"/>
                </a:cxn>
              </a:cxnLst>
              <a:rect l="0" t="0" r="r" b="b"/>
              <a:pathLst>
                <a:path w="419" h="129">
                  <a:moveTo>
                    <a:pt x="9" y="129"/>
                  </a:moveTo>
                  <a:lnTo>
                    <a:pt x="9" y="129"/>
                  </a:lnTo>
                  <a:lnTo>
                    <a:pt x="0" y="128"/>
                  </a:lnTo>
                  <a:lnTo>
                    <a:pt x="0" y="128"/>
                  </a:lnTo>
                  <a:lnTo>
                    <a:pt x="69" y="118"/>
                  </a:lnTo>
                  <a:lnTo>
                    <a:pt x="69" y="118"/>
                  </a:lnTo>
                  <a:lnTo>
                    <a:pt x="118" y="108"/>
                  </a:lnTo>
                  <a:lnTo>
                    <a:pt x="170" y="97"/>
                  </a:lnTo>
                  <a:lnTo>
                    <a:pt x="170" y="97"/>
                  </a:lnTo>
                  <a:lnTo>
                    <a:pt x="191" y="92"/>
                  </a:lnTo>
                  <a:lnTo>
                    <a:pt x="226" y="82"/>
                  </a:lnTo>
                  <a:lnTo>
                    <a:pt x="267" y="69"/>
                  </a:lnTo>
                  <a:lnTo>
                    <a:pt x="297" y="58"/>
                  </a:lnTo>
                  <a:lnTo>
                    <a:pt x="297" y="58"/>
                  </a:lnTo>
                  <a:lnTo>
                    <a:pt x="351" y="34"/>
                  </a:lnTo>
                  <a:lnTo>
                    <a:pt x="397" y="13"/>
                  </a:lnTo>
                  <a:lnTo>
                    <a:pt x="397" y="13"/>
                  </a:lnTo>
                  <a:lnTo>
                    <a:pt x="419" y="0"/>
                  </a:lnTo>
                  <a:lnTo>
                    <a:pt x="419" y="0"/>
                  </a:lnTo>
                  <a:lnTo>
                    <a:pt x="411" y="7"/>
                  </a:lnTo>
                  <a:lnTo>
                    <a:pt x="403" y="12"/>
                  </a:lnTo>
                  <a:lnTo>
                    <a:pt x="394" y="17"/>
                  </a:lnTo>
                  <a:lnTo>
                    <a:pt x="394" y="17"/>
                  </a:lnTo>
                  <a:lnTo>
                    <a:pt x="346" y="41"/>
                  </a:lnTo>
                  <a:lnTo>
                    <a:pt x="346" y="41"/>
                  </a:lnTo>
                  <a:lnTo>
                    <a:pt x="336" y="44"/>
                  </a:lnTo>
                  <a:lnTo>
                    <a:pt x="334" y="44"/>
                  </a:lnTo>
                  <a:lnTo>
                    <a:pt x="331" y="45"/>
                  </a:lnTo>
                  <a:lnTo>
                    <a:pt x="331" y="45"/>
                  </a:lnTo>
                  <a:lnTo>
                    <a:pt x="328" y="48"/>
                  </a:lnTo>
                  <a:lnTo>
                    <a:pt x="323" y="50"/>
                  </a:lnTo>
                  <a:lnTo>
                    <a:pt x="323" y="50"/>
                  </a:lnTo>
                  <a:lnTo>
                    <a:pt x="319" y="51"/>
                  </a:lnTo>
                  <a:lnTo>
                    <a:pt x="313" y="54"/>
                  </a:lnTo>
                  <a:lnTo>
                    <a:pt x="313" y="54"/>
                  </a:lnTo>
                  <a:lnTo>
                    <a:pt x="294" y="62"/>
                  </a:lnTo>
                  <a:lnTo>
                    <a:pt x="269" y="72"/>
                  </a:lnTo>
                  <a:lnTo>
                    <a:pt x="269" y="72"/>
                  </a:lnTo>
                  <a:lnTo>
                    <a:pt x="197" y="95"/>
                  </a:lnTo>
                  <a:lnTo>
                    <a:pt x="197" y="95"/>
                  </a:lnTo>
                  <a:lnTo>
                    <a:pt x="170" y="101"/>
                  </a:lnTo>
                  <a:lnTo>
                    <a:pt x="142" y="108"/>
                  </a:lnTo>
                  <a:lnTo>
                    <a:pt x="142" y="108"/>
                  </a:lnTo>
                  <a:lnTo>
                    <a:pt x="134" y="109"/>
                  </a:lnTo>
                  <a:lnTo>
                    <a:pt x="130" y="111"/>
                  </a:lnTo>
                  <a:lnTo>
                    <a:pt x="125" y="113"/>
                  </a:lnTo>
                  <a:lnTo>
                    <a:pt x="125" y="113"/>
                  </a:lnTo>
                  <a:lnTo>
                    <a:pt x="124" y="114"/>
                  </a:lnTo>
                  <a:lnTo>
                    <a:pt x="122" y="116"/>
                  </a:lnTo>
                  <a:lnTo>
                    <a:pt x="122" y="117"/>
                  </a:lnTo>
                  <a:lnTo>
                    <a:pt x="120" y="117"/>
                  </a:lnTo>
                  <a:lnTo>
                    <a:pt x="120" y="117"/>
                  </a:lnTo>
                  <a:lnTo>
                    <a:pt x="107" y="120"/>
                  </a:lnTo>
                  <a:lnTo>
                    <a:pt x="92" y="122"/>
                  </a:lnTo>
                  <a:lnTo>
                    <a:pt x="92" y="122"/>
                  </a:lnTo>
                  <a:lnTo>
                    <a:pt x="87" y="122"/>
                  </a:lnTo>
                  <a:lnTo>
                    <a:pt x="87" y="122"/>
                  </a:lnTo>
                  <a:lnTo>
                    <a:pt x="78" y="122"/>
                  </a:lnTo>
                  <a:lnTo>
                    <a:pt x="78" y="122"/>
                  </a:lnTo>
                  <a:lnTo>
                    <a:pt x="66" y="122"/>
                  </a:lnTo>
                  <a:lnTo>
                    <a:pt x="66" y="122"/>
                  </a:lnTo>
                  <a:lnTo>
                    <a:pt x="57" y="125"/>
                  </a:lnTo>
                  <a:lnTo>
                    <a:pt x="57" y="125"/>
                  </a:lnTo>
                  <a:lnTo>
                    <a:pt x="32" y="128"/>
                  </a:lnTo>
                  <a:lnTo>
                    <a:pt x="32" y="128"/>
                  </a:lnTo>
                  <a:lnTo>
                    <a:pt x="9" y="129"/>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1" name="Freeform 117">
              <a:extLst>
                <a:ext uri="{FF2B5EF4-FFF2-40B4-BE49-F238E27FC236}">
                  <a16:creationId xmlns:a16="http://schemas.microsoft.com/office/drawing/2014/main" id="{BE434CAF-2F19-4BBD-B4BD-F5399B7F58B5}"/>
                </a:ext>
              </a:extLst>
            </p:cNvPr>
            <p:cNvSpPr>
              <a:spLocks/>
            </p:cNvSpPr>
            <p:nvPr/>
          </p:nvSpPr>
          <p:spPr bwMode="auto">
            <a:xfrm>
              <a:off x="2449513" y="841673"/>
              <a:ext cx="1458913" cy="517525"/>
            </a:xfrm>
            <a:custGeom>
              <a:avLst/>
              <a:gdLst/>
              <a:ahLst/>
              <a:cxnLst>
                <a:cxn ang="0">
                  <a:pos x="878" y="50"/>
                </a:cxn>
                <a:cxn ang="0">
                  <a:pos x="771" y="132"/>
                </a:cxn>
                <a:cxn ang="0">
                  <a:pos x="602" y="197"/>
                </a:cxn>
                <a:cxn ang="0">
                  <a:pos x="405" y="241"/>
                </a:cxn>
                <a:cxn ang="0">
                  <a:pos x="237" y="238"/>
                </a:cxn>
                <a:cxn ang="0">
                  <a:pos x="100" y="202"/>
                </a:cxn>
                <a:cxn ang="0">
                  <a:pos x="27" y="138"/>
                </a:cxn>
                <a:cxn ang="0">
                  <a:pos x="0" y="124"/>
                </a:cxn>
                <a:cxn ang="0">
                  <a:pos x="19" y="223"/>
                </a:cxn>
                <a:cxn ang="0">
                  <a:pos x="76" y="276"/>
                </a:cxn>
                <a:cxn ang="0">
                  <a:pos x="150" y="307"/>
                </a:cxn>
                <a:cxn ang="0">
                  <a:pos x="230" y="322"/>
                </a:cxn>
                <a:cxn ang="0">
                  <a:pos x="348" y="326"/>
                </a:cxn>
                <a:cxn ang="0">
                  <a:pos x="339" y="325"/>
                </a:cxn>
                <a:cxn ang="0">
                  <a:pos x="289" y="325"/>
                </a:cxn>
                <a:cxn ang="0">
                  <a:pos x="164" y="307"/>
                </a:cxn>
                <a:cxn ang="0">
                  <a:pos x="159" y="302"/>
                </a:cxn>
                <a:cxn ang="0">
                  <a:pos x="191" y="309"/>
                </a:cxn>
                <a:cxn ang="0">
                  <a:pos x="262" y="318"/>
                </a:cxn>
                <a:cxn ang="0">
                  <a:pos x="327" y="319"/>
                </a:cxn>
                <a:cxn ang="0">
                  <a:pos x="340" y="315"/>
                </a:cxn>
                <a:cxn ang="0">
                  <a:pos x="353" y="313"/>
                </a:cxn>
                <a:cxn ang="0">
                  <a:pos x="363" y="317"/>
                </a:cxn>
                <a:cxn ang="0">
                  <a:pos x="382" y="314"/>
                </a:cxn>
                <a:cxn ang="0">
                  <a:pos x="391" y="307"/>
                </a:cxn>
                <a:cxn ang="0">
                  <a:pos x="401" y="309"/>
                </a:cxn>
                <a:cxn ang="0">
                  <a:pos x="402" y="313"/>
                </a:cxn>
                <a:cxn ang="0">
                  <a:pos x="431" y="307"/>
                </a:cxn>
                <a:cxn ang="0">
                  <a:pos x="449" y="307"/>
                </a:cxn>
                <a:cxn ang="0">
                  <a:pos x="483" y="301"/>
                </a:cxn>
                <a:cxn ang="0">
                  <a:pos x="506" y="297"/>
                </a:cxn>
                <a:cxn ang="0">
                  <a:pos x="528" y="290"/>
                </a:cxn>
                <a:cxn ang="0">
                  <a:pos x="553" y="285"/>
                </a:cxn>
                <a:cxn ang="0">
                  <a:pos x="557" y="279"/>
                </a:cxn>
                <a:cxn ang="0">
                  <a:pos x="571" y="276"/>
                </a:cxn>
                <a:cxn ang="0">
                  <a:pos x="560" y="284"/>
                </a:cxn>
                <a:cxn ang="0">
                  <a:pos x="591" y="275"/>
                </a:cxn>
                <a:cxn ang="0">
                  <a:pos x="600" y="268"/>
                </a:cxn>
                <a:cxn ang="0">
                  <a:pos x="623" y="260"/>
                </a:cxn>
                <a:cxn ang="0">
                  <a:pos x="630" y="260"/>
                </a:cxn>
                <a:cxn ang="0">
                  <a:pos x="636" y="262"/>
                </a:cxn>
                <a:cxn ang="0">
                  <a:pos x="646" y="254"/>
                </a:cxn>
                <a:cxn ang="0">
                  <a:pos x="653" y="255"/>
                </a:cxn>
                <a:cxn ang="0">
                  <a:pos x="665" y="248"/>
                </a:cxn>
                <a:cxn ang="0">
                  <a:pos x="667" y="247"/>
                </a:cxn>
                <a:cxn ang="0">
                  <a:pos x="680" y="243"/>
                </a:cxn>
                <a:cxn ang="0">
                  <a:pos x="686" y="243"/>
                </a:cxn>
                <a:cxn ang="0">
                  <a:pos x="699" y="237"/>
                </a:cxn>
                <a:cxn ang="0">
                  <a:pos x="709" y="235"/>
                </a:cxn>
                <a:cxn ang="0">
                  <a:pos x="791" y="191"/>
                </a:cxn>
                <a:cxn ang="0">
                  <a:pos x="847" y="154"/>
                </a:cxn>
                <a:cxn ang="0">
                  <a:pos x="863" y="143"/>
                </a:cxn>
                <a:cxn ang="0">
                  <a:pos x="869" y="130"/>
                </a:cxn>
                <a:cxn ang="0">
                  <a:pos x="876" y="130"/>
                </a:cxn>
                <a:cxn ang="0">
                  <a:pos x="900" y="100"/>
                </a:cxn>
                <a:cxn ang="0">
                  <a:pos x="919" y="57"/>
                </a:cxn>
                <a:cxn ang="0">
                  <a:pos x="911" y="58"/>
                </a:cxn>
              </a:cxnLst>
              <a:rect l="0" t="0" r="r" b="b"/>
              <a:pathLst>
                <a:path w="919" h="326">
                  <a:moveTo>
                    <a:pt x="911" y="0"/>
                  </a:moveTo>
                  <a:lnTo>
                    <a:pt x="911" y="0"/>
                  </a:lnTo>
                  <a:lnTo>
                    <a:pt x="901" y="21"/>
                  </a:lnTo>
                  <a:lnTo>
                    <a:pt x="889" y="38"/>
                  </a:lnTo>
                  <a:lnTo>
                    <a:pt x="889" y="38"/>
                  </a:lnTo>
                  <a:lnTo>
                    <a:pt x="878" y="50"/>
                  </a:lnTo>
                  <a:lnTo>
                    <a:pt x="865" y="63"/>
                  </a:lnTo>
                  <a:lnTo>
                    <a:pt x="850" y="78"/>
                  </a:lnTo>
                  <a:lnTo>
                    <a:pt x="831" y="91"/>
                  </a:lnTo>
                  <a:lnTo>
                    <a:pt x="813" y="105"/>
                  </a:lnTo>
                  <a:lnTo>
                    <a:pt x="792" y="120"/>
                  </a:lnTo>
                  <a:lnTo>
                    <a:pt x="771" y="132"/>
                  </a:lnTo>
                  <a:lnTo>
                    <a:pt x="751" y="142"/>
                  </a:lnTo>
                  <a:lnTo>
                    <a:pt x="751" y="142"/>
                  </a:lnTo>
                  <a:lnTo>
                    <a:pt x="725" y="154"/>
                  </a:lnTo>
                  <a:lnTo>
                    <a:pt x="691" y="167"/>
                  </a:lnTo>
                  <a:lnTo>
                    <a:pt x="649" y="183"/>
                  </a:lnTo>
                  <a:lnTo>
                    <a:pt x="602" y="197"/>
                  </a:lnTo>
                  <a:lnTo>
                    <a:pt x="552" y="212"/>
                  </a:lnTo>
                  <a:lnTo>
                    <a:pt x="502" y="225"/>
                  </a:lnTo>
                  <a:lnTo>
                    <a:pt x="452" y="235"/>
                  </a:lnTo>
                  <a:lnTo>
                    <a:pt x="428" y="238"/>
                  </a:lnTo>
                  <a:lnTo>
                    <a:pt x="405" y="241"/>
                  </a:lnTo>
                  <a:lnTo>
                    <a:pt x="405" y="241"/>
                  </a:lnTo>
                  <a:lnTo>
                    <a:pt x="365" y="243"/>
                  </a:lnTo>
                  <a:lnTo>
                    <a:pt x="327" y="243"/>
                  </a:lnTo>
                  <a:lnTo>
                    <a:pt x="327" y="243"/>
                  </a:lnTo>
                  <a:lnTo>
                    <a:pt x="296" y="243"/>
                  </a:lnTo>
                  <a:lnTo>
                    <a:pt x="267" y="242"/>
                  </a:lnTo>
                  <a:lnTo>
                    <a:pt x="237" y="238"/>
                  </a:lnTo>
                  <a:lnTo>
                    <a:pt x="209" y="234"/>
                  </a:lnTo>
                  <a:lnTo>
                    <a:pt x="181" y="229"/>
                  </a:lnTo>
                  <a:lnTo>
                    <a:pt x="154" y="221"/>
                  </a:lnTo>
                  <a:lnTo>
                    <a:pt x="126" y="213"/>
                  </a:lnTo>
                  <a:lnTo>
                    <a:pt x="100" y="202"/>
                  </a:lnTo>
                  <a:lnTo>
                    <a:pt x="100" y="202"/>
                  </a:lnTo>
                  <a:lnTo>
                    <a:pt x="91" y="199"/>
                  </a:lnTo>
                  <a:lnTo>
                    <a:pt x="82" y="195"/>
                  </a:lnTo>
                  <a:lnTo>
                    <a:pt x="65" y="183"/>
                  </a:lnTo>
                  <a:lnTo>
                    <a:pt x="50" y="170"/>
                  </a:lnTo>
                  <a:lnTo>
                    <a:pt x="38" y="154"/>
                  </a:lnTo>
                  <a:lnTo>
                    <a:pt x="27" y="138"/>
                  </a:lnTo>
                  <a:lnTo>
                    <a:pt x="16" y="122"/>
                  </a:lnTo>
                  <a:lnTo>
                    <a:pt x="8" y="107"/>
                  </a:lnTo>
                  <a:lnTo>
                    <a:pt x="0" y="91"/>
                  </a:lnTo>
                  <a:lnTo>
                    <a:pt x="0" y="91"/>
                  </a:lnTo>
                  <a:lnTo>
                    <a:pt x="0" y="107"/>
                  </a:lnTo>
                  <a:lnTo>
                    <a:pt x="0" y="124"/>
                  </a:lnTo>
                  <a:lnTo>
                    <a:pt x="2" y="158"/>
                  </a:lnTo>
                  <a:lnTo>
                    <a:pt x="3" y="185"/>
                  </a:lnTo>
                  <a:lnTo>
                    <a:pt x="6" y="201"/>
                  </a:lnTo>
                  <a:lnTo>
                    <a:pt x="6" y="201"/>
                  </a:lnTo>
                  <a:lnTo>
                    <a:pt x="11" y="213"/>
                  </a:lnTo>
                  <a:lnTo>
                    <a:pt x="19" y="223"/>
                  </a:lnTo>
                  <a:lnTo>
                    <a:pt x="27" y="233"/>
                  </a:lnTo>
                  <a:lnTo>
                    <a:pt x="36" y="243"/>
                  </a:lnTo>
                  <a:lnTo>
                    <a:pt x="36" y="243"/>
                  </a:lnTo>
                  <a:lnTo>
                    <a:pt x="46" y="252"/>
                  </a:lnTo>
                  <a:lnTo>
                    <a:pt x="57" y="262"/>
                  </a:lnTo>
                  <a:lnTo>
                    <a:pt x="76" y="276"/>
                  </a:lnTo>
                  <a:lnTo>
                    <a:pt x="93" y="286"/>
                  </a:lnTo>
                  <a:lnTo>
                    <a:pt x="105" y="292"/>
                  </a:lnTo>
                  <a:lnTo>
                    <a:pt x="105" y="292"/>
                  </a:lnTo>
                  <a:lnTo>
                    <a:pt x="129" y="300"/>
                  </a:lnTo>
                  <a:lnTo>
                    <a:pt x="142" y="305"/>
                  </a:lnTo>
                  <a:lnTo>
                    <a:pt x="150" y="307"/>
                  </a:lnTo>
                  <a:lnTo>
                    <a:pt x="150" y="307"/>
                  </a:lnTo>
                  <a:lnTo>
                    <a:pt x="164" y="310"/>
                  </a:lnTo>
                  <a:lnTo>
                    <a:pt x="180" y="314"/>
                  </a:lnTo>
                  <a:lnTo>
                    <a:pt x="180" y="314"/>
                  </a:lnTo>
                  <a:lnTo>
                    <a:pt x="204" y="318"/>
                  </a:lnTo>
                  <a:lnTo>
                    <a:pt x="230" y="322"/>
                  </a:lnTo>
                  <a:lnTo>
                    <a:pt x="230" y="322"/>
                  </a:lnTo>
                  <a:lnTo>
                    <a:pt x="258" y="323"/>
                  </a:lnTo>
                  <a:lnTo>
                    <a:pt x="281" y="325"/>
                  </a:lnTo>
                  <a:lnTo>
                    <a:pt x="281" y="325"/>
                  </a:lnTo>
                  <a:lnTo>
                    <a:pt x="348" y="326"/>
                  </a:lnTo>
                  <a:lnTo>
                    <a:pt x="348" y="326"/>
                  </a:lnTo>
                  <a:lnTo>
                    <a:pt x="351" y="326"/>
                  </a:lnTo>
                  <a:lnTo>
                    <a:pt x="351" y="325"/>
                  </a:lnTo>
                  <a:lnTo>
                    <a:pt x="349" y="323"/>
                  </a:lnTo>
                  <a:lnTo>
                    <a:pt x="347" y="323"/>
                  </a:lnTo>
                  <a:lnTo>
                    <a:pt x="347" y="323"/>
                  </a:lnTo>
                  <a:lnTo>
                    <a:pt x="339" y="325"/>
                  </a:lnTo>
                  <a:lnTo>
                    <a:pt x="327" y="325"/>
                  </a:lnTo>
                  <a:lnTo>
                    <a:pt x="327" y="325"/>
                  </a:lnTo>
                  <a:lnTo>
                    <a:pt x="323" y="325"/>
                  </a:lnTo>
                  <a:lnTo>
                    <a:pt x="323" y="325"/>
                  </a:lnTo>
                  <a:lnTo>
                    <a:pt x="289" y="325"/>
                  </a:lnTo>
                  <a:lnTo>
                    <a:pt x="289" y="325"/>
                  </a:lnTo>
                  <a:lnTo>
                    <a:pt x="248" y="321"/>
                  </a:lnTo>
                  <a:lnTo>
                    <a:pt x="248" y="321"/>
                  </a:lnTo>
                  <a:lnTo>
                    <a:pt x="202" y="315"/>
                  </a:lnTo>
                  <a:lnTo>
                    <a:pt x="202" y="315"/>
                  </a:lnTo>
                  <a:lnTo>
                    <a:pt x="181" y="311"/>
                  </a:lnTo>
                  <a:lnTo>
                    <a:pt x="164" y="307"/>
                  </a:lnTo>
                  <a:lnTo>
                    <a:pt x="164" y="307"/>
                  </a:lnTo>
                  <a:lnTo>
                    <a:pt x="160" y="307"/>
                  </a:lnTo>
                  <a:lnTo>
                    <a:pt x="159" y="305"/>
                  </a:lnTo>
                  <a:lnTo>
                    <a:pt x="158" y="304"/>
                  </a:lnTo>
                  <a:lnTo>
                    <a:pt x="159" y="302"/>
                  </a:lnTo>
                  <a:lnTo>
                    <a:pt x="159" y="302"/>
                  </a:lnTo>
                  <a:lnTo>
                    <a:pt x="162" y="302"/>
                  </a:lnTo>
                  <a:lnTo>
                    <a:pt x="162" y="302"/>
                  </a:lnTo>
                  <a:lnTo>
                    <a:pt x="168" y="302"/>
                  </a:lnTo>
                  <a:lnTo>
                    <a:pt x="176" y="305"/>
                  </a:lnTo>
                  <a:lnTo>
                    <a:pt x="176" y="305"/>
                  </a:lnTo>
                  <a:lnTo>
                    <a:pt x="191" y="309"/>
                  </a:lnTo>
                  <a:lnTo>
                    <a:pt x="210" y="313"/>
                  </a:lnTo>
                  <a:lnTo>
                    <a:pt x="210" y="313"/>
                  </a:lnTo>
                  <a:lnTo>
                    <a:pt x="234" y="315"/>
                  </a:lnTo>
                  <a:lnTo>
                    <a:pt x="248" y="318"/>
                  </a:lnTo>
                  <a:lnTo>
                    <a:pt x="262" y="318"/>
                  </a:lnTo>
                  <a:lnTo>
                    <a:pt x="262" y="318"/>
                  </a:lnTo>
                  <a:lnTo>
                    <a:pt x="265" y="318"/>
                  </a:lnTo>
                  <a:lnTo>
                    <a:pt x="265" y="318"/>
                  </a:lnTo>
                  <a:lnTo>
                    <a:pt x="277" y="318"/>
                  </a:lnTo>
                  <a:lnTo>
                    <a:pt x="277" y="318"/>
                  </a:lnTo>
                  <a:lnTo>
                    <a:pt x="327" y="319"/>
                  </a:lnTo>
                  <a:lnTo>
                    <a:pt x="327" y="319"/>
                  </a:lnTo>
                  <a:lnTo>
                    <a:pt x="335" y="319"/>
                  </a:lnTo>
                  <a:lnTo>
                    <a:pt x="335" y="319"/>
                  </a:lnTo>
                  <a:lnTo>
                    <a:pt x="339" y="319"/>
                  </a:lnTo>
                  <a:lnTo>
                    <a:pt x="340" y="318"/>
                  </a:lnTo>
                  <a:lnTo>
                    <a:pt x="340" y="315"/>
                  </a:lnTo>
                  <a:lnTo>
                    <a:pt x="340" y="315"/>
                  </a:lnTo>
                  <a:lnTo>
                    <a:pt x="340" y="314"/>
                  </a:lnTo>
                  <a:lnTo>
                    <a:pt x="343" y="313"/>
                  </a:lnTo>
                  <a:lnTo>
                    <a:pt x="349" y="313"/>
                  </a:lnTo>
                  <a:lnTo>
                    <a:pt x="349" y="313"/>
                  </a:lnTo>
                  <a:lnTo>
                    <a:pt x="353" y="313"/>
                  </a:lnTo>
                  <a:lnTo>
                    <a:pt x="353" y="313"/>
                  </a:lnTo>
                  <a:lnTo>
                    <a:pt x="356" y="313"/>
                  </a:lnTo>
                  <a:lnTo>
                    <a:pt x="356" y="314"/>
                  </a:lnTo>
                  <a:lnTo>
                    <a:pt x="356" y="315"/>
                  </a:lnTo>
                  <a:lnTo>
                    <a:pt x="359" y="317"/>
                  </a:lnTo>
                  <a:lnTo>
                    <a:pt x="359" y="317"/>
                  </a:lnTo>
                  <a:lnTo>
                    <a:pt x="363" y="317"/>
                  </a:lnTo>
                  <a:lnTo>
                    <a:pt x="363" y="317"/>
                  </a:lnTo>
                  <a:lnTo>
                    <a:pt x="369" y="317"/>
                  </a:lnTo>
                  <a:lnTo>
                    <a:pt x="376" y="315"/>
                  </a:lnTo>
                  <a:lnTo>
                    <a:pt x="376" y="315"/>
                  </a:lnTo>
                  <a:lnTo>
                    <a:pt x="381" y="314"/>
                  </a:lnTo>
                  <a:lnTo>
                    <a:pt x="382" y="314"/>
                  </a:lnTo>
                  <a:lnTo>
                    <a:pt x="385" y="313"/>
                  </a:lnTo>
                  <a:lnTo>
                    <a:pt x="385" y="313"/>
                  </a:lnTo>
                  <a:lnTo>
                    <a:pt x="386" y="313"/>
                  </a:lnTo>
                  <a:lnTo>
                    <a:pt x="388" y="310"/>
                  </a:lnTo>
                  <a:lnTo>
                    <a:pt x="389" y="309"/>
                  </a:lnTo>
                  <a:lnTo>
                    <a:pt x="391" y="307"/>
                  </a:lnTo>
                  <a:lnTo>
                    <a:pt x="391" y="307"/>
                  </a:lnTo>
                  <a:lnTo>
                    <a:pt x="395" y="307"/>
                  </a:lnTo>
                  <a:lnTo>
                    <a:pt x="395" y="307"/>
                  </a:lnTo>
                  <a:lnTo>
                    <a:pt x="401" y="309"/>
                  </a:lnTo>
                  <a:lnTo>
                    <a:pt x="402" y="309"/>
                  </a:lnTo>
                  <a:lnTo>
                    <a:pt x="401" y="309"/>
                  </a:lnTo>
                  <a:lnTo>
                    <a:pt x="401" y="309"/>
                  </a:lnTo>
                  <a:lnTo>
                    <a:pt x="398" y="310"/>
                  </a:lnTo>
                  <a:lnTo>
                    <a:pt x="397" y="311"/>
                  </a:lnTo>
                  <a:lnTo>
                    <a:pt x="398" y="313"/>
                  </a:lnTo>
                  <a:lnTo>
                    <a:pt x="402" y="313"/>
                  </a:lnTo>
                  <a:lnTo>
                    <a:pt x="402" y="313"/>
                  </a:lnTo>
                  <a:lnTo>
                    <a:pt x="407" y="313"/>
                  </a:lnTo>
                  <a:lnTo>
                    <a:pt x="415" y="311"/>
                  </a:lnTo>
                  <a:lnTo>
                    <a:pt x="415" y="311"/>
                  </a:lnTo>
                  <a:lnTo>
                    <a:pt x="423" y="310"/>
                  </a:lnTo>
                  <a:lnTo>
                    <a:pt x="431" y="307"/>
                  </a:lnTo>
                  <a:lnTo>
                    <a:pt x="431" y="307"/>
                  </a:lnTo>
                  <a:lnTo>
                    <a:pt x="433" y="307"/>
                  </a:lnTo>
                  <a:lnTo>
                    <a:pt x="433" y="307"/>
                  </a:lnTo>
                  <a:lnTo>
                    <a:pt x="437" y="307"/>
                  </a:lnTo>
                  <a:lnTo>
                    <a:pt x="443" y="309"/>
                  </a:lnTo>
                  <a:lnTo>
                    <a:pt x="443" y="309"/>
                  </a:lnTo>
                  <a:lnTo>
                    <a:pt x="449" y="307"/>
                  </a:lnTo>
                  <a:lnTo>
                    <a:pt x="457" y="306"/>
                  </a:lnTo>
                  <a:lnTo>
                    <a:pt x="466" y="304"/>
                  </a:lnTo>
                  <a:lnTo>
                    <a:pt x="473" y="304"/>
                  </a:lnTo>
                  <a:lnTo>
                    <a:pt x="473" y="304"/>
                  </a:lnTo>
                  <a:lnTo>
                    <a:pt x="479" y="302"/>
                  </a:lnTo>
                  <a:lnTo>
                    <a:pt x="483" y="301"/>
                  </a:lnTo>
                  <a:lnTo>
                    <a:pt x="483" y="301"/>
                  </a:lnTo>
                  <a:lnTo>
                    <a:pt x="495" y="298"/>
                  </a:lnTo>
                  <a:lnTo>
                    <a:pt x="495" y="298"/>
                  </a:lnTo>
                  <a:lnTo>
                    <a:pt x="499" y="298"/>
                  </a:lnTo>
                  <a:lnTo>
                    <a:pt x="506" y="297"/>
                  </a:lnTo>
                  <a:lnTo>
                    <a:pt x="506" y="297"/>
                  </a:lnTo>
                  <a:lnTo>
                    <a:pt x="514" y="294"/>
                  </a:lnTo>
                  <a:lnTo>
                    <a:pt x="517" y="292"/>
                  </a:lnTo>
                  <a:lnTo>
                    <a:pt x="524" y="292"/>
                  </a:lnTo>
                  <a:lnTo>
                    <a:pt x="524" y="292"/>
                  </a:lnTo>
                  <a:lnTo>
                    <a:pt x="528" y="290"/>
                  </a:lnTo>
                  <a:lnTo>
                    <a:pt x="528" y="290"/>
                  </a:lnTo>
                  <a:lnTo>
                    <a:pt x="525" y="292"/>
                  </a:lnTo>
                  <a:lnTo>
                    <a:pt x="525" y="292"/>
                  </a:lnTo>
                  <a:lnTo>
                    <a:pt x="548" y="286"/>
                  </a:lnTo>
                  <a:lnTo>
                    <a:pt x="548" y="286"/>
                  </a:lnTo>
                  <a:lnTo>
                    <a:pt x="553" y="285"/>
                  </a:lnTo>
                  <a:lnTo>
                    <a:pt x="553" y="285"/>
                  </a:lnTo>
                  <a:lnTo>
                    <a:pt x="553" y="284"/>
                  </a:lnTo>
                  <a:lnTo>
                    <a:pt x="553" y="284"/>
                  </a:lnTo>
                  <a:lnTo>
                    <a:pt x="552" y="283"/>
                  </a:lnTo>
                  <a:lnTo>
                    <a:pt x="553" y="281"/>
                  </a:lnTo>
                  <a:lnTo>
                    <a:pt x="557" y="279"/>
                  </a:lnTo>
                  <a:lnTo>
                    <a:pt x="557" y="279"/>
                  </a:lnTo>
                  <a:lnTo>
                    <a:pt x="563" y="276"/>
                  </a:lnTo>
                  <a:lnTo>
                    <a:pt x="567" y="275"/>
                  </a:lnTo>
                  <a:lnTo>
                    <a:pt x="570" y="273"/>
                  </a:lnTo>
                  <a:lnTo>
                    <a:pt x="570" y="273"/>
                  </a:lnTo>
                  <a:lnTo>
                    <a:pt x="573" y="275"/>
                  </a:lnTo>
                  <a:lnTo>
                    <a:pt x="571" y="276"/>
                  </a:lnTo>
                  <a:lnTo>
                    <a:pt x="569" y="277"/>
                  </a:lnTo>
                  <a:lnTo>
                    <a:pt x="563" y="280"/>
                  </a:lnTo>
                  <a:lnTo>
                    <a:pt x="563" y="280"/>
                  </a:lnTo>
                  <a:lnTo>
                    <a:pt x="558" y="283"/>
                  </a:lnTo>
                  <a:lnTo>
                    <a:pt x="558" y="283"/>
                  </a:lnTo>
                  <a:lnTo>
                    <a:pt x="560" y="284"/>
                  </a:lnTo>
                  <a:lnTo>
                    <a:pt x="560" y="284"/>
                  </a:lnTo>
                  <a:lnTo>
                    <a:pt x="561" y="284"/>
                  </a:lnTo>
                  <a:lnTo>
                    <a:pt x="561" y="284"/>
                  </a:lnTo>
                  <a:lnTo>
                    <a:pt x="578" y="277"/>
                  </a:lnTo>
                  <a:lnTo>
                    <a:pt x="578" y="277"/>
                  </a:lnTo>
                  <a:lnTo>
                    <a:pt x="591" y="275"/>
                  </a:lnTo>
                  <a:lnTo>
                    <a:pt x="598" y="273"/>
                  </a:lnTo>
                  <a:lnTo>
                    <a:pt x="598" y="273"/>
                  </a:lnTo>
                  <a:lnTo>
                    <a:pt x="600" y="272"/>
                  </a:lnTo>
                  <a:lnTo>
                    <a:pt x="600" y="271"/>
                  </a:lnTo>
                  <a:lnTo>
                    <a:pt x="600" y="268"/>
                  </a:lnTo>
                  <a:lnTo>
                    <a:pt x="600" y="268"/>
                  </a:lnTo>
                  <a:lnTo>
                    <a:pt x="600" y="267"/>
                  </a:lnTo>
                  <a:lnTo>
                    <a:pt x="603" y="265"/>
                  </a:lnTo>
                  <a:lnTo>
                    <a:pt x="608" y="264"/>
                  </a:lnTo>
                  <a:lnTo>
                    <a:pt x="608" y="264"/>
                  </a:lnTo>
                  <a:lnTo>
                    <a:pt x="615" y="263"/>
                  </a:lnTo>
                  <a:lnTo>
                    <a:pt x="623" y="260"/>
                  </a:lnTo>
                  <a:lnTo>
                    <a:pt x="623" y="260"/>
                  </a:lnTo>
                  <a:lnTo>
                    <a:pt x="633" y="258"/>
                  </a:lnTo>
                  <a:lnTo>
                    <a:pt x="633" y="258"/>
                  </a:lnTo>
                  <a:lnTo>
                    <a:pt x="632" y="259"/>
                  </a:lnTo>
                  <a:lnTo>
                    <a:pt x="632" y="259"/>
                  </a:lnTo>
                  <a:lnTo>
                    <a:pt x="630" y="260"/>
                  </a:lnTo>
                  <a:lnTo>
                    <a:pt x="630" y="260"/>
                  </a:lnTo>
                  <a:lnTo>
                    <a:pt x="630" y="262"/>
                  </a:lnTo>
                  <a:lnTo>
                    <a:pt x="633" y="262"/>
                  </a:lnTo>
                  <a:lnTo>
                    <a:pt x="633" y="262"/>
                  </a:lnTo>
                  <a:lnTo>
                    <a:pt x="636" y="262"/>
                  </a:lnTo>
                  <a:lnTo>
                    <a:pt x="636" y="262"/>
                  </a:lnTo>
                  <a:lnTo>
                    <a:pt x="640" y="260"/>
                  </a:lnTo>
                  <a:lnTo>
                    <a:pt x="644" y="258"/>
                  </a:lnTo>
                  <a:lnTo>
                    <a:pt x="644" y="258"/>
                  </a:lnTo>
                  <a:lnTo>
                    <a:pt x="646" y="258"/>
                  </a:lnTo>
                  <a:lnTo>
                    <a:pt x="646" y="254"/>
                  </a:lnTo>
                  <a:lnTo>
                    <a:pt x="646" y="254"/>
                  </a:lnTo>
                  <a:lnTo>
                    <a:pt x="647" y="252"/>
                  </a:lnTo>
                  <a:lnTo>
                    <a:pt x="649" y="252"/>
                  </a:lnTo>
                  <a:lnTo>
                    <a:pt x="649" y="252"/>
                  </a:lnTo>
                  <a:lnTo>
                    <a:pt x="651" y="252"/>
                  </a:lnTo>
                  <a:lnTo>
                    <a:pt x="653" y="255"/>
                  </a:lnTo>
                  <a:lnTo>
                    <a:pt x="653" y="255"/>
                  </a:lnTo>
                  <a:lnTo>
                    <a:pt x="654" y="255"/>
                  </a:lnTo>
                  <a:lnTo>
                    <a:pt x="654" y="255"/>
                  </a:lnTo>
                  <a:lnTo>
                    <a:pt x="657" y="255"/>
                  </a:lnTo>
                  <a:lnTo>
                    <a:pt x="659" y="254"/>
                  </a:lnTo>
                  <a:lnTo>
                    <a:pt x="665" y="248"/>
                  </a:lnTo>
                  <a:lnTo>
                    <a:pt x="665" y="248"/>
                  </a:lnTo>
                  <a:lnTo>
                    <a:pt x="667" y="246"/>
                  </a:lnTo>
                  <a:lnTo>
                    <a:pt x="667" y="246"/>
                  </a:lnTo>
                  <a:lnTo>
                    <a:pt x="667" y="246"/>
                  </a:lnTo>
                  <a:lnTo>
                    <a:pt x="667" y="246"/>
                  </a:lnTo>
                  <a:lnTo>
                    <a:pt x="667" y="247"/>
                  </a:lnTo>
                  <a:lnTo>
                    <a:pt x="667" y="247"/>
                  </a:lnTo>
                  <a:lnTo>
                    <a:pt x="667" y="247"/>
                  </a:lnTo>
                  <a:lnTo>
                    <a:pt x="667" y="247"/>
                  </a:lnTo>
                  <a:lnTo>
                    <a:pt x="678" y="243"/>
                  </a:lnTo>
                  <a:lnTo>
                    <a:pt x="678" y="243"/>
                  </a:lnTo>
                  <a:lnTo>
                    <a:pt x="680" y="243"/>
                  </a:lnTo>
                  <a:lnTo>
                    <a:pt x="680" y="243"/>
                  </a:lnTo>
                  <a:lnTo>
                    <a:pt x="682" y="243"/>
                  </a:lnTo>
                  <a:lnTo>
                    <a:pt x="682" y="243"/>
                  </a:lnTo>
                  <a:lnTo>
                    <a:pt x="683" y="243"/>
                  </a:lnTo>
                  <a:lnTo>
                    <a:pt x="683" y="243"/>
                  </a:lnTo>
                  <a:lnTo>
                    <a:pt x="686" y="243"/>
                  </a:lnTo>
                  <a:lnTo>
                    <a:pt x="686" y="243"/>
                  </a:lnTo>
                  <a:lnTo>
                    <a:pt x="689" y="239"/>
                  </a:lnTo>
                  <a:lnTo>
                    <a:pt x="692" y="238"/>
                  </a:lnTo>
                  <a:lnTo>
                    <a:pt x="696" y="237"/>
                  </a:lnTo>
                  <a:lnTo>
                    <a:pt x="696" y="237"/>
                  </a:lnTo>
                  <a:lnTo>
                    <a:pt x="699" y="237"/>
                  </a:lnTo>
                  <a:lnTo>
                    <a:pt x="699" y="237"/>
                  </a:lnTo>
                  <a:lnTo>
                    <a:pt x="701" y="237"/>
                  </a:lnTo>
                  <a:lnTo>
                    <a:pt x="701" y="237"/>
                  </a:lnTo>
                  <a:lnTo>
                    <a:pt x="704" y="237"/>
                  </a:lnTo>
                  <a:lnTo>
                    <a:pt x="704" y="237"/>
                  </a:lnTo>
                  <a:lnTo>
                    <a:pt x="709" y="235"/>
                  </a:lnTo>
                  <a:lnTo>
                    <a:pt x="709" y="235"/>
                  </a:lnTo>
                  <a:lnTo>
                    <a:pt x="718" y="231"/>
                  </a:lnTo>
                  <a:lnTo>
                    <a:pt x="726" y="226"/>
                  </a:lnTo>
                  <a:lnTo>
                    <a:pt x="737" y="221"/>
                  </a:lnTo>
                  <a:lnTo>
                    <a:pt x="737" y="221"/>
                  </a:lnTo>
                  <a:lnTo>
                    <a:pt x="758" y="209"/>
                  </a:lnTo>
                  <a:lnTo>
                    <a:pt x="791" y="191"/>
                  </a:lnTo>
                  <a:lnTo>
                    <a:pt x="839" y="166"/>
                  </a:lnTo>
                  <a:lnTo>
                    <a:pt x="839" y="166"/>
                  </a:lnTo>
                  <a:lnTo>
                    <a:pt x="843" y="163"/>
                  </a:lnTo>
                  <a:lnTo>
                    <a:pt x="844" y="159"/>
                  </a:lnTo>
                  <a:lnTo>
                    <a:pt x="847" y="154"/>
                  </a:lnTo>
                  <a:lnTo>
                    <a:pt x="847" y="154"/>
                  </a:lnTo>
                  <a:lnTo>
                    <a:pt x="850" y="153"/>
                  </a:lnTo>
                  <a:lnTo>
                    <a:pt x="854" y="151"/>
                  </a:lnTo>
                  <a:lnTo>
                    <a:pt x="854" y="151"/>
                  </a:lnTo>
                  <a:lnTo>
                    <a:pt x="856" y="151"/>
                  </a:lnTo>
                  <a:lnTo>
                    <a:pt x="856" y="151"/>
                  </a:lnTo>
                  <a:lnTo>
                    <a:pt x="863" y="143"/>
                  </a:lnTo>
                  <a:lnTo>
                    <a:pt x="863" y="143"/>
                  </a:lnTo>
                  <a:lnTo>
                    <a:pt x="867" y="138"/>
                  </a:lnTo>
                  <a:lnTo>
                    <a:pt x="868" y="135"/>
                  </a:lnTo>
                  <a:lnTo>
                    <a:pt x="868" y="134"/>
                  </a:lnTo>
                  <a:lnTo>
                    <a:pt x="869" y="130"/>
                  </a:lnTo>
                  <a:lnTo>
                    <a:pt x="869" y="130"/>
                  </a:lnTo>
                  <a:lnTo>
                    <a:pt x="871" y="129"/>
                  </a:lnTo>
                  <a:lnTo>
                    <a:pt x="872" y="129"/>
                  </a:lnTo>
                  <a:lnTo>
                    <a:pt x="872" y="129"/>
                  </a:lnTo>
                  <a:lnTo>
                    <a:pt x="873" y="129"/>
                  </a:lnTo>
                  <a:lnTo>
                    <a:pt x="873" y="129"/>
                  </a:lnTo>
                  <a:lnTo>
                    <a:pt x="876" y="130"/>
                  </a:lnTo>
                  <a:lnTo>
                    <a:pt x="876" y="130"/>
                  </a:lnTo>
                  <a:lnTo>
                    <a:pt x="880" y="129"/>
                  </a:lnTo>
                  <a:lnTo>
                    <a:pt x="880" y="129"/>
                  </a:lnTo>
                  <a:lnTo>
                    <a:pt x="884" y="125"/>
                  </a:lnTo>
                  <a:lnTo>
                    <a:pt x="888" y="118"/>
                  </a:lnTo>
                  <a:lnTo>
                    <a:pt x="900" y="100"/>
                  </a:lnTo>
                  <a:lnTo>
                    <a:pt x="900" y="100"/>
                  </a:lnTo>
                  <a:lnTo>
                    <a:pt x="907" y="88"/>
                  </a:lnTo>
                  <a:lnTo>
                    <a:pt x="913" y="75"/>
                  </a:lnTo>
                  <a:lnTo>
                    <a:pt x="918" y="61"/>
                  </a:lnTo>
                  <a:lnTo>
                    <a:pt x="918" y="61"/>
                  </a:lnTo>
                  <a:lnTo>
                    <a:pt x="919" y="57"/>
                  </a:lnTo>
                  <a:lnTo>
                    <a:pt x="919" y="57"/>
                  </a:lnTo>
                  <a:lnTo>
                    <a:pt x="917" y="62"/>
                  </a:lnTo>
                  <a:lnTo>
                    <a:pt x="914" y="65"/>
                  </a:lnTo>
                  <a:lnTo>
                    <a:pt x="914" y="65"/>
                  </a:lnTo>
                  <a:lnTo>
                    <a:pt x="913" y="62"/>
                  </a:lnTo>
                  <a:lnTo>
                    <a:pt x="911" y="58"/>
                  </a:lnTo>
                  <a:lnTo>
                    <a:pt x="913" y="38"/>
                  </a:lnTo>
                  <a:lnTo>
                    <a:pt x="913" y="38"/>
                  </a:lnTo>
                  <a:lnTo>
                    <a:pt x="914" y="20"/>
                  </a:lnTo>
                  <a:lnTo>
                    <a:pt x="911"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2" name="Freeform 118">
              <a:extLst>
                <a:ext uri="{FF2B5EF4-FFF2-40B4-BE49-F238E27FC236}">
                  <a16:creationId xmlns:a16="http://schemas.microsoft.com/office/drawing/2014/main" id="{B1411058-EAD6-43DB-8F14-A842CC51D29B}"/>
                </a:ext>
              </a:extLst>
            </p:cNvPr>
            <p:cNvSpPr>
              <a:spLocks/>
            </p:cNvSpPr>
            <p:nvPr/>
          </p:nvSpPr>
          <p:spPr bwMode="auto">
            <a:xfrm>
              <a:off x="3933825" y="708323"/>
              <a:ext cx="6350" cy="46038"/>
            </a:xfrm>
            <a:custGeom>
              <a:avLst/>
              <a:gdLst/>
              <a:ahLst/>
              <a:cxnLst>
                <a:cxn ang="0">
                  <a:pos x="0" y="0"/>
                </a:cxn>
                <a:cxn ang="0">
                  <a:pos x="0" y="0"/>
                </a:cxn>
                <a:cxn ang="0">
                  <a:pos x="0" y="7"/>
                </a:cxn>
                <a:cxn ang="0">
                  <a:pos x="0" y="7"/>
                </a:cxn>
                <a:cxn ang="0">
                  <a:pos x="4" y="29"/>
                </a:cxn>
                <a:cxn ang="0">
                  <a:pos x="4" y="29"/>
                </a:cxn>
                <a:cxn ang="0">
                  <a:pos x="4" y="17"/>
                </a:cxn>
                <a:cxn ang="0">
                  <a:pos x="3" y="8"/>
                </a:cxn>
                <a:cxn ang="0">
                  <a:pos x="0" y="0"/>
                </a:cxn>
              </a:cxnLst>
              <a:rect l="0" t="0" r="r" b="b"/>
              <a:pathLst>
                <a:path w="4" h="29">
                  <a:moveTo>
                    <a:pt x="0" y="0"/>
                  </a:moveTo>
                  <a:lnTo>
                    <a:pt x="0" y="0"/>
                  </a:lnTo>
                  <a:lnTo>
                    <a:pt x="0" y="7"/>
                  </a:lnTo>
                  <a:lnTo>
                    <a:pt x="0" y="7"/>
                  </a:lnTo>
                  <a:lnTo>
                    <a:pt x="4" y="29"/>
                  </a:lnTo>
                  <a:lnTo>
                    <a:pt x="4" y="29"/>
                  </a:lnTo>
                  <a:lnTo>
                    <a:pt x="4" y="17"/>
                  </a:lnTo>
                  <a:lnTo>
                    <a:pt x="3" y="8"/>
                  </a:lnTo>
                  <a:lnTo>
                    <a:pt x="0"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3" name="Freeform 119">
              <a:extLst>
                <a:ext uri="{FF2B5EF4-FFF2-40B4-BE49-F238E27FC236}">
                  <a16:creationId xmlns:a16="http://schemas.microsoft.com/office/drawing/2014/main" id="{FC95B00E-E8B9-4DDD-A2EC-DCA0B3B18AE5}"/>
                </a:ext>
              </a:extLst>
            </p:cNvPr>
            <p:cNvSpPr>
              <a:spLocks/>
            </p:cNvSpPr>
            <p:nvPr/>
          </p:nvSpPr>
          <p:spPr bwMode="auto">
            <a:xfrm>
              <a:off x="2414588" y="898823"/>
              <a:ext cx="44450" cy="261938"/>
            </a:xfrm>
            <a:custGeom>
              <a:avLst/>
              <a:gdLst/>
              <a:ahLst/>
              <a:cxnLst>
                <a:cxn ang="0">
                  <a:pos x="3" y="0"/>
                </a:cxn>
                <a:cxn ang="0">
                  <a:pos x="3" y="0"/>
                </a:cxn>
                <a:cxn ang="0">
                  <a:pos x="3" y="0"/>
                </a:cxn>
                <a:cxn ang="0">
                  <a:pos x="3" y="0"/>
                </a:cxn>
                <a:cxn ang="0">
                  <a:pos x="1" y="1"/>
                </a:cxn>
                <a:cxn ang="0">
                  <a:pos x="1" y="1"/>
                </a:cxn>
                <a:cxn ang="0">
                  <a:pos x="0" y="19"/>
                </a:cxn>
                <a:cxn ang="0">
                  <a:pos x="0" y="38"/>
                </a:cxn>
                <a:cxn ang="0">
                  <a:pos x="0" y="56"/>
                </a:cxn>
                <a:cxn ang="0">
                  <a:pos x="1" y="73"/>
                </a:cxn>
                <a:cxn ang="0">
                  <a:pos x="4" y="90"/>
                </a:cxn>
                <a:cxn ang="0">
                  <a:pos x="7" y="106"/>
                </a:cxn>
                <a:cxn ang="0">
                  <a:pos x="10" y="121"/>
                </a:cxn>
                <a:cxn ang="0">
                  <a:pos x="14" y="132"/>
                </a:cxn>
                <a:cxn ang="0">
                  <a:pos x="14" y="132"/>
                </a:cxn>
                <a:cxn ang="0">
                  <a:pos x="26" y="163"/>
                </a:cxn>
                <a:cxn ang="0">
                  <a:pos x="26" y="163"/>
                </a:cxn>
                <a:cxn ang="0">
                  <a:pos x="28" y="165"/>
                </a:cxn>
                <a:cxn ang="0">
                  <a:pos x="28" y="165"/>
                </a:cxn>
                <a:cxn ang="0">
                  <a:pos x="25" y="149"/>
                </a:cxn>
                <a:cxn ang="0">
                  <a:pos x="24" y="122"/>
                </a:cxn>
                <a:cxn ang="0">
                  <a:pos x="22" y="88"/>
                </a:cxn>
                <a:cxn ang="0">
                  <a:pos x="22" y="71"/>
                </a:cxn>
                <a:cxn ang="0">
                  <a:pos x="22" y="55"/>
                </a:cxn>
                <a:cxn ang="0">
                  <a:pos x="22" y="55"/>
                </a:cxn>
                <a:cxn ang="0">
                  <a:pos x="14" y="33"/>
                </a:cxn>
                <a:cxn ang="0">
                  <a:pos x="8" y="15"/>
                </a:cxn>
                <a:cxn ang="0">
                  <a:pos x="4" y="4"/>
                </a:cxn>
                <a:cxn ang="0">
                  <a:pos x="3" y="0"/>
                </a:cxn>
              </a:cxnLst>
              <a:rect l="0" t="0" r="r" b="b"/>
              <a:pathLst>
                <a:path w="28" h="165">
                  <a:moveTo>
                    <a:pt x="3" y="0"/>
                  </a:moveTo>
                  <a:lnTo>
                    <a:pt x="3" y="0"/>
                  </a:lnTo>
                  <a:lnTo>
                    <a:pt x="3" y="0"/>
                  </a:lnTo>
                  <a:lnTo>
                    <a:pt x="3" y="0"/>
                  </a:lnTo>
                  <a:lnTo>
                    <a:pt x="1" y="1"/>
                  </a:lnTo>
                  <a:lnTo>
                    <a:pt x="1" y="1"/>
                  </a:lnTo>
                  <a:lnTo>
                    <a:pt x="0" y="19"/>
                  </a:lnTo>
                  <a:lnTo>
                    <a:pt x="0" y="38"/>
                  </a:lnTo>
                  <a:lnTo>
                    <a:pt x="0" y="56"/>
                  </a:lnTo>
                  <a:lnTo>
                    <a:pt x="1" y="73"/>
                  </a:lnTo>
                  <a:lnTo>
                    <a:pt x="4" y="90"/>
                  </a:lnTo>
                  <a:lnTo>
                    <a:pt x="7" y="106"/>
                  </a:lnTo>
                  <a:lnTo>
                    <a:pt x="10" y="121"/>
                  </a:lnTo>
                  <a:lnTo>
                    <a:pt x="14" y="132"/>
                  </a:lnTo>
                  <a:lnTo>
                    <a:pt x="14" y="132"/>
                  </a:lnTo>
                  <a:lnTo>
                    <a:pt x="26" y="163"/>
                  </a:lnTo>
                  <a:lnTo>
                    <a:pt x="26" y="163"/>
                  </a:lnTo>
                  <a:lnTo>
                    <a:pt x="28" y="165"/>
                  </a:lnTo>
                  <a:lnTo>
                    <a:pt x="28" y="165"/>
                  </a:lnTo>
                  <a:lnTo>
                    <a:pt x="25" y="149"/>
                  </a:lnTo>
                  <a:lnTo>
                    <a:pt x="24" y="122"/>
                  </a:lnTo>
                  <a:lnTo>
                    <a:pt x="22" y="88"/>
                  </a:lnTo>
                  <a:lnTo>
                    <a:pt x="22" y="71"/>
                  </a:lnTo>
                  <a:lnTo>
                    <a:pt x="22" y="55"/>
                  </a:lnTo>
                  <a:lnTo>
                    <a:pt x="22" y="55"/>
                  </a:lnTo>
                  <a:lnTo>
                    <a:pt x="14" y="33"/>
                  </a:lnTo>
                  <a:lnTo>
                    <a:pt x="8" y="15"/>
                  </a:lnTo>
                  <a:lnTo>
                    <a:pt x="4" y="4"/>
                  </a:lnTo>
                  <a:lnTo>
                    <a:pt x="3" y="0"/>
                  </a:lnTo>
                  <a:close/>
                </a:path>
              </a:pathLst>
            </a:custGeom>
            <a:solidFill>
              <a:srgbClr val="FBB625"/>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4" name="Freeform 120">
              <a:extLst>
                <a:ext uri="{FF2B5EF4-FFF2-40B4-BE49-F238E27FC236}">
                  <a16:creationId xmlns:a16="http://schemas.microsoft.com/office/drawing/2014/main" id="{B70C3B7A-64D3-4A13-B93E-72AD9CA021A4}"/>
                </a:ext>
              </a:extLst>
            </p:cNvPr>
            <p:cNvSpPr>
              <a:spLocks/>
            </p:cNvSpPr>
            <p:nvPr/>
          </p:nvSpPr>
          <p:spPr bwMode="auto">
            <a:xfrm>
              <a:off x="2414588" y="898823"/>
              <a:ext cx="44450" cy="261938"/>
            </a:xfrm>
            <a:custGeom>
              <a:avLst/>
              <a:gdLst/>
              <a:ahLst/>
              <a:cxnLst>
                <a:cxn ang="0">
                  <a:pos x="3" y="0"/>
                </a:cxn>
                <a:cxn ang="0">
                  <a:pos x="3" y="0"/>
                </a:cxn>
                <a:cxn ang="0">
                  <a:pos x="3" y="0"/>
                </a:cxn>
                <a:cxn ang="0">
                  <a:pos x="3" y="0"/>
                </a:cxn>
                <a:cxn ang="0">
                  <a:pos x="1" y="1"/>
                </a:cxn>
                <a:cxn ang="0">
                  <a:pos x="1" y="1"/>
                </a:cxn>
                <a:cxn ang="0">
                  <a:pos x="0" y="19"/>
                </a:cxn>
                <a:cxn ang="0">
                  <a:pos x="0" y="38"/>
                </a:cxn>
                <a:cxn ang="0">
                  <a:pos x="0" y="56"/>
                </a:cxn>
                <a:cxn ang="0">
                  <a:pos x="1" y="73"/>
                </a:cxn>
                <a:cxn ang="0">
                  <a:pos x="4" y="90"/>
                </a:cxn>
                <a:cxn ang="0">
                  <a:pos x="7" y="106"/>
                </a:cxn>
                <a:cxn ang="0">
                  <a:pos x="10" y="121"/>
                </a:cxn>
                <a:cxn ang="0">
                  <a:pos x="14" y="132"/>
                </a:cxn>
                <a:cxn ang="0">
                  <a:pos x="14" y="132"/>
                </a:cxn>
                <a:cxn ang="0">
                  <a:pos x="26" y="163"/>
                </a:cxn>
                <a:cxn ang="0">
                  <a:pos x="26" y="163"/>
                </a:cxn>
                <a:cxn ang="0">
                  <a:pos x="28" y="165"/>
                </a:cxn>
                <a:cxn ang="0">
                  <a:pos x="28" y="165"/>
                </a:cxn>
                <a:cxn ang="0">
                  <a:pos x="25" y="149"/>
                </a:cxn>
                <a:cxn ang="0">
                  <a:pos x="24" y="122"/>
                </a:cxn>
                <a:cxn ang="0">
                  <a:pos x="22" y="88"/>
                </a:cxn>
                <a:cxn ang="0">
                  <a:pos x="22" y="71"/>
                </a:cxn>
                <a:cxn ang="0">
                  <a:pos x="22" y="55"/>
                </a:cxn>
                <a:cxn ang="0">
                  <a:pos x="22" y="55"/>
                </a:cxn>
                <a:cxn ang="0">
                  <a:pos x="14" y="33"/>
                </a:cxn>
                <a:cxn ang="0">
                  <a:pos x="8" y="15"/>
                </a:cxn>
                <a:cxn ang="0">
                  <a:pos x="4" y="4"/>
                </a:cxn>
                <a:cxn ang="0">
                  <a:pos x="3" y="0"/>
                </a:cxn>
              </a:cxnLst>
              <a:rect l="0" t="0" r="r" b="b"/>
              <a:pathLst>
                <a:path w="28" h="165">
                  <a:moveTo>
                    <a:pt x="3" y="0"/>
                  </a:moveTo>
                  <a:lnTo>
                    <a:pt x="3" y="0"/>
                  </a:lnTo>
                  <a:lnTo>
                    <a:pt x="3" y="0"/>
                  </a:lnTo>
                  <a:lnTo>
                    <a:pt x="3" y="0"/>
                  </a:lnTo>
                  <a:lnTo>
                    <a:pt x="1" y="1"/>
                  </a:lnTo>
                  <a:lnTo>
                    <a:pt x="1" y="1"/>
                  </a:lnTo>
                  <a:lnTo>
                    <a:pt x="0" y="19"/>
                  </a:lnTo>
                  <a:lnTo>
                    <a:pt x="0" y="38"/>
                  </a:lnTo>
                  <a:lnTo>
                    <a:pt x="0" y="56"/>
                  </a:lnTo>
                  <a:lnTo>
                    <a:pt x="1" y="73"/>
                  </a:lnTo>
                  <a:lnTo>
                    <a:pt x="4" y="90"/>
                  </a:lnTo>
                  <a:lnTo>
                    <a:pt x="7" y="106"/>
                  </a:lnTo>
                  <a:lnTo>
                    <a:pt x="10" y="121"/>
                  </a:lnTo>
                  <a:lnTo>
                    <a:pt x="14" y="132"/>
                  </a:lnTo>
                  <a:lnTo>
                    <a:pt x="14" y="132"/>
                  </a:lnTo>
                  <a:lnTo>
                    <a:pt x="26" y="163"/>
                  </a:lnTo>
                  <a:lnTo>
                    <a:pt x="26" y="163"/>
                  </a:lnTo>
                  <a:lnTo>
                    <a:pt x="28" y="165"/>
                  </a:lnTo>
                  <a:lnTo>
                    <a:pt x="28" y="165"/>
                  </a:lnTo>
                  <a:lnTo>
                    <a:pt x="25" y="149"/>
                  </a:lnTo>
                  <a:lnTo>
                    <a:pt x="24" y="122"/>
                  </a:lnTo>
                  <a:lnTo>
                    <a:pt x="22" y="88"/>
                  </a:lnTo>
                  <a:lnTo>
                    <a:pt x="22" y="71"/>
                  </a:lnTo>
                  <a:lnTo>
                    <a:pt x="22" y="55"/>
                  </a:lnTo>
                  <a:lnTo>
                    <a:pt x="22" y="55"/>
                  </a:lnTo>
                  <a:lnTo>
                    <a:pt x="14" y="33"/>
                  </a:lnTo>
                  <a:lnTo>
                    <a:pt x="8" y="15"/>
                  </a:lnTo>
                  <a:lnTo>
                    <a:pt x="4" y="4"/>
                  </a:lnTo>
                  <a:lnTo>
                    <a:pt x="3"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5" name="Freeform 121">
              <a:extLst>
                <a:ext uri="{FF2B5EF4-FFF2-40B4-BE49-F238E27FC236}">
                  <a16:creationId xmlns:a16="http://schemas.microsoft.com/office/drawing/2014/main" id="{E1C7CAE8-322D-41E8-8A91-018AEF2C6817}"/>
                </a:ext>
              </a:extLst>
            </p:cNvPr>
            <p:cNvSpPr>
              <a:spLocks noEditPoints="1"/>
            </p:cNvSpPr>
            <p:nvPr/>
          </p:nvSpPr>
          <p:spPr bwMode="auto">
            <a:xfrm>
              <a:off x="2555875" y="328911"/>
              <a:ext cx="1385888" cy="603250"/>
            </a:xfrm>
            <a:custGeom>
              <a:avLst/>
              <a:gdLst/>
              <a:ahLst/>
              <a:cxnLst>
                <a:cxn ang="0">
                  <a:pos x="869" y="313"/>
                </a:cxn>
                <a:cxn ang="0">
                  <a:pos x="852" y="380"/>
                </a:cxn>
                <a:cxn ang="0">
                  <a:pos x="867" y="331"/>
                </a:cxn>
                <a:cxn ang="0">
                  <a:pos x="873" y="280"/>
                </a:cxn>
                <a:cxn ang="0">
                  <a:pos x="25" y="227"/>
                </a:cxn>
                <a:cxn ang="0">
                  <a:pos x="7" y="259"/>
                </a:cxn>
                <a:cxn ang="0">
                  <a:pos x="16" y="264"/>
                </a:cxn>
                <a:cxn ang="0">
                  <a:pos x="23" y="272"/>
                </a:cxn>
                <a:cxn ang="0">
                  <a:pos x="28" y="267"/>
                </a:cxn>
                <a:cxn ang="0">
                  <a:pos x="41" y="247"/>
                </a:cxn>
                <a:cxn ang="0">
                  <a:pos x="44" y="212"/>
                </a:cxn>
                <a:cxn ang="0">
                  <a:pos x="103" y="58"/>
                </a:cxn>
                <a:cxn ang="0">
                  <a:pos x="42" y="97"/>
                </a:cxn>
                <a:cxn ang="0">
                  <a:pos x="15" y="129"/>
                </a:cxn>
                <a:cxn ang="0">
                  <a:pos x="2" y="160"/>
                </a:cxn>
                <a:cxn ang="0">
                  <a:pos x="4" y="174"/>
                </a:cxn>
                <a:cxn ang="0">
                  <a:pos x="74" y="105"/>
                </a:cxn>
                <a:cxn ang="0">
                  <a:pos x="692" y="86"/>
                </a:cxn>
                <a:cxn ang="0">
                  <a:pos x="684" y="80"/>
                </a:cxn>
                <a:cxn ang="0">
                  <a:pos x="664" y="70"/>
                </a:cxn>
                <a:cxn ang="0">
                  <a:pos x="691" y="83"/>
                </a:cxn>
                <a:cxn ang="0">
                  <a:pos x="423" y="0"/>
                </a:cxn>
                <a:cxn ang="0">
                  <a:pos x="424" y="3"/>
                </a:cxn>
                <a:cxn ang="0">
                  <a:pos x="416" y="10"/>
                </a:cxn>
                <a:cxn ang="0">
                  <a:pos x="410" y="17"/>
                </a:cxn>
                <a:cxn ang="0">
                  <a:pos x="433" y="17"/>
                </a:cxn>
                <a:cxn ang="0">
                  <a:pos x="553" y="32"/>
                </a:cxn>
                <a:cxn ang="0">
                  <a:pos x="640" y="58"/>
                </a:cxn>
                <a:cxn ang="0">
                  <a:pos x="642" y="61"/>
                </a:cxn>
                <a:cxn ang="0">
                  <a:pos x="630" y="58"/>
                </a:cxn>
                <a:cxn ang="0">
                  <a:pos x="567" y="40"/>
                </a:cxn>
                <a:cxn ang="0">
                  <a:pos x="465" y="24"/>
                </a:cxn>
                <a:cxn ang="0">
                  <a:pos x="416" y="21"/>
                </a:cxn>
                <a:cxn ang="0">
                  <a:pos x="406" y="25"/>
                </a:cxn>
                <a:cxn ang="0">
                  <a:pos x="381" y="25"/>
                </a:cxn>
                <a:cxn ang="0">
                  <a:pos x="314" y="31"/>
                </a:cxn>
                <a:cxn ang="0">
                  <a:pos x="263" y="46"/>
                </a:cxn>
                <a:cxn ang="0">
                  <a:pos x="174" y="92"/>
                </a:cxn>
                <a:cxn ang="0">
                  <a:pos x="100" y="151"/>
                </a:cxn>
                <a:cxn ang="0">
                  <a:pos x="242" y="108"/>
                </a:cxn>
                <a:cxn ang="0">
                  <a:pos x="377" y="87"/>
                </a:cxn>
                <a:cxn ang="0">
                  <a:pos x="482" y="92"/>
                </a:cxn>
                <a:cxn ang="0">
                  <a:pos x="596" y="113"/>
                </a:cxn>
                <a:cxn ang="0">
                  <a:pos x="661" y="137"/>
                </a:cxn>
                <a:cxn ang="0">
                  <a:pos x="763" y="191"/>
                </a:cxn>
                <a:cxn ang="0">
                  <a:pos x="813" y="241"/>
                </a:cxn>
                <a:cxn ang="0">
                  <a:pos x="831" y="271"/>
                </a:cxn>
                <a:cxn ang="0">
                  <a:pos x="854" y="302"/>
                </a:cxn>
                <a:cxn ang="0">
                  <a:pos x="868" y="246"/>
                </a:cxn>
                <a:cxn ang="0">
                  <a:pos x="843" y="180"/>
                </a:cxn>
                <a:cxn ang="0">
                  <a:pos x="817" y="147"/>
                </a:cxn>
                <a:cxn ang="0">
                  <a:pos x="763" y="100"/>
                </a:cxn>
                <a:cxn ang="0">
                  <a:pos x="704" y="66"/>
                </a:cxn>
                <a:cxn ang="0">
                  <a:pos x="612" y="31"/>
                </a:cxn>
                <a:cxn ang="0">
                  <a:pos x="493" y="4"/>
                </a:cxn>
                <a:cxn ang="0">
                  <a:pos x="437" y="0"/>
                </a:cxn>
              </a:cxnLst>
              <a:rect l="0" t="0" r="r" b="b"/>
              <a:pathLst>
                <a:path w="873" h="380">
                  <a:moveTo>
                    <a:pt x="872" y="268"/>
                  </a:moveTo>
                  <a:lnTo>
                    <a:pt x="872" y="268"/>
                  </a:lnTo>
                  <a:lnTo>
                    <a:pt x="872" y="288"/>
                  </a:lnTo>
                  <a:lnTo>
                    <a:pt x="869" y="313"/>
                  </a:lnTo>
                  <a:lnTo>
                    <a:pt x="863" y="344"/>
                  </a:lnTo>
                  <a:lnTo>
                    <a:pt x="859" y="361"/>
                  </a:lnTo>
                  <a:lnTo>
                    <a:pt x="852" y="380"/>
                  </a:lnTo>
                  <a:lnTo>
                    <a:pt x="852" y="380"/>
                  </a:lnTo>
                  <a:lnTo>
                    <a:pt x="854" y="376"/>
                  </a:lnTo>
                  <a:lnTo>
                    <a:pt x="854" y="376"/>
                  </a:lnTo>
                  <a:lnTo>
                    <a:pt x="860" y="356"/>
                  </a:lnTo>
                  <a:lnTo>
                    <a:pt x="867" y="331"/>
                  </a:lnTo>
                  <a:lnTo>
                    <a:pt x="872" y="305"/>
                  </a:lnTo>
                  <a:lnTo>
                    <a:pt x="873" y="292"/>
                  </a:lnTo>
                  <a:lnTo>
                    <a:pt x="873" y="280"/>
                  </a:lnTo>
                  <a:lnTo>
                    <a:pt x="873" y="280"/>
                  </a:lnTo>
                  <a:lnTo>
                    <a:pt x="872" y="268"/>
                  </a:lnTo>
                  <a:close/>
                  <a:moveTo>
                    <a:pt x="45" y="202"/>
                  </a:moveTo>
                  <a:lnTo>
                    <a:pt x="45" y="202"/>
                  </a:lnTo>
                  <a:lnTo>
                    <a:pt x="25" y="227"/>
                  </a:lnTo>
                  <a:lnTo>
                    <a:pt x="5" y="252"/>
                  </a:lnTo>
                  <a:lnTo>
                    <a:pt x="5" y="252"/>
                  </a:lnTo>
                  <a:lnTo>
                    <a:pt x="5" y="256"/>
                  </a:lnTo>
                  <a:lnTo>
                    <a:pt x="7" y="259"/>
                  </a:lnTo>
                  <a:lnTo>
                    <a:pt x="7" y="259"/>
                  </a:lnTo>
                  <a:lnTo>
                    <a:pt x="9" y="262"/>
                  </a:lnTo>
                  <a:lnTo>
                    <a:pt x="12" y="263"/>
                  </a:lnTo>
                  <a:lnTo>
                    <a:pt x="16" y="264"/>
                  </a:lnTo>
                  <a:lnTo>
                    <a:pt x="19" y="267"/>
                  </a:lnTo>
                  <a:lnTo>
                    <a:pt x="19" y="267"/>
                  </a:lnTo>
                  <a:lnTo>
                    <a:pt x="21" y="271"/>
                  </a:lnTo>
                  <a:lnTo>
                    <a:pt x="23" y="272"/>
                  </a:lnTo>
                  <a:lnTo>
                    <a:pt x="23" y="272"/>
                  </a:lnTo>
                  <a:lnTo>
                    <a:pt x="25" y="271"/>
                  </a:lnTo>
                  <a:lnTo>
                    <a:pt x="28" y="267"/>
                  </a:lnTo>
                  <a:lnTo>
                    <a:pt x="28" y="267"/>
                  </a:lnTo>
                  <a:lnTo>
                    <a:pt x="32" y="262"/>
                  </a:lnTo>
                  <a:lnTo>
                    <a:pt x="36" y="256"/>
                  </a:lnTo>
                  <a:lnTo>
                    <a:pt x="40" y="251"/>
                  </a:lnTo>
                  <a:lnTo>
                    <a:pt x="41" y="247"/>
                  </a:lnTo>
                  <a:lnTo>
                    <a:pt x="42" y="245"/>
                  </a:lnTo>
                  <a:lnTo>
                    <a:pt x="42" y="245"/>
                  </a:lnTo>
                  <a:lnTo>
                    <a:pt x="44" y="212"/>
                  </a:lnTo>
                  <a:lnTo>
                    <a:pt x="44" y="212"/>
                  </a:lnTo>
                  <a:lnTo>
                    <a:pt x="45" y="202"/>
                  </a:lnTo>
                  <a:close/>
                  <a:moveTo>
                    <a:pt x="159" y="37"/>
                  </a:moveTo>
                  <a:lnTo>
                    <a:pt x="159" y="37"/>
                  </a:lnTo>
                  <a:lnTo>
                    <a:pt x="103" y="58"/>
                  </a:lnTo>
                  <a:lnTo>
                    <a:pt x="103" y="58"/>
                  </a:lnTo>
                  <a:lnTo>
                    <a:pt x="89" y="65"/>
                  </a:lnTo>
                  <a:lnTo>
                    <a:pt x="71" y="78"/>
                  </a:lnTo>
                  <a:lnTo>
                    <a:pt x="42" y="97"/>
                  </a:lnTo>
                  <a:lnTo>
                    <a:pt x="42" y="97"/>
                  </a:lnTo>
                  <a:lnTo>
                    <a:pt x="36" y="103"/>
                  </a:lnTo>
                  <a:lnTo>
                    <a:pt x="28" y="112"/>
                  </a:lnTo>
                  <a:lnTo>
                    <a:pt x="15" y="129"/>
                  </a:lnTo>
                  <a:lnTo>
                    <a:pt x="15" y="129"/>
                  </a:lnTo>
                  <a:lnTo>
                    <a:pt x="11" y="136"/>
                  </a:lnTo>
                  <a:lnTo>
                    <a:pt x="7" y="145"/>
                  </a:lnTo>
                  <a:lnTo>
                    <a:pt x="2" y="160"/>
                  </a:lnTo>
                  <a:lnTo>
                    <a:pt x="2" y="160"/>
                  </a:lnTo>
                  <a:lnTo>
                    <a:pt x="0" y="179"/>
                  </a:lnTo>
                  <a:lnTo>
                    <a:pt x="0" y="179"/>
                  </a:lnTo>
                  <a:lnTo>
                    <a:pt x="4" y="174"/>
                  </a:lnTo>
                  <a:lnTo>
                    <a:pt x="4" y="174"/>
                  </a:lnTo>
                  <a:lnTo>
                    <a:pt x="17" y="159"/>
                  </a:lnTo>
                  <a:lnTo>
                    <a:pt x="34" y="143"/>
                  </a:lnTo>
                  <a:lnTo>
                    <a:pt x="74" y="105"/>
                  </a:lnTo>
                  <a:lnTo>
                    <a:pt x="118" y="69"/>
                  </a:lnTo>
                  <a:lnTo>
                    <a:pt x="159" y="37"/>
                  </a:lnTo>
                  <a:close/>
                  <a:moveTo>
                    <a:pt x="692" y="86"/>
                  </a:moveTo>
                  <a:lnTo>
                    <a:pt x="692" y="86"/>
                  </a:lnTo>
                  <a:lnTo>
                    <a:pt x="691" y="86"/>
                  </a:lnTo>
                  <a:lnTo>
                    <a:pt x="691" y="86"/>
                  </a:lnTo>
                  <a:lnTo>
                    <a:pt x="684" y="80"/>
                  </a:lnTo>
                  <a:lnTo>
                    <a:pt x="684" y="80"/>
                  </a:lnTo>
                  <a:lnTo>
                    <a:pt x="672" y="75"/>
                  </a:lnTo>
                  <a:lnTo>
                    <a:pt x="672" y="75"/>
                  </a:lnTo>
                  <a:lnTo>
                    <a:pt x="664" y="70"/>
                  </a:lnTo>
                  <a:lnTo>
                    <a:pt x="664" y="70"/>
                  </a:lnTo>
                  <a:lnTo>
                    <a:pt x="674" y="74"/>
                  </a:lnTo>
                  <a:lnTo>
                    <a:pt x="685" y="78"/>
                  </a:lnTo>
                  <a:lnTo>
                    <a:pt x="685" y="78"/>
                  </a:lnTo>
                  <a:lnTo>
                    <a:pt x="691" y="83"/>
                  </a:lnTo>
                  <a:lnTo>
                    <a:pt x="692" y="86"/>
                  </a:lnTo>
                  <a:lnTo>
                    <a:pt x="693" y="86"/>
                  </a:lnTo>
                  <a:lnTo>
                    <a:pt x="692" y="86"/>
                  </a:lnTo>
                  <a:close/>
                  <a:moveTo>
                    <a:pt x="423" y="0"/>
                  </a:moveTo>
                  <a:lnTo>
                    <a:pt x="423" y="0"/>
                  </a:lnTo>
                  <a:lnTo>
                    <a:pt x="423" y="0"/>
                  </a:lnTo>
                  <a:lnTo>
                    <a:pt x="424" y="2"/>
                  </a:lnTo>
                  <a:lnTo>
                    <a:pt x="424" y="3"/>
                  </a:lnTo>
                  <a:lnTo>
                    <a:pt x="422" y="4"/>
                  </a:lnTo>
                  <a:lnTo>
                    <a:pt x="419" y="7"/>
                  </a:lnTo>
                  <a:lnTo>
                    <a:pt x="416" y="10"/>
                  </a:lnTo>
                  <a:lnTo>
                    <a:pt x="416" y="10"/>
                  </a:lnTo>
                  <a:lnTo>
                    <a:pt x="416" y="11"/>
                  </a:lnTo>
                  <a:lnTo>
                    <a:pt x="416" y="13"/>
                  </a:lnTo>
                  <a:lnTo>
                    <a:pt x="410" y="17"/>
                  </a:lnTo>
                  <a:lnTo>
                    <a:pt x="410" y="17"/>
                  </a:lnTo>
                  <a:lnTo>
                    <a:pt x="422" y="16"/>
                  </a:lnTo>
                  <a:lnTo>
                    <a:pt x="422" y="16"/>
                  </a:lnTo>
                  <a:lnTo>
                    <a:pt x="433" y="17"/>
                  </a:lnTo>
                  <a:lnTo>
                    <a:pt x="433" y="17"/>
                  </a:lnTo>
                  <a:lnTo>
                    <a:pt x="490" y="21"/>
                  </a:lnTo>
                  <a:lnTo>
                    <a:pt x="490" y="21"/>
                  </a:lnTo>
                  <a:lnTo>
                    <a:pt x="523" y="27"/>
                  </a:lnTo>
                  <a:lnTo>
                    <a:pt x="553" y="32"/>
                  </a:lnTo>
                  <a:lnTo>
                    <a:pt x="553" y="32"/>
                  </a:lnTo>
                  <a:lnTo>
                    <a:pt x="570" y="36"/>
                  </a:lnTo>
                  <a:lnTo>
                    <a:pt x="598" y="44"/>
                  </a:lnTo>
                  <a:lnTo>
                    <a:pt x="640" y="58"/>
                  </a:lnTo>
                  <a:lnTo>
                    <a:pt x="640" y="58"/>
                  </a:lnTo>
                  <a:lnTo>
                    <a:pt x="643" y="61"/>
                  </a:lnTo>
                  <a:lnTo>
                    <a:pt x="643" y="61"/>
                  </a:lnTo>
                  <a:lnTo>
                    <a:pt x="642" y="61"/>
                  </a:lnTo>
                  <a:lnTo>
                    <a:pt x="642" y="61"/>
                  </a:lnTo>
                  <a:lnTo>
                    <a:pt x="638" y="61"/>
                  </a:lnTo>
                  <a:lnTo>
                    <a:pt x="630" y="58"/>
                  </a:lnTo>
                  <a:lnTo>
                    <a:pt x="630" y="58"/>
                  </a:lnTo>
                  <a:lnTo>
                    <a:pt x="615" y="53"/>
                  </a:lnTo>
                  <a:lnTo>
                    <a:pt x="595" y="48"/>
                  </a:lnTo>
                  <a:lnTo>
                    <a:pt x="567" y="40"/>
                  </a:lnTo>
                  <a:lnTo>
                    <a:pt x="567" y="40"/>
                  </a:lnTo>
                  <a:lnTo>
                    <a:pt x="520" y="31"/>
                  </a:lnTo>
                  <a:lnTo>
                    <a:pt x="520" y="31"/>
                  </a:lnTo>
                  <a:lnTo>
                    <a:pt x="495" y="27"/>
                  </a:lnTo>
                  <a:lnTo>
                    <a:pt x="465" y="24"/>
                  </a:lnTo>
                  <a:lnTo>
                    <a:pt x="465" y="24"/>
                  </a:lnTo>
                  <a:lnTo>
                    <a:pt x="439" y="23"/>
                  </a:lnTo>
                  <a:lnTo>
                    <a:pt x="416" y="21"/>
                  </a:lnTo>
                  <a:lnTo>
                    <a:pt x="416" y="21"/>
                  </a:lnTo>
                  <a:lnTo>
                    <a:pt x="408" y="21"/>
                  </a:lnTo>
                  <a:lnTo>
                    <a:pt x="408" y="21"/>
                  </a:lnTo>
                  <a:lnTo>
                    <a:pt x="407" y="23"/>
                  </a:lnTo>
                  <a:lnTo>
                    <a:pt x="406" y="25"/>
                  </a:lnTo>
                  <a:lnTo>
                    <a:pt x="402" y="25"/>
                  </a:lnTo>
                  <a:lnTo>
                    <a:pt x="395" y="25"/>
                  </a:lnTo>
                  <a:lnTo>
                    <a:pt x="395" y="25"/>
                  </a:lnTo>
                  <a:lnTo>
                    <a:pt x="381" y="25"/>
                  </a:lnTo>
                  <a:lnTo>
                    <a:pt x="364" y="24"/>
                  </a:lnTo>
                  <a:lnTo>
                    <a:pt x="364" y="24"/>
                  </a:lnTo>
                  <a:lnTo>
                    <a:pt x="339" y="27"/>
                  </a:lnTo>
                  <a:lnTo>
                    <a:pt x="314" y="31"/>
                  </a:lnTo>
                  <a:lnTo>
                    <a:pt x="289" y="36"/>
                  </a:lnTo>
                  <a:lnTo>
                    <a:pt x="289" y="36"/>
                  </a:lnTo>
                  <a:lnTo>
                    <a:pt x="276" y="41"/>
                  </a:lnTo>
                  <a:lnTo>
                    <a:pt x="263" y="46"/>
                  </a:lnTo>
                  <a:lnTo>
                    <a:pt x="233" y="59"/>
                  </a:lnTo>
                  <a:lnTo>
                    <a:pt x="201" y="76"/>
                  </a:lnTo>
                  <a:lnTo>
                    <a:pt x="174" y="92"/>
                  </a:lnTo>
                  <a:lnTo>
                    <a:pt x="174" y="92"/>
                  </a:lnTo>
                  <a:lnTo>
                    <a:pt x="156" y="104"/>
                  </a:lnTo>
                  <a:lnTo>
                    <a:pt x="138" y="118"/>
                  </a:lnTo>
                  <a:lnTo>
                    <a:pt x="100" y="151"/>
                  </a:lnTo>
                  <a:lnTo>
                    <a:pt x="100" y="151"/>
                  </a:lnTo>
                  <a:lnTo>
                    <a:pt x="176" y="128"/>
                  </a:lnTo>
                  <a:lnTo>
                    <a:pt x="230" y="111"/>
                  </a:lnTo>
                  <a:lnTo>
                    <a:pt x="230" y="111"/>
                  </a:lnTo>
                  <a:lnTo>
                    <a:pt x="242" y="108"/>
                  </a:lnTo>
                  <a:lnTo>
                    <a:pt x="260" y="104"/>
                  </a:lnTo>
                  <a:lnTo>
                    <a:pt x="307" y="96"/>
                  </a:lnTo>
                  <a:lnTo>
                    <a:pt x="357" y="90"/>
                  </a:lnTo>
                  <a:lnTo>
                    <a:pt x="377" y="87"/>
                  </a:lnTo>
                  <a:lnTo>
                    <a:pt x="391" y="87"/>
                  </a:lnTo>
                  <a:lnTo>
                    <a:pt x="391" y="87"/>
                  </a:lnTo>
                  <a:lnTo>
                    <a:pt x="431" y="88"/>
                  </a:lnTo>
                  <a:lnTo>
                    <a:pt x="482" y="92"/>
                  </a:lnTo>
                  <a:lnTo>
                    <a:pt x="510" y="96"/>
                  </a:lnTo>
                  <a:lnTo>
                    <a:pt x="537" y="100"/>
                  </a:lnTo>
                  <a:lnTo>
                    <a:pt x="566" y="107"/>
                  </a:lnTo>
                  <a:lnTo>
                    <a:pt x="596" y="113"/>
                  </a:lnTo>
                  <a:lnTo>
                    <a:pt x="596" y="113"/>
                  </a:lnTo>
                  <a:lnTo>
                    <a:pt x="615" y="118"/>
                  </a:lnTo>
                  <a:lnTo>
                    <a:pt x="636" y="126"/>
                  </a:lnTo>
                  <a:lnTo>
                    <a:pt x="661" y="137"/>
                  </a:lnTo>
                  <a:lnTo>
                    <a:pt x="685" y="149"/>
                  </a:lnTo>
                  <a:lnTo>
                    <a:pt x="731" y="171"/>
                  </a:lnTo>
                  <a:lnTo>
                    <a:pt x="750" y="181"/>
                  </a:lnTo>
                  <a:lnTo>
                    <a:pt x="763" y="191"/>
                  </a:lnTo>
                  <a:lnTo>
                    <a:pt x="763" y="191"/>
                  </a:lnTo>
                  <a:lnTo>
                    <a:pt x="783" y="208"/>
                  </a:lnTo>
                  <a:lnTo>
                    <a:pt x="804" y="229"/>
                  </a:lnTo>
                  <a:lnTo>
                    <a:pt x="813" y="241"/>
                  </a:lnTo>
                  <a:lnTo>
                    <a:pt x="821" y="251"/>
                  </a:lnTo>
                  <a:lnTo>
                    <a:pt x="827" y="262"/>
                  </a:lnTo>
                  <a:lnTo>
                    <a:pt x="831" y="271"/>
                  </a:lnTo>
                  <a:lnTo>
                    <a:pt x="831" y="271"/>
                  </a:lnTo>
                  <a:lnTo>
                    <a:pt x="839" y="294"/>
                  </a:lnTo>
                  <a:lnTo>
                    <a:pt x="844" y="323"/>
                  </a:lnTo>
                  <a:lnTo>
                    <a:pt x="844" y="323"/>
                  </a:lnTo>
                  <a:lnTo>
                    <a:pt x="854" y="302"/>
                  </a:lnTo>
                  <a:lnTo>
                    <a:pt x="860" y="283"/>
                  </a:lnTo>
                  <a:lnTo>
                    <a:pt x="865" y="263"/>
                  </a:lnTo>
                  <a:lnTo>
                    <a:pt x="868" y="246"/>
                  </a:lnTo>
                  <a:lnTo>
                    <a:pt x="868" y="246"/>
                  </a:lnTo>
                  <a:lnTo>
                    <a:pt x="860" y="220"/>
                  </a:lnTo>
                  <a:lnTo>
                    <a:pt x="855" y="206"/>
                  </a:lnTo>
                  <a:lnTo>
                    <a:pt x="850" y="193"/>
                  </a:lnTo>
                  <a:lnTo>
                    <a:pt x="843" y="180"/>
                  </a:lnTo>
                  <a:lnTo>
                    <a:pt x="835" y="168"/>
                  </a:lnTo>
                  <a:lnTo>
                    <a:pt x="826" y="157"/>
                  </a:lnTo>
                  <a:lnTo>
                    <a:pt x="817" y="147"/>
                  </a:lnTo>
                  <a:lnTo>
                    <a:pt x="817" y="147"/>
                  </a:lnTo>
                  <a:lnTo>
                    <a:pt x="794" y="126"/>
                  </a:lnTo>
                  <a:lnTo>
                    <a:pt x="777" y="112"/>
                  </a:lnTo>
                  <a:lnTo>
                    <a:pt x="763" y="100"/>
                  </a:lnTo>
                  <a:lnTo>
                    <a:pt x="763" y="100"/>
                  </a:lnTo>
                  <a:lnTo>
                    <a:pt x="729" y="80"/>
                  </a:lnTo>
                  <a:lnTo>
                    <a:pt x="729" y="80"/>
                  </a:lnTo>
                  <a:lnTo>
                    <a:pt x="704" y="66"/>
                  </a:lnTo>
                  <a:lnTo>
                    <a:pt x="704" y="66"/>
                  </a:lnTo>
                  <a:lnTo>
                    <a:pt x="653" y="44"/>
                  </a:lnTo>
                  <a:lnTo>
                    <a:pt x="653" y="44"/>
                  </a:lnTo>
                  <a:lnTo>
                    <a:pt x="638" y="38"/>
                  </a:lnTo>
                  <a:lnTo>
                    <a:pt x="612" y="31"/>
                  </a:lnTo>
                  <a:lnTo>
                    <a:pt x="579" y="21"/>
                  </a:lnTo>
                  <a:lnTo>
                    <a:pt x="546" y="13"/>
                  </a:lnTo>
                  <a:lnTo>
                    <a:pt x="546" y="13"/>
                  </a:lnTo>
                  <a:lnTo>
                    <a:pt x="493" y="4"/>
                  </a:lnTo>
                  <a:lnTo>
                    <a:pt x="473" y="2"/>
                  </a:lnTo>
                  <a:lnTo>
                    <a:pt x="457" y="2"/>
                  </a:lnTo>
                  <a:lnTo>
                    <a:pt x="457" y="2"/>
                  </a:lnTo>
                  <a:lnTo>
                    <a:pt x="437" y="0"/>
                  </a:lnTo>
                  <a:lnTo>
                    <a:pt x="423" y="0"/>
                  </a:lnTo>
                  <a:lnTo>
                    <a:pt x="423" y="0"/>
                  </a:lnTo>
                  <a:close/>
                </a:path>
              </a:pathLst>
            </a:custGeom>
            <a:solidFill>
              <a:srgbClr val="FCC550"/>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6" name="Freeform 122">
              <a:extLst>
                <a:ext uri="{FF2B5EF4-FFF2-40B4-BE49-F238E27FC236}">
                  <a16:creationId xmlns:a16="http://schemas.microsoft.com/office/drawing/2014/main" id="{5C1B9960-9E2F-4386-9BA9-4D0B03CAFACA}"/>
                </a:ext>
              </a:extLst>
            </p:cNvPr>
            <p:cNvSpPr>
              <a:spLocks/>
            </p:cNvSpPr>
            <p:nvPr/>
          </p:nvSpPr>
          <p:spPr bwMode="auto">
            <a:xfrm>
              <a:off x="3908425" y="754361"/>
              <a:ext cx="33338" cy="177800"/>
            </a:xfrm>
            <a:custGeom>
              <a:avLst/>
              <a:gdLst/>
              <a:ahLst/>
              <a:cxnLst>
                <a:cxn ang="0">
                  <a:pos x="20" y="0"/>
                </a:cxn>
                <a:cxn ang="0">
                  <a:pos x="20" y="0"/>
                </a:cxn>
                <a:cxn ang="0">
                  <a:pos x="20" y="20"/>
                </a:cxn>
                <a:cxn ang="0">
                  <a:pos x="17" y="45"/>
                </a:cxn>
                <a:cxn ang="0">
                  <a:pos x="11" y="76"/>
                </a:cxn>
                <a:cxn ang="0">
                  <a:pos x="7" y="93"/>
                </a:cxn>
                <a:cxn ang="0">
                  <a:pos x="0" y="112"/>
                </a:cxn>
                <a:cxn ang="0">
                  <a:pos x="0" y="112"/>
                </a:cxn>
                <a:cxn ang="0">
                  <a:pos x="2" y="108"/>
                </a:cxn>
                <a:cxn ang="0">
                  <a:pos x="2" y="108"/>
                </a:cxn>
                <a:cxn ang="0">
                  <a:pos x="8" y="88"/>
                </a:cxn>
                <a:cxn ang="0">
                  <a:pos x="15" y="63"/>
                </a:cxn>
                <a:cxn ang="0">
                  <a:pos x="20" y="37"/>
                </a:cxn>
                <a:cxn ang="0">
                  <a:pos x="21" y="24"/>
                </a:cxn>
                <a:cxn ang="0">
                  <a:pos x="21" y="12"/>
                </a:cxn>
                <a:cxn ang="0">
                  <a:pos x="21" y="12"/>
                </a:cxn>
                <a:cxn ang="0">
                  <a:pos x="20" y="0"/>
                </a:cxn>
              </a:cxnLst>
              <a:rect l="0" t="0" r="r" b="b"/>
              <a:pathLst>
                <a:path w="21" h="112">
                  <a:moveTo>
                    <a:pt x="20" y="0"/>
                  </a:moveTo>
                  <a:lnTo>
                    <a:pt x="20" y="0"/>
                  </a:lnTo>
                  <a:lnTo>
                    <a:pt x="20" y="20"/>
                  </a:lnTo>
                  <a:lnTo>
                    <a:pt x="17" y="45"/>
                  </a:lnTo>
                  <a:lnTo>
                    <a:pt x="11" y="76"/>
                  </a:lnTo>
                  <a:lnTo>
                    <a:pt x="7" y="93"/>
                  </a:lnTo>
                  <a:lnTo>
                    <a:pt x="0" y="112"/>
                  </a:lnTo>
                  <a:lnTo>
                    <a:pt x="0" y="112"/>
                  </a:lnTo>
                  <a:lnTo>
                    <a:pt x="2" y="108"/>
                  </a:lnTo>
                  <a:lnTo>
                    <a:pt x="2" y="108"/>
                  </a:lnTo>
                  <a:lnTo>
                    <a:pt x="8" y="88"/>
                  </a:lnTo>
                  <a:lnTo>
                    <a:pt x="15" y="63"/>
                  </a:lnTo>
                  <a:lnTo>
                    <a:pt x="20" y="37"/>
                  </a:lnTo>
                  <a:lnTo>
                    <a:pt x="21" y="24"/>
                  </a:lnTo>
                  <a:lnTo>
                    <a:pt x="21" y="12"/>
                  </a:lnTo>
                  <a:lnTo>
                    <a:pt x="21" y="12"/>
                  </a:lnTo>
                  <a:lnTo>
                    <a:pt x="20"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7" name="Freeform 123">
              <a:extLst>
                <a:ext uri="{FF2B5EF4-FFF2-40B4-BE49-F238E27FC236}">
                  <a16:creationId xmlns:a16="http://schemas.microsoft.com/office/drawing/2014/main" id="{97179A08-45B7-4CAA-8536-EC52D2E570B8}"/>
                </a:ext>
              </a:extLst>
            </p:cNvPr>
            <p:cNvSpPr>
              <a:spLocks/>
            </p:cNvSpPr>
            <p:nvPr/>
          </p:nvSpPr>
          <p:spPr bwMode="auto">
            <a:xfrm>
              <a:off x="2563813" y="649586"/>
              <a:ext cx="63500" cy="111125"/>
            </a:xfrm>
            <a:custGeom>
              <a:avLst/>
              <a:gdLst/>
              <a:ahLst/>
              <a:cxnLst>
                <a:cxn ang="0">
                  <a:pos x="40" y="0"/>
                </a:cxn>
                <a:cxn ang="0">
                  <a:pos x="40" y="0"/>
                </a:cxn>
                <a:cxn ang="0">
                  <a:pos x="20" y="25"/>
                </a:cxn>
                <a:cxn ang="0">
                  <a:pos x="0" y="50"/>
                </a:cxn>
                <a:cxn ang="0">
                  <a:pos x="0" y="50"/>
                </a:cxn>
                <a:cxn ang="0">
                  <a:pos x="0" y="54"/>
                </a:cxn>
                <a:cxn ang="0">
                  <a:pos x="2" y="57"/>
                </a:cxn>
                <a:cxn ang="0">
                  <a:pos x="2" y="57"/>
                </a:cxn>
                <a:cxn ang="0">
                  <a:pos x="4" y="60"/>
                </a:cxn>
                <a:cxn ang="0">
                  <a:pos x="7" y="61"/>
                </a:cxn>
                <a:cxn ang="0">
                  <a:pos x="11" y="62"/>
                </a:cxn>
                <a:cxn ang="0">
                  <a:pos x="14" y="65"/>
                </a:cxn>
                <a:cxn ang="0">
                  <a:pos x="14" y="65"/>
                </a:cxn>
                <a:cxn ang="0">
                  <a:pos x="16" y="69"/>
                </a:cxn>
                <a:cxn ang="0">
                  <a:pos x="18" y="70"/>
                </a:cxn>
                <a:cxn ang="0">
                  <a:pos x="18" y="70"/>
                </a:cxn>
                <a:cxn ang="0">
                  <a:pos x="20" y="69"/>
                </a:cxn>
                <a:cxn ang="0">
                  <a:pos x="23" y="65"/>
                </a:cxn>
                <a:cxn ang="0">
                  <a:pos x="23" y="65"/>
                </a:cxn>
                <a:cxn ang="0">
                  <a:pos x="27" y="60"/>
                </a:cxn>
                <a:cxn ang="0">
                  <a:pos x="31" y="54"/>
                </a:cxn>
                <a:cxn ang="0">
                  <a:pos x="35" y="49"/>
                </a:cxn>
                <a:cxn ang="0">
                  <a:pos x="36" y="45"/>
                </a:cxn>
                <a:cxn ang="0">
                  <a:pos x="37" y="43"/>
                </a:cxn>
                <a:cxn ang="0">
                  <a:pos x="37" y="43"/>
                </a:cxn>
                <a:cxn ang="0">
                  <a:pos x="39" y="10"/>
                </a:cxn>
                <a:cxn ang="0">
                  <a:pos x="39" y="10"/>
                </a:cxn>
                <a:cxn ang="0">
                  <a:pos x="40" y="0"/>
                </a:cxn>
              </a:cxnLst>
              <a:rect l="0" t="0" r="r" b="b"/>
              <a:pathLst>
                <a:path w="40" h="70">
                  <a:moveTo>
                    <a:pt x="40" y="0"/>
                  </a:moveTo>
                  <a:lnTo>
                    <a:pt x="40" y="0"/>
                  </a:lnTo>
                  <a:lnTo>
                    <a:pt x="20" y="25"/>
                  </a:lnTo>
                  <a:lnTo>
                    <a:pt x="0" y="50"/>
                  </a:lnTo>
                  <a:lnTo>
                    <a:pt x="0" y="50"/>
                  </a:lnTo>
                  <a:lnTo>
                    <a:pt x="0" y="54"/>
                  </a:lnTo>
                  <a:lnTo>
                    <a:pt x="2" y="57"/>
                  </a:lnTo>
                  <a:lnTo>
                    <a:pt x="2" y="57"/>
                  </a:lnTo>
                  <a:lnTo>
                    <a:pt x="4" y="60"/>
                  </a:lnTo>
                  <a:lnTo>
                    <a:pt x="7" y="61"/>
                  </a:lnTo>
                  <a:lnTo>
                    <a:pt x="11" y="62"/>
                  </a:lnTo>
                  <a:lnTo>
                    <a:pt x="14" y="65"/>
                  </a:lnTo>
                  <a:lnTo>
                    <a:pt x="14" y="65"/>
                  </a:lnTo>
                  <a:lnTo>
                    <a:pt x="16" y="69"/>
                  </a:lnTo>
                  <a:lnTo>
                    <a:pt x="18" y="70"/>
                  </a:lnTo>
                  <a:lnTo>
                    <a:pt x="18" y="70"/>
                  </a:lnTo>
                  <a:lnTo>
                    <a:pt x="20" y="69"/>
                  </a:lnTo>
                  <a:lnTo>
                    <a:pt x="23" y="65"/>
                  </a:lnTo>
                  <a:lnTo>
                    <a:pt x="23" y="65"/>
                  </a:lnTo>
                  <a:lnTo>
                    <a:pt x="27" y="60"/>
                  </a:lnTo>
                  <a:lnTo>
                    <a:pt x="31" y="54"/>
                  </a:lnTo>
                  <a:lnTo>
                    <a:pt x="35" y="49"/>
                  </a:lnTo>
                  <a:lnTo>
                    <a:pt x="36" y="45"/>
                  </a:lnTo>
                  <a:lnTo>
                    <a:pt x="37" y="43"/>
                  </a:lnTo>
                  <a:lnTo>
                    <a:pt x="37" y="43"/>
                  </a:lnTo>
                  <a:lnTo>
                    <a:pt x="39" y="10"/>
                  </a:lnTo>
                  <a:lnTo>
                    <a:pt x="39" y="10"/>
                  </a:lnTo>
                  <a:lnTo>
                    <a:pt x="40"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8" name="Freeform 124">
              <a:extLst>
                <a:ext uri="{FF2B5EF4-FFF2-40B4-BE49-F238E27FC236}">
                  <a16:creationId xmlns:a16="http://schemas.microsoft.com/office/drawing/2014/main" id="{12904182-CE3D-4F97-AB71-C05E548A7EBB}"/>
                </a:ext>
              </a:extLst>
            </p:cNvPr>
            <p:cNvSpPr>
              <a:spLocks/>
            </p:cNvSpPr>
            <p:nvPr/>
          </p:nvSpPr>
          <p:spPr bwMode="auto">
            <a:xfrm>
              <a:off x="2555875" y="387648"/>
              <a:ext cx="252413" cy="225425"/>
            </a:xfrm>
            <a:custGeom>
              <a:avLst/>
              <a:gdLst/>
              <a:ahLst/>
              <a:cxnLst>
                <a:cxn ang="0">
                  <a:pos x="159" y="0"/>
                </a:cxn>
                <a:cxn ang="0">
                  <a:pos x="159" y="0"/>
                </a:cxn>
                <a:cxn ang="0">
                  <a:pos x="103" y="21"/>
                </a:cxn>
                <a:cxn ang="0">
                  <a:pos x="103" y="21"/>
                </a:cxn>
                <a:cxn ang="0">
                  <a:pos x="89" y="28"/>
                </a:cxn>
                <a:cxn ang="0">
                  <a:pos x="71" y="41"/>
                </a:cxn>
                <a:cxn ang="0">
                  <a:pos x="42" y="60"/>
                </a:cxn>
                <a:cxn ang="0">
                  <a:pos x="42" y="60"/>
                </a:cxn>
                <a:cxn ang="0">
                  <a:pos x="36" y="66"/>
                </a:cxn>
                <a:cxn ang="0">
                  <a:pos x="28" y="75"/>
                </a:cxn>
                <a:cxn ang="0">
                  <a:pos x="15" y="92"/>
                </a:cxn>
                <a:cxn ang="0">
                  <a:pos x="15" y="92"/>
                </a:cxn>
                <a:cxn ang="0">
                  <a:pos x="11" y="99"/>
                </a:cxn>
                <a:cxn ang="0">
                  <a:pos x="7" y="108"/>
                </a:cxn>
                <a:cxn ang="0">
                  <a:pos x="2" y="123"/>
                </a:cxn>
                <a:cxn ang="0">
                  <a:pos x="2" y="123"/>
                </a:cxn>
                <a:cxn ang="0">
                  <a:pos x="0" y="142"/>
                </a:cxn>
                <a:cxn ang="0">
                  <a:pos x="0" y="142"/>
                </a:cxn>
                <a:cxn ang="0">
                  <a:pos x="4" y="137"/>
                </a:cxn>
                <a:cxn ang="0">
                  <a:pos x="4" y="137"/>
                </a:cxn>
                <a:cxn ang="0">
                  <a:pos x="17" y="122"/>
                </a:cxn>
                <a:cxn ang="0">
                  <a:pos x="34" y="106"/>
                </a:cxn>
                <a:cxn ang="0">
                  <a:pos x="74" y="68"/>
                </a:cxn>
                <a:cxn ang="0">
                  <a:pos x="118" y="32"/>
                </a:cxn>
                <a:cxn ang="0">
                  <a:pos x="159" y="0"/>
                </a:cxn>
              </a:cxnLst>
              <a:rect l="0" t="0" r="r" b="b"/>
              <a:pathLst>
                <a:path w="159" h="142">
                  <a:moveTo>
                    <a:pt x="159" y="0"/>
                  </a:moveTo>
                  <a:lnTo>
                    <a:pt x="159" y="0"/>
                  </a:lnTo>
                  <a:lnTo>
                    <a:pt x="103" y="21"/>
                  </a:lnTo>
                  <a:lnTo>
                    <a:pt x="103" y="21"/>
                  </a:lnTo>
                  <a:lnTo>
                    <a:pt x="89" y="28"/>
                  </a:lnTo>
                  <a:lnTo>
                    <a:pt x="71" y="41"/>
                  </a:lnTo>
                  <a:lnTo>
                    <a:pt x="42" y="60"/>
                  </a:lnTo>
                  <a:lnTo>
                    <a:pt x="42" y="60"/>
                  </a:lnTo>
                  <a:lnTo>
                    <a:pt x="36" y="66"/>
                  </a:lnTo>
                  <a:lnTo>
                    <a:pt x="28" y="75"/>
                  </a:lnTo>
                  <a:lnTo>
                    <a:pt x="15" y="92"/>
                  </a:lnTo>
                  <a:lnTo>
                    <a:pt x="15" y="92"/>
                  </a:lnTo>
                  <a:lnTo>
                    <a:pt x="11" y="99"/>
                  </a:lnTo>
                  <a:lnTo>
                    <a:pt x="7" y="108"/>
                  </a:lnTo>
                  <a:lnTo>
                    <a:pt x="2" y="123"/>
                  </a:lnTo>
                  <a:lnTo>
                    <a:pt x="2" y="123"/>
                  </a:lnTo>
                  <a:lnTo>
                    <a:pt x="0" y="142"/>
                  </a:lnTo>
                  <a:lnTo>
                    <a:pt x="0" y="142"/>
                  </a:lnTo>
                  <a:lnTo>
                    <a:pt x="4" y="137"/>
                  </a:lnTo>
                  <a:lnTo>
                    <a:pt x="4" y="137"/>
                  </a:lnTo>
                  <a:lnTo>
                    <a:pt x="17" y="122"/>
                  </a:lnTo>
                  <a:lnTo>
                    <a:pt x="34" y="106"/>
                  </a:lnTo>
                  <a:lnTo>
                    <a:pt x="74" y="68"/>
                  </a:lnTo>
                  <a:lnTo>
                    <a:pt x="118" y="32"/>
                  </a:lnTo>
                  <a:lnTo>
                    <a:pt x="159"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9" name="Freeform 125">
              <a:extLst>
                <a:ext uri="{FF2B5EF4-FFF2-40B4-BE49-F238E27FC236}">
                  <a16:creationId xmlns:a16="http://schemas.microsoft.com/office/drawing/2014/main" id="{AACF8E6F-72AD-4465-BF87-CC32B379DB1C}"/>
                </a:ext>
              </a:extLst>
            </p:cNvPr>
            <p:cNvSpPr>
              <a:spLocks/>
            </p:cNvSpPr>
            <p:nvPr/>
          </p:nvSpPr>
          <p:spPr bwMode="auto">
            <a:xfrm>
              <a:off x="3609975" y="440036"/>
              <a:ext cx="46038" cy="25400"/>
            </a:xfrm>
            <a:custGeom>
              <a:avLst/>
              <a:gdLst/>
              <a:ahLst/>
              <a:cxnLst>
                <a:cxn ang="0">
                  <a:pos x="28" y="16"/>
                </a:cxn>
                <a:cxn ang="0">
                  <a:pos x="28" y="16"/>
                </a:cxn>
                <a:cxn ang="0">
                  <a:pos x="27" y="16"/>
                </a:cxn>
                <a:cxn ang="0">
                  <a:pos x="27" y="16"/>
                </a:cxn>
                <a:cxn ang="0">
                  <a:pos x="20" y="10"/>
                </a:cxn>
                <a:cxn ang="0">
                  <a:pos x="20" y="10"/>
                </a:cxn>
                <a:cxn ang="0">
                  <a:pos x="8" y="5"/>
                </a:cxn>
                <a:cxn ang="0">
                  <a:pos x="8" y="5"/>
                </a:cxn>
                <a:cxn ang="0">
                  <a:pos x="0" y="0"/>
                </a:cxn>
                <a:cxn ang="0">
                  <a:pos x="0" y="0"/>
                </a:cxn>
                <a:cxn ang="0">
                  <a:pos x="10" y="4"/>
                </a:cxn>
                <a:cxn ang="0">
                  <a:pos x="21" y="8"/>
                </a:cxn>
                <a:cxn ang="0">
                  <a:pos x="21" y="8"/>
                </a:cxn>
                <a:cxn ang="0">
                  <a:pos x="27" y="13"/>
                </a:cxn>
                <a:cxn ang="0">
                  <a:pos x="28" y="16"/>
                </a:cxn>
                <a:cxn ang="0">
                  <a:pos x="29" y="16"/>
                </a:cxn>
                <a:cxn ang="0">
                  <a:pos x="28" y="16"/>
                </a:cxn>
              </a:cxnLst>
              <a:rect l="0" t="0" r="r" b="b"/>
              <a:pathLst>
                <a:path w="29" h="16">
                  <a:moveTo>
                    <a:pt x="28" y="16"/>
                  </a:moveTo>
                  <a:lnTo>
                    <a:pt x="28" y="16"/>
                  </a:lnTo>
                  <a:lnTo>
                    <a:pt x="27" y="16"/>
                  </a:lnTo>
                  <a:lnTo>
                    <a:pt x="27" y="16"/>
                  </a:lnTo>
                  <a:lnTo>
                    <a:pt x="20" y="10"/>
                  </a:lnTo>
                  <a:lnTo>
                    <a:pt x="20" y="10"/>
                  </a:lnTo>
                  <a:lnTo>
                    <a:pt x="8" y="5"/>
                  </a:lnTo>
                  <a:lnTo>
                    <a:pt x="8" y="5"/>
                  </a:lnTo>
                  <a:lnTo>
                    <a:pt x="0" y="0"/>
                  </a:lnTo>
                  <a:lnTo>
                    <a:pt x="0" y="0"/>
                  </a:lnTo>
                  <a:lnTo>
                    <a:pt x="10" y="4"/>
                  </a:lnTo>
                  <a:lnTo>
                    <a:pt x="21" y="8"/>
                  </a:lnTo>
                  <a:lnTo>
                    <a:pt x="21" y="8"/>
                  </a:lnTo>
                  <a:lnTo>
                    <a:pt x="27" y="13"/>
                  </a:lnTo>
                  <a:lnTo>
                    <a:pt x="28" y="16"/>
                  </a:lnTo>
                  <a:lnTo>
                    <a:pt x="29" y="16"/>
                  </a:lnTo>
                  <a:lnTo>
                    <a:pt x="28" y="16"/>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50" name="Freeform 126">
              <a:extLst>
                <a:ext uri="{FF2B5EF4-FFF2-40B4-BE49-F238E27FC236}">
                  <a16:creationId xmlns:a16="http://schemas.microsoft.com/office/drawing/2014/main" id="{9F89CE10-775B-463B-B978-B21B4D6C69D6}"/>
                </a:ext>
              </a:extLst>
            </p:cNvPr>
            <p:cNvSpPr>
              <a:spLocks/>
            </p:cNvSpPr>
            <p:nvPr/>
          </p:nvSpPr>
          <p:spPr bwMode="auto">
            <a:xfrm>
              <a:off x="2714625" y="328911"/>
              <a:ext cx="1219200" cy="512763"/>
            </a:xfrm>
            <a:custGeom>
              <a:avLst/>
              <a:gdLst/>
              <a:ahLst/>
              <a:cxnLst>
                <a:cxn ang="0">
                  <a:pos x="323" y="0"/>
                </a:cxn>
                <a:cxn ang="0">
                  <a:pos x="322" y="4"/>
                </a:cxn>
                <a:cxn ang="0">
                  <a:pos x="316" y="10"/>
                </a:cxn>
                <a:cxn ang="0">
                  <a:pos x="310" y="17"/>
                </a:cxn>
                <a:cxn ang="0">
                  <a:pos x="322" y="16"/>
                </a:cxn>
                <a:cxn ang="0">
                  <a:pos x="390" y="21"/>
                </a:cxn>
                <a:cxn ang="0">
                  <a:pos x="453" y="32"/>
                </a:cxn>
                <a:cxn ang="0">
                  <a:pos x="498" y="44"/>
                </a:cxn>
                <a:cxn ang="0">
                  <a:pos x="543" y="61"/>
                </a:cxn>
                <a:cxn ang="0">
                  <a:pos x="542" y="61"/>
                </a:cxn>
                <a:cxn ang="0">
                  <a:pos x="530" y="58"/>
                </a:cxn>
                <a:cxn ang="0">
                  <a:pos x="467" y="40"/>
                </a:cxn>
                <a:cxn ang="0">
                  <a:pos x="420" y="31"/>
                </a:cxn>
                <a:cxn ang="0">
                  <a:pos x="365" y="24"/>
                </a:cxn>
                <a:cxn ang="0">
                  <a:pos x="316" y="21"/>
                </a:cxn>
                <a:cxn ang="0">
                  <a:pos x="307" y="23"/>
                </a:cxn>
                <a:cxn ang="0">
                  <a:pos x="295" y="25"/>
                </a:cxn>
                <a:cxn ang="0">
                  <a:pos x="264" y="24"/>
                </a:cxn>
                <a:cxn ang="0">
                  <a:pos x="214" y="31"/>
                </a:cxn>
                <a:cxn ang="0">
                  <a:pos x="176" y="41"/>
                </a:cxn>
                <a:cxn ang="0">
                  <a:pos x="101" y="76"/>
                </a:cxn>
                <a:cxn ang="0">
                  <a:pos x="56" y="104"/>
                </a:cxn>
                <a:cxn ang="0">
                  <a:pos x="0" y="151"/>
                </a:cxn>
                <a:cxn ang="0">
                  <a:pos x="130" y="111"/>
                </a:cxn>
                <a:cxn ang="0">
                  <a:pos x="207" y="96"/>
                </a:cxn>
                <a:cxn ang="0">
                  <a:pos x="291" y="87"/>
                </a:cxn>
                <a:cxn ang="0">
                  <a:pos x="382" y="92"/>
                </a:cxn>
                <a:cxn ang="0">
                  <a:pos x="466" y="107"/>
                </a:cxn>
                <a:cxn ang="0">
                  <a:pos x="515" y="118"/>
                </a:cxn>
                <a:cxn ang="0">
                  <a:pos x="585" y="149"/>
                </a:cxn>
                <a:cxn ang="0">
                  <a:pos x="663" y="191"/>
                </a:cxn>
                <a:cxn ang="0">
                  <a:pos x="704" y="229"/>
                </a:cxn>
                <a:cxn ang="0">
                  <a:pos x="727" y="262"/>
                </a:cxn>
                <a:cxn ang="0">
                  <a:pos x="739" y="294"/>
                </a:cxn>
                <a:cxn ang="0">
                  <a:pos x="754" y="302"/>
                </a:cxn>
                <a:cxn ang="0">
                  <a:pos x="768" y="246"/>
                </a:cxn>
                <a:cxn ang="0">
                  <a:pos x="755" y="206"/>
                </a:cxn>
                <a:cxn ang="0">
                  <a:pos x="735" y="168"/>
                </a:cxn>
                <a:cxn ang="0">
                  <a:pos x="717" y="147"/>
                </a:cxn>
                <a:cxn ang="0">
                  <a:pos x="663" y="100"/>
                </a:cxn>
                <a:cxn ang="0">
                  <a:pos x="629" y="80"/>
                </a:cxn>
                <a:cxn ang="0">
                  <a:pos x="553" y="44"/>
                </a:cxn>
                <a:cxn ang="0">
                  <a:pos x="512" y="31"/>
                </a:cxn>
                <a:cxn ang="0">
                  <a:pos x="446" y="13"/>
                </a:cxn>
                <a:cxn ang="0">
                  <a:pos x="357" y="2"/>
                </a:cxn>
                <a:cxn ang="0">
                  <a:pos x="323" y="0"/>
                </a:cxn>
              </a:cxnLst>
              <a:rect l="0" t="0" r="r" b="b"/>
              <a:pathLst>
                <a:path w="768" h="323">
                  <a:moveTo>
                    <a:pt x="323" y="0"/>
                  </a:moveTo>
                  <a:lnTo>
                    <a:pt x="323" y="0"/>
                  </a:lnTo>
                  <a:lnTo>
                    <a:pt x="323" y="0"/>
                  </a:lnTo>
                  <a:lnTo>
                    <a:pt x="324" y="2"/>
                  </a:lnTo>
                  <a:lnTo>
                    <a:pt x="324" y="3"/>
                  </a:lnTo>
                  <a:lnTo>
                    <a:pt x="322" y="4"/>
                  </a:lnTo>
                  <a:lnTo>
                    <a:pt x="319" y="7"/>
                  </a:lnTo>
                  <a:lnTo>
                    <a:pt x="316" y="10"/>
                  </a:lnTo>
                  <a:lnTo>
                    <a:pt x="316" y="10"/>
                  </a:lnTo>
                  <a:lnTo>
                    <a:pt x="316" y="11"/>
                  </a:lnTo>
                  <a:lnTo>
                    <a:pt x="316" y="13"/>
                  </a:lnTo>
                  <a:lnTo>
                    <a:pt x="310" y="17"/>
                  </a:lnTo>
                  <a:lnTo>
                    <a:pt x="310" y="17"/>
                  </a:lnTo>
                  <a:lnTo>
                    <a:pt x="322" y="16"/>
                  </a:lnTo>
                  <a:lnTo>
                    <a:pt x="322" y="16"/>
                  </a:lnTo>
                  <a:lnTo>
                    <a:pt x="333" y="17"/>
                  </a:lnTo>
                  <a:lnTo>
                    <a:pt x="333" y="17"/>
                  </a:lnTo>
                  <a:lnTo>
                    <a:pt x="390" y="21"/>
                  </a:lnTo>
                  <a:lnTo>
                    <a:pt x="390" y="21"/>
                  </a:lnTo>
                  <a:lnTo>
                    <a:pt x="423" y="27"/>
                  </a:lnTo>
                  <a:lnTo>
                    <a:pt x="453" y="32"/>
                  </a:lnTo>
                  <a:lnTo>
                    <a:pt x="453" y="32"/>
                  </a:lnTo>
                  <a:lnTo>
                    <a:pt x="470" y="36"/>
                  </a:lnTo>
                  <a:lnTo>
                    <a:pt x="498" y="44"/>
                  </a:lnTo>
                  <a:lnTo>
                    <a:pt x="540" y="58"/>
                  </a:lnTo>
                  <a:lnTo>
                    <a:pt x="540" y="58"/>
                  </a:lnTo>
                  <a:lnTo>
                    <a:pt x="543" y="61"/>
                  </a:lnTo>
                  <a:lnTo>
                    <a:pt x="543" y="61"/>
                  </a:lnTo>
                  <a:lnTo>
                    <a:pt x="542" y="61"/>
                  </a:lnTo>
                  <a:lnTo>
                    <a:pt x="542" y="61"/>
                  </a:lnTo>
                  <a:lnTo>
                    <a:pt x="538" y="61"/>
                  </a:lnTo>
                  <a:lnTo>
                    <a:pt x="530" y="58"/>
                  </a:lnTo>
                  <a:lnTo>
                    <a:pt x="530" y="58"/>
                  </a:lnTo>
                  <a:lnTo>
                    <a:pt x="515" y="53"/>
                  </a:lnTo>
                  <a:lnTo>
                    <a:pt x="495" y="48"/>
                  </a:lnTo>
                  <a:lnTo>
                    <a:pt x="467" y="40"/>
                  </a:lnTo>
                  <a:lnTo>
                    <a:pt x="467" y="40"/>
                  </a:lnTo>
                  <a:lnTo>
                    <a:pt x="420" y="31"/>
                  </a:lnTo>
                  <a:lnTo>
                    <a:pt x="420" y="31"/>
                  </a:lnTo>
                  <a:lnTo>
                    <a:pt x="395" y="27"/>
                  </a:lnTo>
                  <a:lnTo>
                    <a:pt x="365" y="24"/>
                  </a:lnTo>
                  <a:lnTo>
                    <a:pt x="365" y="24"/>
                  </a:lnTo>
                  <a:lnTo>
                    <a:pt x="339" y="23"/>
                  </a:lnTo>
                  <a:lnTo>
                    <a:pt x="316" y="21"/>
                  </a:lnTo>
                  <a:lnTo>
                    <a:pt x="316" y="21"/>
                  </a:lnTo>
                  <a:lnTo>
                    <a:pt x="308" y="21"/>
                  </a:lnTo>
                  <a:lnTo>
                    <a:pt x="308" y="21"/>
                  </a:lnTo>
                  <a:lnTo>
                    <a:pt x="307" y="23"/>
                  </a:lnTo>
                  <a:lnTo>
                    <a:pt x="306" y="25"/>
                  </a:lnTo>
                  <a:lnTo>
                    <a:pt x="302" y="25"/>
                  </a:lnTo>
                  <a:lnTo>
                    <a:pt x="295" y="25"/>
                  </a:lnTo>
                  <a:lnTo>
                    <a:pt x="295" y="25"/>
                  </a:lnTo>
                  <a:lnTo>
                    <a:pt x="281" y="25"/>
                  </a:lnTo>
                  <a:lnTo>
                    <a:pt x="264" y="24"/>
                  </a:lnTo>
                  <a:lnTo>
                    <a:pt x="264" y="24"/>
                  </a:lnTo>
                  <a:lnTo>
                    <a:pt x="239" y="27"/>
                  </a:lnTo>
                  <a:lnTo>
                    <a:pt x="214" y="31"/>
                  </a:lnTo>
                  <a:lnTo>
                    <a:pt x="189" y="36"/>
                  </a:lnTo>
                  <a:lnTo>
                    <a:pt x="189" y="36"/>
                  </a:lnTo>
                  <a:lnTo>
                    <a:pt x="176" y="41"/>
                  </a:lnTo>
                  <a:lnTo>
                    <a:pt x="163" y="46"/>
                  </a:lnTo>
                  <a:lnTo>
                    <a:pt x="133" y="59"/>
                  </a:lnTo>
                  <a:lnTo>
                    <a:pt x="101" y="76"/>
                  </a:lnTo>
                  <a:lnTo>
                    <a:pt x="74" y="92"/>
                  </a:lnTo>
                  <a:lnTo>
                    <a:pt x="74" y="92"/>
                  </a:lnTo>
                  <a:lnTo>
                    <a:pt x="56" y="104"/>
                  </a:lnTo>
                  <a:lnTo>
                    <a:pt x="38" y="118"/>
                  </a:lnTo>
                  <a:lnTo>
                    <a:pt x="0" y="151"/>
                  </a:lnTo>
                  <a:lnTo>
                    <a:pt x="0" y="151"/>
                  </a:lnTo>
                  <a:lnTo>
                    <a:pt x="76" y="128"/>
                  </a:lnTo>
                  <a:lnTo>
                    <a:pt x="130" y="111"/>
                  </a:lnTo>
                  <a:lnTo>
                    <a:pt x="130" y="111"/>
                  </a:lnTo>
                  <a:lnTo>
                    <a:pt x="142" y="108"/>
                  </a:lnTo>
                  <a:lnTo>
                    <a:pt x="160" y="104"/>
                  </a:lnTo>
                  <a:lnTo>
                    <a:pt x="207" y="96"/>
                  </a:lnTo>
                  <a:lnTo>
                    <a:pt x="257" y="90"/>
                  </a:lnTo>
                  <a:lnTo>
                    <a:pt x="277" y="87"/>
                  </a:lnTo>
                  <a:lnTo>
                    <a:pt x="291" y="87"/>
                  </a:lnTo>
                  <a:lnTo>
                    <a:pt x="291" y="87"/>
                  </a:lnTo>
                  <a:lnTo>
                    <a:pt x="331" y="88"/>
                  </a:lnTo>
                  <a:lnTo>
                    <a:pt x="382" y="92"/>
                  </a:lnTo>
                  <a:lnTo>
                    <a:pt x="410" y="96"/>
                  </a:lnTo>
                  <a:lnTo>
                    <a:pt x="437" y="100"/>
                  </a:lnTo>
                  <a:lnTo>
                    <a:pt x="466" y="107"/>
                  </a:lnTo>
                  <a:lnTo>
                    <a:pt x="496" y="113"/>
                  </a:lnTo>
                  <a:lnTo>
                    <a:pt x="496" y="113"/>
                  </a:lnTo>
                  <a:lnTo>
                    <a:pt x="515" y="118"/>
                  </a:lnTo>
                  <a:lnTo>
                    <a:pt x="536" y="126"/>
                  </a:lnTo>
                  <a:lnTo>
                    <a:pt x="561" y="137"/>
                  </a:lnTo>
                  <a:lnTo>
                    <a:pt x="585" y="149"/>
                  </a:lnTo>
                  <a:lnTo>
                    <a:pt x="631" y="171"/>
                  </a:lnTo>
                  <a:lnTo>
                    <a:pt x="650" y="181"/>
                  </a:lnTo>
                  <a:lnTo>
                    <a:pt x="663" y="191"/>
                  </a:lnTo>
                  <a:lnTo>
                    <a:pt x="663" y="191"/>
                  </a:lnTo>
                  <a:lnTo>
                    <a:pt x="683" y="208"/>
                  </a:lnTo>
                  <a:lnTo>
                    <a:pt x="704" y="229"/>
                  </a:lnTo>
                  <a:lnTo>
                    <a:pt x="713" y="241"/>
                  </a:lnTo>
                  <a:lnTo>
                    <a:pt x="721" y="251"/>
                  </a:lnTo>
                  <a:lnTo>
                    <a:pt x="727" y="262"/>
                  </a:lnTo>
                  <a:lnTo>
                    <a:pt x="731" y="271"/>
                  </a:lnTo>
                  <a:lnTo>
                    <a:pt x="731" y="271"/>
                  </a:lnTo>
                  <a:lnTo>
                    <a:pt x="739" y="294"/>
                  </a:lnTo>
                  <a:lnTo>
                    <a:pt x="744" y="323"/>
                  </a:lnTo>
                  <a:lnTo>
                    <a:pt x="744" y="323"/>
                  </a:lnTo>
                  <a:lnTo>
                    <a:pt x="754" y="302"/>
                  </a:lnTo>
                  <a:lnTo>
                    <a:pt x="760" y="283"/>
                  </a:lnTo>
                  <a:lnTo>
                    <a:pt x="765" y="263"/>
                  </a:lnTo>
                  <a:lnTo>
                    <a:pt x="768" y="246"/>
                  </a:lnTo>
                  <a:lnTo>
                    <a:pt x="768" y="246"/>
                  </a:lnTo>
                  <a:lnTo>
                    <a:pt x="760" y="220"/>
                  </a:lnTo>
                  <a:lnTo>
                    <a:pt x="755" y="206"/>
                  </a:lnTo>
                  <a:lnTo>
                    <a:pt x="750" y="193"/>
                  </a:lnTo>
                  <a:lnTo>
                    <a:pt x="743" y="180"/>
                  </a:lnTo>
                  <a:lnTo>
                    <a:pt x="735" y="168"/>
                  </a:lnTo>
                  <a:lnTo>
                    <a:pt x="726" y="157"/>
                  </a:lnTo>
                  <a:lnTo>
                    <a:pt x="717" y="147"/>
                  </a:lnTo>
                  <a:lnTo>
                    <a:pt x="717" y="147"/>
                  </a:lnTo>
                  <a:lnTo>
                    <a:pt x="694" y="126"/>
                  </a:lnTo>
                  <a:lnTo>
                    <a:pt x="677" y="112"/>
                  </a:lnTo>
                  <a:lnTo>
                    <a:pt x="663" y="100"/>
                  </a:lnTo>
                  <a:lnTo>
                    <a:pt x="663" y="100"/>
                  </a:lnTo>
                  <a:lnTo>
                    <a:pt x="629" y="80"/>
                  </a:lnTo>
                  <a:lnTo>
                    <a:pt x="629" y="80"/>
                  </a:lnTo>
                  <a:lnTo>
                    <a:pt x="604" y="66"/>
                  </a:lnTo>
                  <a:lnTo>
                    <a:pt x="604" y="66"/>
                  </a:lnTo>
                  <a:lnTo>
                    <a:pt x="553" y="44"/>
                  </a:lnTo>
                  <a:lnTo>
                    <a:pt x="553" y="44"/>
                  </a:lnTo>
                  <a:lnTo>
                    <a:pt x="538" y="38"/>
                  </a:lnTo>
                  <a:lnTo>
                    <a:pt x="512" y="31"/>
                  </a:lnTo>
                  <a:lnTo>
                    <a:pt x="479" y="21"/>
                  </a:lnTo>
                  <a:lnTo>
                    <a:pt x="446" y="13"/>
                  </a:lnTo>
                  <a:lnTo>
                    <a:pt x="446" y="13"/>
                  </a:lnTo>
                  <a:lnTo>
                    <a:pt x="393" y="4"/>
                  </a:lnTo>
                  <a:lnTo>
                    <a:pt x="373" y="2"/>
                  </a:lnTo>
                  <a:lnTo>
                    <a:pt x="357" y="2"/>
                  </a:lnTo>
                  <a:lnTo>
                    <a:pt x="357" y="2"/>
                  </a:lnTo>
                  <a:lnTo>
                    <a:pt x="337" y="0"/>
                  </a:lnTo>
                  <a:lnTo>
                    <a:pt x="323" y="0"/>
                  </a:lnTo>
                  <a:lnTo>
                    <a:pt x="323"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51" name="Freeform 127">
              <a:extLst>
                <a:ext uri="{FF2B5EF4-FFF2-40B4-BE49-F238E27FC236}">
                  <a16:creationId xmlns:a16="http://schemas.microsoft.com/office/drawing/2014/main" id="{10E0EA9C-6CAB-4494-AA07-E8794ECEAB36}"/>
                </a:ext>
              </a:extLst>
            </p:cNvPr>
            <p:cNvSpPr>
              <a:spLocks/>
            </p:cNvSpPr>
            <p:nvPr/>
          </p:nvSpPr>
          <p:spPr bwMode="auto">
            <a:xfrm>
              <a:off x="2555875" y="328911"/>
              <a:ext cx="673100" cy="400050"/>
            </a:xfrm>
            <a:custGeom>
              <a:avLst/>
              <a:gdLst/>
              <a:ahLst/>
              <a:cxnLst>
                <a:cxn ang="0">
                  <a:pos x="423" y="0"/>
                </a:cxn>
                <a:cxn ang="0">
                  <a:pos x="302" y="10"/>
                </a:cxn>
                <a:cxn ang="0">
                  <a:pos x="268" y="13"/>
                </a:cxn>
                <a:cxn ang="0">
                  <a:pos x="181" y="31"/>
                </a:cxn>
                <a:cxn ang="0">
                  <a:pos x="159" y="37"/>
                </a:cxn>
                <a:cxn ang="0">
                  <a:pos x="74" y="105"/>
                </a:cxn>
                <a:cxn ang="0">
                  <a:pos x="17" y="159"/>
                </a:cxn>
                <a:cxn ang="0">
                  <a:pos x="4" y="174"/>
                </a:cxn>
                <a:cxn ang="0">
                  <a:pos x="0" y="179"/>
                </a:cxn>
                <a:cxn ang="0">
                  <a:pos x="0" y="218"/>
                </a:cxn>
                <a:cxn ang="0">
                  <a:pos x="2" y="227"/>
                </a:cxn>
                <a:cxn ang="0">
                  <a:pos x="5" y="252"/>
                </a:cxn>
                <a:cxn ang="0">
                  <a:pos x="25" y="227"/>
                </a:cxn>
                <a:cxn ang="0">
                  <a:pos x="45" y="202"/>
                </a:cxn>
                <a:cxn ang="0">
                  <a:pos x="53" y="181"/>
                </a:cxn>
                <a:cxn ang="0">
                  <a:pos x="63" y="167"/>
                </a:cxn>
                <a:cxn ang="0">
                  <a:pos x="67" y="164"/>
                </a:cxn>
                <a:cxn ang="0">
                  <a:pos x="100" y="151"/>
                </a:cxn>
                <a:cxn ang="0">
                  <a:pos x="138" y="118"/>
                </a:cxn>
                <a:cxn ang="0">
                  <a:pos x="174" y="92"/>
                </a:cxn>
                <a:cxn ang="0">
                  <a:pos x="201" y="76"/>
                </a:cxn>
                <a:cxn ang="0">
                  <a:pos x="263" y="46"/>
                </a:cxn>
                <a:cxn ang="0">
                  <a:pos x="289" y="36"/>
                </a:cxn>
                <a:cxn ang="0">
                  <a:pos x="314" y="31"/>
                </a:cxn>
                <a:cxn ang="0">
                  <a:pos x="364" y="24"/>
                </a:cxn>
                <a:cxn ang="0">
                  <a:pos x="381" y="25"/>
                </a:cxn>
                <a:cxn ang="0">
                  <a:pos x="395" y="25"/>
                </a:cxn>
                <a:cxn ang="0">
                  <a:pos x="406" y="25"/>
                </a:cxn>
                <a:cxn ang="0">
                  <a:pos x="408" y="21"/>
                </a:cxn>
                <a:cxn ang="0">
                  <a:pos x="384" y="20"/>
                </a:cxn>
                <a:cxn ang="0">
                  <a:pos x="384" y="20"/>
                </a:cxn>
                <a:cxn ang="0">
                  <a:pos x="393" y="19"/>
                </a:cxn>
                <a:cxn ang="0">
                  <a:pos x="399" y="17"/>
                </a:cxn>
                <a:cxn ang="0">
                  <a:pos x="410" y="17"/>
                </a:cxn>
                <a:cxn ang="0">
                  <a:pos x="416" y="11"/>
                </a:cxn>
                <a:cxn ang="0">
                  <a:pos x="416" y="10"/>
                </a:cxn>
                <a:cxn ang="0">
                  <a:pos x="422" y="4"/>
                </a:cxn>
                <a:cxn ang="0">
                  <a:pos x="424" y="2"/>
                </a:cxn>
                <a:cxn ang="0">
                  <a:pos x="423" y="0"/>
                </a:cxn>
                <a:cxn ang="0">
                  <a:pos x="423" y="0"/>
                </a:cxn>
              </a:cxnLst>
              <a:rect l="0" t="0" r="r" b="b"/>
              <a:pathLst>
                <a:path w="424" h="252">
                  <a:moveTo>
                    <a:pt x="423" y="0"/>
                  </a:moveTo>
                  <a:lnTo>
                    <a:pt x="423" y="0"/>
                  </a:lnTo>
                  <a:lnTo>
                    <a:pt x="351" y="4"/>
                  </a:lnTo>
                  <a:lnTo>
                    <a:pt x="302" y="10"/>
                  </a:lnTo>
                  <a:lnTo>
                    <a:pt x="268" y="13"/>
                  </a:lnTo>
                  <a:lnTo>
                    <a:pt x="268" y="13"/>
                  </a:lnTo>
                  <a:lnTo>
                    <a:pt x="181" y="31"/>
                  </a:lnTo>
                  <a:lnTo>
                    <a:pt x="181" y="31"/>
                  </a:lnTo>
                  <a:lnTo>
                    <a:pt x="159" y="37"/>
                  </a:lnTo>
                  <a:lnTo>
                    <a:pt x="159" y="37"/>
                  </a:lnTo>
                  <a:lnTo>
                    <a:pt x="118" y="69"/>
                  </a:lnTo>
                  <a:lnTo>
                    <a:pt x="74" y="105"/>
                  </a:lnTo>
                  <a:lnTo>
                    <a:pt x="34" y="143"/>
                  </a:lnTo>
                  <a:lnTo>
                    <a:pt x="17" y="159"/>
                  </a:lnTo>
                  <a:lnTo>
                    <a:pt x="4" y="174"/>
                  </a:lnTo>
                  <a:lnTo>
                    <a:pt x="4" y="174"/>
                  </a:lnTo>
                  <a:lnTo>
                    <a:pt x="0" y="179"/>
                  </a:lnTo>
                  <a:lnTo>
                    <a:pt x="0" y="179"/>
                  </a:lnTo>
                  <a:lnTo>
                    <a:pt x="0" y="206"/>
                  </a:lnTo>
                  <a:lnTo>
                    <a:pt x="0" y="218"/>
                  </a:lnTo>
                  <a:lnTo>
                    <a:pt x="2" y="227"/>
                  </a:lnTo>
                  <a:lnTo>
                    <a:pt x="2" y="227"/>
                  </a:lnTo>
                  <a:lnTo>
                    <a:pt x="4" y="242"/>
                  </a:lnTo>
                  <a:lnTo>
                    <a:pt x="5" y="252"/>
                  </a:lnTo>
                  <a:lnTo>
                    <a:pt x="5" y="252"/>
                  </a:lnTo>
                  <a:lnTo>
                    <a:pt x="25" y="227"/>
                  </a:lnTo>
                  <a:lnTo>
                    <a:pt x="45" y="202"/>
                  </a:lnTo>
                  <a:lnTo>
                    <a:pt x="45" y="202"/>
                  </a:lnTo>
                  <a:lnTo>
                    <a:pt x="49" y="193"/>
                  </a:lnTo>
                  <a:lnTo>
                    <a:pt x="53" y="181"/>
                  </a:lnTo>
                  <a:lnTo>
                    <a:pt x="59" y="171"/>
                  </a:lnTo>
                  <a:lnTo>
                    <a:pt x="63" y="167"/>
                  </a:lnTo>
                  <a:lnTo>
                    <a:pt x="67" y="164"/>
                  </a:lnTo>
                  <a:lnTo>
                    <a:pt x="67" y="164"/>
                  </a:lnTo>
                  <a:lnTo>
                    <a:pt x="79" y="159"/>
                  </a:lnTo>
                  <a:lnTo>
                    <a:pt x="100" y="151"/>
                  </a:lnTo>
                  <a:lnTo>
                    <a:pt x="100" y="151"/>
                  </a:lnTo>
                  <a:lnTo>
                    <a:pt x="138" y="118"/>
                  </a:lnTo>
                  <a:lnTo>
                    <a:pt x="156" y="104"/>
                  </a:lnTo>
                  <a:lnTo>
                    <a:pt x="174" y="92"/>
                  </a:lnTo>
                  <a:lnTo>
                    <a:pt x="174" y="92"/>
                  </a:lnTo>
                  <a:lnTo>
                    <a:pt x="201" y="76"/>
                  </a:lnTo>
                  <a:lnTo>
                    <a:pt x="233" y="59"/>
                  </a:lnTo>
                  <a:lnTo>
                    <a:pt x="263" y="46"/>
                  </a:lnTo>
                  <a:lnTo>
                    <a:pt x="276" y="41"/>
                  </a:lnTo>
                  <a:lnTo>
                    <a:pt x="289" y="36"/>
                  </a:lnTo>
                  <a:lnTo>
                    <a:pt x="289" y="36"/>
                  </a:lnTo>
                  <a:lnTo>
                    <a:pt x="314" y="31"/>
                  </a:lnTo>
                  <a:lnTo>
                    <a:pt x="339" y="27"/>
                  </a:lnTo>
                  <a:lnTo>
                    <a:pt x="364" y="24"/>
                  </a:lnTo>
                  <a:lnTo>
                    <a:pt x="364" y="24"/>
                  </a:lnTo>
                  <a:lnTo>
                    <a:pt x="381" y="25"/>
                  </a:lnTo>
                  <a:lnTo>
                    <a:pt x="395" y="25"/>
                  </a:lnTo>
                  <a:lnTo>
                    <a:pt x="395" y="25"/>
                  </a:lnTo>
                  <a:lnTo>
                    <a:pt x="402" y="25"/>
                  </a:lnTo>
                  <a:lnTo>
                    <a:pt x="406" y="25"/>
                  </a:lnTo>
                  <a:lnTo>
                    <a:pt x="407" y="23"/>
                  </a:lnTo>
                  <a:lnTo>
                    <a:pt x="408" y="21"/>
                  </a:lnTo>
                  <a:lnTo>
                    <a:pt x="408" y="21"/>
                  </a:lnTo>
                  <a:lnTo>
                    <a:pt x="384" y="20"/>
                  </a:lnTo>
                  <a:lnTo>
                    <a:pt x="384" y="20"/>
                  </a:lnTo>
                  <a:lnTo>
                    <a:pt x="384" y="20"/>
                  </a:lnTo>
                  <a:lnTo>
                    <a:pt x="386" y="20"/>
                  </a:lnTo>
                  <a:lnTo>
                    <a:pt x="393" y="19"/>
                  </a:lnTo>
                  <a:lnTo>
                    <a:pt x="393" y="19"/>
                  </a:lnTo>
                  <a:lnTo>
                    <a:pt x="399" y="17"/>
                  </a:lnTo>
                  <a:lnTo>
                    <a:pt x="410" y="17"/>
                  </a:lnTo>
                  <a:lnTo>
                    <a:pt x="410" y="17"/>
                  </a:lnTo>
                  <a:lnTo>
                    <a:pt x="416" y="13"/>
                  </a:lnTo>
                  <a:lnTo>
                    <a:pt x="416" y="11"/>
                  </a:lnTo>
                  <a:lnTo>
                    <a:pt x="416" y="10"/>
                  </a:lnTo>
                  <a:lnTo>
                    <a:pt x="416" y="10"/>
                  </a:lnTo>
                  <a:lnTo>
                    <a:pt x="419" y="7"/>
                  </a:lnTo>
                  <a:lnTo>
                    <a:pt x="422" y="4"/>
                  </a:lnTo>
                  <a:lnTo>
                    <a:pt x="424" y="3"/>
                  </a:lnTo>
                  <a:lnTo>
                    <a:pt x="424" y="2"/>
                  </a:lnTo>
                  <a:lnTo>
                    <a:pt x="423" y="0"/>
                  </a:lnTo>
                  <a:lnTo>
                    <a:pt x="423" y="0"/>
                  </a:lnTo>
                  <a:lnTo>
                    <a:pt x="423" y="0"/>
                  </a:lnTo>
                  <a:lnTo>
                    <a:pt x="423" y="0"/>
                  </a:lnTo>
                  <a:close/>
                </a:path>
              </a:pathLst>
            </a:custGeom>
            <a:solidFill>
              <a:srgbClr val="FBB625"/>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52" name="Freeform 128">
              <a:extLst>
                <a:ext uri="{FF2B5EF4-FFF2-40B4-BE49-F238E27FC236}">
                  <a16:creationId xmlns:a16="http://schemas.microsoft.com/office/drawing/2014/main" id="{A642C93C-04F9-4864-9E6C-3ED9962D4A0B}"/>
                </a:ext>
              </a:extLst>
            </p:cNvPr>
            <p:cNvSpPr>
              <a:spLocks/>
            </p:cNvSpPr>
            <p:nvPr/>
          </p:nvSpPr>
          <p:spPr bwMode="auto">
            <a:xfrm>
              <a:off x="2555875" y="328911"/>
              <a:ext cx="673100" cy="400050"/>
            </a:xfrm>
            <a:custGeom>
              <a:avLst/>
              <a:gdLst/>
              <a:ahLst/>
              <a:cxnLst>
                <a:cxn ang="0">
                  <a:pos x="423" y="0"/>
                </a:cxn>
                <a:cxn ang="0">
                  <a:pos x="302" y="10"/>
                </a:cxn>
                <a:cxn ang="0">
                  <a:pos x="268" y="13"/>
                </a:cxn>
                <a:cxn ang="0">
                  <a:pos x="181" y="31"/>
                </a:cxn>
                <a:cxn ang="0">
                  <a:pos x="159" y="37"/>
                </a:cxn>
                <a:cxn ang="0">
                  <a:pos x="74" y="105"/>
                </a:cxn>
                <a:cxn ang="0">
                  <a:pos x="17" y="159"/>
                </a:cxn>
                <a:cxn ang="0">
                  <a:pos x="4" y="174"/>
                </a:cxn>
                <a:cxn ang="0">
                  <a:pos x="0" y="179"/>
                </a:cxn>
                <a:cxn ang="0">
                  <a:pos x="0" y="218"/>
                </a:cxn>
                <a:cxn ang="0">
                  <a:pos x="2" y="227"/>
                </a:cxn>
                <a:cxn ang="0">
                  <a:pos x="5" y="252"/>
                </a:cxn>
                <a:cxn ang="0">
                  <a:pos x="25" y="227"/>
                </a:cxn>
                <a:cxn ang="0">
                  <a:pos x="45" y="202"/>
                </a:cxn>
                <a:cxn ang="0">
                  <a:pos x="53" y="181"/>
                </a:cxn>
                <a:cxn ang="0">
                  <a:pos x="63" y="167"/>
                </a:cxn>
                <a:cxn ang="0">
                  <a:pos x="67" y="164"/>
                </a:cxn>
                <a:cxn ang="0">
                  <a:pos x="100" y="151"/>
                </a:cxn>
                <a:cxn ang="0">
                  <a:pos x="138" y="118"/>
                </a:cxn>
                <a:cxn ang="0">
                  <a:pos x="174" y="92"/>
                </a:cxn>
                <a:cxn ang="0">
                  <a:pos x="201" y="76"/>
                </a:cxn>
                <a:cxn ang="0">
                  <a:pos x="263" y="46"/>
                </a:cxn>
                <a:cxn ang="0">
                  <a:pos x="289" y="36"/>
                </a:cxn>
                <a:cxn ang="0">
                  <a:pos x="314" y="31"/>
                </a:cxn>
                <a:cxn ang="0">
                  <a:pos x="364" y="24"/>
                </a:cxn>
                <a:cxn ang="0">
                  <a:pos x="381" y="25"/>
                </a:cxn>
                <a:cxn ang="0">
                  <a:pos x="395" y="25"/>
                </a:cxn>
                <a:cxn ang="0">
                  <a:pos x="406" y="25"/>
                </a:cxn>
                <a:cxn ang="0">
                  <a:pos x="408" y="21"/>
                </a:cxn>
                <a:cxn ang="0">
                  <a:pos x="384" y="20"/>
                </a:cxn>
                <a:cxn ang="0">
                  <a:pos x="384" y="20"/>
                </a:cxn>
                <a:cxn ang="0">
                  <a:pos x="393" y="19"/>
                </a:cxn>
                <a:cxn ang="0">
                  <a:pos x="399" y="17"/>
                </a:cxn>
                <a:cxn ang="0">
                  <a:pos x="410" y="17"/>
                </a:cxn>
                <a:cxn ang="0">
                  <a:pos x="416" y="11"/>
                </a:cxn>
                <a:cxn ang="0">
                  <a:pos x="416" y="10"/>
                </a:cxn>
                <a:cxn ang="0">
                  <a:pos x="422" y="4"/>
                </a:cxn>
                <a:cxn ang="0">
                  <a:pos x="424" y="2"/>
                </a:cxn>
                <a:cxn ang="0">
                  <a:pos x="423" y="0"/>
                </a:cxn>
                <a:cxn ang="0">
                  <a:pos x="423" y="0"/>
                </a:cxn>
              </a:cxnLst>
              <a:rect l="0" t="0" r="r" b="b"/>
              <a:pathLst>
                <a:path w="424" h="252">
                  <a:moveTo>
                    <a:pt x="423" y="0"/>
                  </a:moveTo>
                  <a:lnTo>
                    <a:pt x="423" y="0"/>
                  </a:lnTo>
                  <a:lnTo>
                    <a:pt x="351" y="4"/>
                  </a:lnTo>
                  <a:lnTo>
                    <a:pt x="302" y="10"/>
                  </a:lnTo>
                  <a:lnTo>
                    <a:pt x="268" y="13"/>
                  </a:lnTo>
                  <a:lnTo>
                    <a:pt x="268" y="13"/>
                  </a:lnTo>
                  <a:lnTo>
                    <a:pt x="181" y="31"/>
                  </a:lnTo>
                  <a:lnTo>
                    <a:pt x="181" y="31"/>
                  </a:lnTo>
                  <a:lnTo>
                    <a:pt x="159" y="37"/>
                  </a:lnTo>
                  <a:lnTo>
                    <a:pt x="159" y="37"/>
                  </a:lnTo>
                  <a:lnTo>
                    <a:pt x="118" y="69"/>
                  </a:lnTo>
                  <a:lnTo>
                    <a:pt x="74" y="105"/>
                  </a:lnTo>
                  <a:lnTo>
                    <a:pt x="34" y="143"/>
                  </a:lnTo>
                  <a:lnTo>
                    <a:pt x="17" y="159"/>
                  </a:lnTo>
                  <a:lnTo>
                    <a:pt x="4" y="174"/>
                  </a:lnTo>
                  <a:lnTo>
                    <a:pt x="4" y="174"/>
                  </a:lnTo>
                  <a:lnTo>
                    <a:pt x="0" y="179"/>
                  </a:lnTo>
                  <a:lnTo>
                    <a:pt x="0" y="179"/>
                  </a:lnTo>
                  <a:lnTo>
                    <a:pt x="0" y="206"/>
                  </a:lnTo>
                  <a:lnTo>
                    <a:pt x="0" y="218"/>
                  </a:lnTo>
                  <a:lnTo>
                    <a:pt x="2" y="227"/>
                  </a:lnTo>
                  <a:lnTo>
                    <a:pt x="2" y="227"/>
                  </a:lnTo>
                  <a:lnTo>
                    <a:pt x="4" y="242"/>
                  </a:lnTo>
                  <a:lnTo>
                    <a:pt x="5" y="252"/>
                  </a:lnTo>
                  <a:lnTo>
                    <a:pt x="5" y="252"/>
                  </a:lnTo>
                  <a:lnTo>
                    <a:pt x="25" y="227"/>
                  </a:lnTo>
                  <a:lnTo>
                    <a:pt x="45" y="202"/>
                  </a:lnTo>
                  <a:lnTo>
                    <a:pt x="45" y="202"/>
                  </a:lnTo>
                  <a:lnTo>
                    <a:pt x="49" y="193"/>
                  </a:lnTo>
                  <a:lnTo>
                    <a:pt x="53" y="181"/>
                  </a:lnTo>
                  <a:lnTo>
                    <a:pt x="59" y="171"/>
                  </a:lnTo>
                  <a:lnTo>
                    <a:pt x="63" y="167"/>
                  </a:lnTo>
                  <a:lnTo>
                    <a:pt x="67" y="164"/>
                  </a:lnTo>
                  <a:lnTo>
                    <a:pt x="67" y="164"/>
                  </a:lnTo>
                  <a:lnTo>
                    <a:pt x="79" y="159"/>
                  </a:lnTo>
                  <a:lnTo>
                    <a:pt x="100" y="151"/>
                  </a:lnTo>
                  <a:lnTo>
                    <a:pt x="100" y="151"/>
                  </a:lnTo>
                  <a:lnTo>
                    <a:pt x="138" y="118"/>
                  </a:lnTo>
                  <a:lnTo>
                    <a:pt x="156" y="104"/>
                  </a:lnTo>
                  <a:lnTo>
                    <a:pt x="174" y="92"/>
                  </a:lnTo>
                  <a:lnTo>
                    <a:pt x="174" y="92"/>
                  </a:lnTo>
                  <a:lnTo>
                    <a:pt x="201" y="76"/>
                  </a:lnTo>
                  <a:lnTo>
                    <a:pt x="233" y="59"/>
                  </a:lnTo>
                  <a:lnTo>
                    <a:pt x="263" y="46"/>
                  </a:lnTo>
                  <a:lnTo>
                    <a:pt x="276" y="41"/>
                  </a:lnTo>
                  <a:lnTo>
                    <a:pt x="289" y="36"/>
                  </a:lnTo>
                  <a:lnTo>
                    <a:pt x="289" y="36"/>
                  </a:lnTo>
                  <a:lnTo>
                    <a:pt x="314" y="31"/>
                  </a:lnTo>
                  <a:lnTo>
                    <a:pt x="339" y="27"/>
                  </a:lnTo>
                  <a:lnTo>
                    <a:pt x="364" y="24"/>
                  </a:lnTo>
                  <a:lnTo>
                    <a:pt x="364" y="24"/>
                  </a:lnTo>
                  <a:lnTo>
                    <a:pt x="381" y="25"/>
                  </a:lnTo>
                  <a:lnTo>
                    <a:pt x="395" y="25"/>
                  </a:lnTo>
                  <a:lnTo>
                    <a:pt x="395" y="25"/>
                  </a:lnTo>
                  <a:lnTo>
                    <a:pt x="402" y="25"/>
                  </a:lnTo>
                  <a:lnTo>
                    <a:pt x="406" y="25"/>
                  </a:lnTo>
                  <a:lnTo>
                    <a:pt x="407" y="23"/>
                  </a:lnTo>
                  <a:lnTo>
                    <a:pt x="408" y="21"/>
                  </a:lnTo>
                  <a:lnTo>
                    <a:pt x="408" y="21"/>
                  </a:lnTo>
                  <a:lnTo>
                    <a:pt x="384" y="20"/>
                  </a:lnTo>
                  <a:lnTo>
                    <a:pt x="384" y="20"/>
                  </a:lnTo>
                  <a:lnTo>
                    <a:pt x="384" y="20"/>
                  </a:lnTo>
                  <a:lnTo>
                    <a:pt x="386" y="20"/>
                  </a:lnTo>
                  <a:lnTo>
                    <a:pt x="393" y="19"/>
                  </a:lnTo>
                  <a:lnTo>
                    <a:pt x="393" y="19"/>
                  </a:lnTo>
                  <a:lnTo>
                    <a:pt x="399" y="17"/>
                  </a:lnTo>
                  <a:lnTo>
                    <a:pt x="410" y="17"/>
                  </a:lnTo>
                  <a:lnTo>
                    <a:pt x="410" y="17"/>
                  </a:lnTo>
                  <a:lnTo>
                    <a:pt x="416" y="13"/>
                  </a:lnTo>
                  <a:lnTo>
                    <a:pt x="416" y="11"/>
                  </a:lnTo>
                  <a:lnTo>
                    <a:pt x="416" y="10"/>
                  </a:lnTo>
                  <a:lnTo>
                    <a:pt x="416" y="10"/>
                  </a:lnTo>
                  <a:lnTo>
                    <a:pt x="419" y="7"/>
                  </a:lnTo>
                  <a:lnTo>
                    <a:pt x="422" y="4"/>
                  </a:lnTo>
                  <a:lnTo>
                    <a:pt x="424" y="3"/>
                  </a:lnTo>
                  <a:lnTo>
                    <a:pt x="424" y="2"/>
                  </a:lnTo>
                  <a:lnTo>
                    <a:pt x="423" y="0"/>
                  </a:lnTo>
                  <a:lnTo>
                    <a:pt x="423" y="0"/>
                  </a:lnTo>
                  <a:lnTo>
                    <a:pt x="423" y="0"/>
                  </a:lnTo>
                  <a:lnTo>
                    <a:pt x="423"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53" name="Freeform 129">
              <a:extLst>
                <a:ext uri="{FF2B5EF4-FFF2-40B4-BE49-F238E27FC236}">
                  <a16:creationId xmlns:a16="http://schemas.microsoft.com/office/drawing/2014/main" id="{0C7E29BD-F842-4A3C-A7C6-F9DE2128EF0F}"/>
                </a:ext>
              </a:extLst>
            </p:cNvPr>
            <p:cNvSpPr>
              <a:spLocks/>
            </p:cNvSpPr>
            <p:nvPr/>
          </p:nvSpPr>
          <p:spPr bwMode="auto">
            <a:xfrm>
              <a:off x="3895725" y="719436"/>
              <a:ext cx="44450" cy="225425"/>
            </a:xfrm>
            <a:custGeom>
              <a:avLst/>
              <a:gdLst/>
              <a:ahLst/>
              <a:cxnLst>
                <a:cxn ang="0">
                  <a:pos x="24" y="0"/>
                </a:cxn>
                <a:cxn ang="0">
                  <a:pos x="24" y="0"/>
                </a:cxn>
                <a:cxn ang="0">
                  <a:pos x="21" y="17"/>
                </a:cxn>
                <a:cxn ang="0">
                  <a:pos x="16" y="37"/>
                </a:cxn>
                <a:cxn ang="0">
                  <a:pos x="10" y="56"/>
                </a:cxn>
                <a:cxn ang="0">
                  <a:pos x="0" y="77"/>
                </a:cxn>
                <a:cxn ang="0">
                  <a:pos x="0" y="77"/>
                </a:cxn>
                <a:cxn ang="0">
                  <a:pos x="3" y="97"/>
                </a:cxn>
                <a:cxn ang="0">
                  <a:pos x="2" y="115"/>
                </a:cxn>
                <a:cxn ang="0">
                  <a:pos x="2" y="115"/>
                </a:cxn>
                <a:cxn ang="0">
                  <a:pos x="0" y="135"/>
                </a:cxn>
                <a:cxn ang="0">
                  <a:pos x="2" y="139"/>
                </a:cxn>
                <a:cxn ang="0">
                  <a:pos x="3" y="142"/>
                </a:cxn>
                <a:cxn ang="0">
                  <a:pos x="3" y="142"/>
                </a:cxn>
                <a:cxn ang="0">
                  <a:pos x="6" y="139"/>
                </a:cxn>
                <a:cxn ang="0">
                  <a:pos x="8" y="134"/>
                </a:cxn>
                <a:cxn ang="0">
                  <a:pos x="8" y="134"/>
                </a:cxn>
                <a:cxn ang="0">
                  <a:pos x="15" y="115"/>
                </a:cxn>
                <a:cxn ang="0">
                  <a:pos x="19" y="98"/>
                </a:cxn>
                <a:cxn ang="0">
                  <a:pos x="25" y="67"/>
                </a:cxn>
                <a:cxn ang="0">
                  <a:pos x="28" y="42"/>
                </a:cxn>
                <a:cxn ang="0">
                  <a:pos x="28" y="22"/>
                </a:cxn>
                <a:cxn ang="0">
                  <a:pos x="28" y="22"/>
                </a:cxn>
                <a:cxn ang="0">
                  <a:pos x="24" y="0"/>
                </a:cxn>
              </a:cxnLst>
              <a:rect l="0" t="0" r="r" b="b"/>
              <a:pathLst>
                <a:path w="28" h="142">
                  <a:moveTo>
                    <a:pt x="24" y="0"/>
                  </a:moveTo>
                  <a:lnTo>
                    <a:pt x="24" y="0"/>
                  </a:lnTo>
                  <a:lnTo>
                    <a:pt x="21" y="17"/>
                  </a:lnTo>
                  <a:lnTo>
                    <a:pt x="16" y="37"/>
                  </a:lnTo>
                  <a:lnTo>
                    <a:pt x="10" y="56"/>
                  </a:lnTo>
                  <a:lnTo>
                    <a:pt x="0" y="77"/>
                  </a:lnTo>
                  <a:lnTo>
                    <a:pt x="0" y="77"/>
                  </a:lnTo>
                  <a:lnTo>
                    <a:pt x="3" y="97"/>
                  </a:lnTo>
                  <a:lnTo>
                    <a:pt x="2" y="115"/>
                  </a:lnTo>
                  <a:lnTo>
                    <a:pt x="2" y="115"/>
                  </a:lnTo>
                  <a:lnTo>
                    <a:pt x="0" y="135"/>
                  </a:lnTo>
                  <a:lnTo>
                    <a:pt x="2" y="139"/>
                  </a:lnTo>
                  <a:lnTo>
                    <a:pt x="3" y="142"/>
                  </a:lnTo>
                  <a:lnTo>
                    <a:pt x="3" y="142"/>
                  </a:lnTo>
                  <a:lnTo>
                    <a:pt x="6" y="139"/>
                  </a:lnTo>
                  <a:lnTo>
                    <a:pt x="8" y="134"/>
                  </a:lnTo>
                  <a:lnTo>
                    <a:pt x="8" y="134"/>
                  </a:lnTo>
                  <a:lnTo>
                    <a:pt x="15" y="115"/>
                  </a:lnTo>
                  <a:lnTo>
                    <a:pt x="19" y="98"/>
                  </a:lnTo>
                  <a:lnTo>
                    <a:pt x="25" y="67"/>
                  </a:lnTo>
                  <a:lnTo>
                    <a:pt x="28" y="42"/>
                  </a:lnTo>
                  <a:lnTo>
                    <a:pt x="28" y="22"/>
                  </a:lnTo>
                  <a:lnTo>
                    <a:pt x="28" y="22"/>
                  </a:lnTo>
                  <a:lnTo>
                    <a:pt x="24" y="0"/>
                  </a:lnTo>
                  <a:close/>
                </a:path>
              </a:pathLst>
            </a:custGeom>
            <a:solidFill>
              <a:srgbClr val="FBB625"/>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54" name="Freeform 130">
              <a:extLst>
                <a:ext uri="{FF2B5EF4-FFF2-40B4-BE49-F238E27FC236}">
                  <a16:creationId xmlns:a16="http://schemas.microsoft.com/office/drawing/2014/main" id="{D464C093-A457-4B4D-8AB3-111455CAC520}"/>
                </a:ext>
              </a:extLst>
            </p:cNvPr>
            <p:cNvSpPr>
              <a:spLocks/>
            </p:cNvSpPr>
            <p:nvPr/>
          </p:nvSpPr>
          <p:spPr bwMode="auto">
            <a:xfrm>
              <a:off x="3895725" y="719436"/>
              <a:ext cx="44450" cy="225425"/>
            </a:xfrm>
            <a:custGeom>
              <a:avLst/>
              <a:gdLst/>
              <a:ahLst/>
              <a:cxnLst>
                <a:cxn ang="0">
                  <a:pos x="24" y="0"/>
                </a:cxn>
                <a:cxn ang="0">
                  <a:pos x="24" y="0"/>
                </a:cxn>
                <a:cxn ang="0">
                  <a:pos x="21" y="17"/>
                </a:cxn>
                <a:cxn ang="0">
                  <a:pos x="16" y="37"/>
                </a:cxn>
                <a:cxn ang="0">
                  <a:pos x="10" y="56"/>
                </a:cxn>
                <a:cxn ang="0">
                  <a:pos x="0" y="77"/>
                </a:cxn>
                <a:cxn ang="0">
                  <a:pos x="0" y="77"/>
                </a:cxn>
                <a:cxn ang="0">
                  <a:pos x="3" y="97"/>
                </a:cxn>
                <a:cxn ang="0">
                  <a:pos x="2" y="115"/>
                </a:cxn>
                <a:cxn ang="0">
                  <a:pos x="2" y="115"/>
                </a:cxn>
                <a:cxn ang="0">
                  <a:pos x="0" y="135"/>
                </a:cxn>
                <a:cxn ang="0">
                  <a:pos x="2" y="139"/>
                </a:cxn>
                <a:cxn ang="0">
                  <a:pos x="3" y="142"/>
                </a:cxn>
                <a:cxn ang="0">
                  <a:pos x="3" y="142"/>
                </a:cxn>
                <a:cxn ang="0">
                  <a:pos x="6" y="139"/>
                </a:cxn>
                <a:cxn ang="0">
                  <a:pos x="8" y="134"/>
                </a:cxn>
                <a:cxn ang="0">
                  <a:pos x="8" y="134"/>
                </a:cxn>
                <a:cxn ang="0">
                  <a:pos x="15" y="115"/>
                </a:cxn>
                <a:cxn ang="0">
                  <a:pos x="19" y="98"/>
                </a:cxn>
                <a:cxn ang="0">
                  <a:pos x="25" y="67"/>
                </a:cxn>
                <a:cxn ang="0">
                  <a:pos x="28" y="42"/>
                </a:cxn>
                <a:cxn ang="0">
                  <a:pos x="28" y="22"/>
                </a:cxn>
                <a:cxn ang="0">
                  <a:pos x="28" y="22"/>
                </a:cxn>
                <a:cxn ang="0">
                  <a:pos x="24" y="0"/>
                </a:cxn>
              </a:cxnLst>
              <a:rect l="0" t="0" r="r" b="b"/>
              <a:pathLst>
                <a:path w="28" h="142">
                  <a:moveTo>
                    <a:pt x="24" y="0"/>
                  </a:moveTo>
                  <a:lnTo>
                    <a:pt x="24" y="0"/>
                  </a:lnTo>
                  <a:lnTo>
                    <a:pt x="21" y="17"/>
                  </a:lnTo>
                  <a:lnTo>
                    <a:pt x="16" y="37"/>
                  </a:lnTo>
                  <a:lnTo>
                    <a:pt x="10" y="56"/>
                  </a:lnTo>
                  <a:lnTo>
                    <a:pt x="0" y="77"/>
                  </a:lnTo>
                  <a:lnTo>
                    <a:pt x="0" y="77"/>
                  </a:lnTo>
                  <a:lnTo>
                    <a:pt x="3" y="97"/>
                  </a:lnTo>
                  <a:lnTo>
                    <a:pt x="2" y="115"/>
                  </a:lnTo>
                  <a:lnTo>
                    <a:pt x="2" y="115"/>
                  </a:lnTo>
                  <a:lnTo>
                    <a:pt x="0" y="135"/>
                  </a:lnTo>
                  <a:lnTo>
                    <a:pt x="2" y="139"/>
                  </a:lnTo>
                  <a:lnTo>
                    <a:pt x="3" y="142"/>
                  </a:lnTo>
                  <a:lnTo>
                    <a:pt x="3" y="142"/>
                  </a:lnTo>
                  <a:lnTo>
                    <a:pt x="6" y="139"/>
                  </a:lnTo>
                  <a:lnTo>
                    <a:pt x="8" y="134"/>
                  </a:lnTo>
                  <a:lnTo>
                    <a:pt x="8" y="134"/>
                  </a:lnTo>
                  <a:lnTo>
                    <a:pt x="15" y="115"/>
                  </a:lnTo>
                  <a:lnTo>
                    <a:pt x="19" y="98"/>
                  </a:lnTo>
                  <a:lnTo>
                    <a:pt x="25" y="67"/>
                  </a:lnTo>
                  <a:lnTo>
                    <a:pt x="28" y="42"/>
                  </a:lnTo>
                  <a:lnTo>
                    <a:pt x="28" y="22"/>
                  </a:lnTo>
                  <a:lnTo>
                    <a:pt x="28" y="22"/>
                  </a:lnTo>
                  <a:lnTo>
                    <a:pt x="24"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55" name="Text Placeholder 5">
            <a:extLst>
              <a:ext uri="{FF2B5EF4-FFF2-40B4-BE49-F238E27FC236}">
                <a16:creationId xmlns:a16="http://schemas.microsoft.com/office/drawing/2014/main" id="{8AA6B186-BA6D-4CF0-B4D0-B2A221005D92}"/>
              </a:ext>
            </a:extLst>
          </p:cNvPr>
          <p:cNvSpPr txBox="1">
            <a:spLocks/>
          </p:cNvSpPr>
          <p:nvPr/>
        </p:nvSpPr>
        <p:spPr>
          <a:xfrm>
            <a:off x="1038225" y="817217"/>
            <a:ext cx="10853738" cy="263075"/>
          </a:xfrm>
          <a:prstGeom prst="rect">
            <a:avLst/>
          </a:prstGeom>
        </p:spPr>
        <p:txBody>
          <a:bodyPr/>
          <a:lstStyle>
            <a:lvl1pPr marL="457071" indent="-457071" algn="l" defTabSz="914150" rtl="0" eaLnBrk="1" latinLnBrk="0" hangingPunct="1">
              <a:spcBef>
                <a:spcPct val="20000"/>
              </a:spcBef>
              <a:buClr>
                <a:srgbClr val="4C4948"/>
              </a:buClr>
              <a:buFont typeface="Arial" panose="020B0604020202020204" pitchFamily="34" charset="0"/>
              <a:buChar char="•"/>
              <a:defRPr kumimoji="1" sz="2000" b="0" i="0" kern="1200" baseline="0">
                <a:solidFill>
                  <a:schemeClr val="tx1"/>
                </a:solidFill>
                <a:latin typeface="Calibri" panose="020F0502020204030204" pitchFamily="34" charset="0"/>
                <a:ea typeface="メイリオ" pitchFamily="50" charset="-128"/>
                <a:cs typeface="Calibri" pitchFamily="34" charset="0"/>
              </a:defRPr>
            </a:lvl1pPr>
            <a:lvl2pPr marL="742745" indent="-285677" algn="l" defTabSz="914150" rtl="0" eaLnBrk="1" latinLnBrk="0" hangingPunct="1">
              <a:spcBef>
                <a:spcPct val="20000"/>
              </a:spcBef>
              <a:buClr>
                <a:srgbClr val="4C4948"/>
              </a:buClr>
              <a:buFont typeface="Arial" pitchFamily="34" charset="0"/>
              <a:buChar char="–"/>
              <a:defRPr kumimoji="1" sz="2000" b="0" i="0" kern="1200">
                <a:solidFill>
                  <a:schemeClr val="tx1"/>
                </a:solidFill>
                <a:latin typeface="Calibri" panose="020F0502020204030204" pitchFamily="34" charset="0"/>
                <a:ea typeface="メイリオ" pitchFamily="50" charset="-128"/>
                <a:cs typeface="Calibri" pitchFamily="34" charset="0"/>
              </a:defRPr>
            </a:lvl2pPr>
            <a:lvl3pPr marL="1142690" indent="-228541" algn="l" defTabSz="914150" rtl="0" eaLnBrk="1" latinLnBrk="0" hangingPunct="1">
              <a:spcBef>
                <a:spcPct val="20000"/>
              </a:spcBef>
              <a:buClr>
                <a:srgbClr val="4C4948"/>
              </a:buClr>
              <a:buFont typeface="Arial" pitchFamily="34" charset="0"/>
              <a:buChar char="•"/>
              <a:defRPr kumimoji="1" sz="2000" b="0" i="0" kern="1200" baseline="0">
                <a:solidFill>
                  <a:schemeClr val="tx1"/>
                </a:solidFill>
                <a:latin typeface="Calibri" panose="020F0502020204030204" pitchFamily="34" charset="0"/>
                <a:ea typeface="メイリオ" pitchFamily="50" charset="-128"/>
                <a:cs typeface="Calibri" pitchFamily="34" charset="0"/>
              </a:defRPr>
            </a:lvl3pPr>
            <a:lvl4pPr marL="1599760" indent="-228541" algn="l" defTabSz="914150" rtl="0" eaLnBrk="1" latinLnBrk="0" hangingPunct="1">
              <a:spcBef>
                <a:spcPct val="20000"/>
              </a:spcBef>
              <a:buClr>
                <a:srgbClr val="4C4948"/>
              </a:buClr>
              <a:buFont typeface="Arial" pitchFamily="34" charset="0"/>
              <a:buChar char="–"/>
              <a:defRPr kumimoji="1" sz="2000" b="0" i="0" kern="1200" baseline="0">
                <a:solidFill>
                  <a:schemeClr val="tx1"/>
                </a:solidFill>
                <a:latin typeface="Calibri" panose="020F0502020204030204" pitchFamily="34" charset="0"/>
                <a:ea typeface="メイリオ" pitchFamily="50" charset="-128"/>
                <a:cs typeface="Calibri" pitchFamily="34" charset="0"/>
              </a:defRPr>
            </a:lvl4pPr>
            <a:lvl5pPr marL="2056831" indent="-228541" algn="l" defTabSz="914150" rtl="0" eaLnBrk="1" latinLnBrk="0" hangingPunct="1">
              <a:spcBef>
                <a:spcPct val="20000"/>
              </a:spcBef>
              <a:buClr>
                <a:srgbClr val="4C4948"/>
              </a:buClr>
              <a:buFont typeface="Arial" pitchFamily="34" charset="0"/>
              <a:buChar char="»"/>
              <a:defRPr kumimoji="1" sz="2000" b="0" i="0" kern="1200" baseline="0">
                <a:solidFill>
                  <a:schemeClr val="tx1"/>
                </a:solidFill>
                <a:latin typeface="Calibri" panose="020F0502020204030204" pitchFamily="34" charset="0"/>
                <a:ea typeface="メイリオ" pitchFamily="50" charset="-128"/>
                <a:cs typeface="Calibri" pitchFamily="34" charset="0"/>
              </a:defRPr>
            </a:lvl5pPr>
            <a:lvl6pPr marL="2513910"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0986"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8061"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5142"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buNone/>
            </a:pPr>
            <a:r>
              <a:rPr lang="en-US" altLang="zh-CN" sz="1800" b="1" dirty="0">
                <a:solidFill>
                  <a:srgbClr val="1A1918"/>
                </a:solidFill>
                <a:latin typeface="微软雅黑" panose="020B0503020204020204" pitchFamily="34" charset="-122"/>
                <a:ea typeface="微软雅黑" panose="020B0503020204020204" pitchFamily="34" charset="-122"/>
              </a:rPr>
              <a:t>——</a:t>
            </a:r>
            <a:r>
              <a:rPr lang="zh-CN" altLang="en-US" sz="1800" b="1" dirty="0">
                <a:solidFill>
                  <a:srgbClr val="1A1918"/>
                </a:solidFill>
                <a:latin typeface="微软雅黑" panose="020B0503020204020204" pitchFamily="34" charset="-122"/>
                <a:ea typeface="微软雅黑" panose="020B0503020204020204" pitchFamily="34" charset="-122"/>
              </a:rPr>
              <a:t>维拉苷酶</a:t>
            </a:r>
            <a:r>
              <a:rPr lang="en-US" altLang="zh-CN" sz="1800" b="1" dirty="0">
                <a:solidFill>
                  <a:srgbClr val="1A1918"/>
                </a:solidFill>
                <a:latin typeface="微软雅黑" panose="020B0503020204020204" pitchFamily="34" charset="-122"/>
                <a:ea typeface="微软雅黑" panose="020B0503020204020204" pitchFamily="34" charset="-122"/>
              </a:rPr>
              <a:t>α</a:t>
            </a:r>
            <a:r>
              <a:rPr lang="zh-CN" altLang="en-US" sz="1800" b="1" dirty="0">
                <a:solidFill>
                  <a:srgbClr val="1A1918"/>
                </a:solidFill>
                <a:latin typeface="微软雅黑" panose="020B0503020204020204" pitchFamily="34" charset="-122"/>
                <a:ea typeface="微软雅黑" panose="020B0503020204020204" pitchFamily="34" charset="-122"/>
              </a:rPr>
              <a:t>是在人细胞系中生产的酶替代治疗药物，</a:t>
            </a:r>
            <a:r>
              <a:rPr lang="zh-CN" altLang="en-US" sz="2400" b="1" dirty="0">
                <a:solidFill>
                  <a:srgbClr val="C00000"/>
                </a:solidFill>
                <a:latin typeface="微软雅黑" panose="020B0503020204020204" pitchFamily="34" charset="-122"/>
                <a:ea typeface="微软雅黑" panose="020B0503020204020204" pitchFamily="34" charset="-122"/>
              </a:rPr>
              <a:t>抗体产生风险低</a:t>
            </a:r>
          </a:p>
          <a:p>
            <a:pPr marL="0" indent="0">
              <a:buNone/>
            </a:pPr>
            <a:endParaRPr lang="en-JP" sz="1800" b="1" dirty="0">
              <a:solidFill>
                <a:srgbClr val="1A1918"/>
              </a:solidFill>
              <a:latin typeface="微软雅黑" panose="020B0503020204020204" pitchFamily="34" charset="-122"/>
              <a:ea typeface="微软雅黑" panose="020B0503020204020204" pitchFamily="34" charset="-122"/>
            </a:endParaRPr>
          </a:p>
        </p:txBody>
      </p:sp>
    </p:spTree>
    <p:extLst>
      <p:ext uri="{BB962C8B-B14F-4D97-AF65-F5344CB8AC3E}">
        <p14:creationId xmlns:p14="http://schemas.microsoft.com/office/powerpoint/2010/main" val="100414191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8" name="文本框 447">
            <a:extLst>
              <a:ext uri="{FF2B5EF4-FFF2-40B4-BE49-F238E27FC236}">
                <a16:creationId xmlns:a16="http://schemas.microsoft.com/office/drawing/2014/main" id="{36C28501-B3C4-47BE-B6B3-172F5D75C18A}"/>
              </a:ext>
            </a:extLst>
          </p:cNvPr>
          <p:cNvSpPr txBox="1"/>
          <p:nvPr/>
        </p:nvSpPr>
        <p:spPr>
          <a:xfrm>
            <a:off x="887824" y="1708129"/>
            <a:ext cx="5112000" cy="1439240"/>
          </a:xfrm>
          <a:prstGeom prst="rect">
            <a:avLst/>
          </a:prstGeom>
          <a:noFill/>
        </p:spPr>
        <p:txBody>
          <a:bodyPr vert="horz" wrap="square" anchor="t">
            <a:spAutoFit/>
          </a:bodyPr>
          <a:lstStyle/>
          <a:p>
            <a:pPr marL="285750" indent="-285750">
              <a:lnSpc>
                <a:spcPct val="150000"/>
              </a:lnSpc>
              <a:buFont typeface="Wingdings" panose="05000000000000000000" pitchFamily="2" charset="2"/>
              <a:buChar char="l"/>
            </a:pPr>
            <a:r>
              <a:rPr lang="zh-CN" altLang="zh-CN" sz="1400" kern="100" dirty="0">
                <a:effectLst/>
                <a:latin typeface="微软雅黑" panose="020B0503020204020204" pitchFamily="34" charset="-122"/>
                <a:ea typeface="微软雅黑" panose="020B0503020204020204" pitchFamily="34" charset="-122"/>
                <a:cs typeface="Times New Roman" panose="02020603050405020304" pitchFamily="18" charset="0"/>
              </a:rPr>
              <a:t>维拉苷酶</a:t>
            </a:r>
            <a:r>
              <a:rPr lang="en-US" altLang="zh-CN" sz="1400" kern="100" dirty="0">
                <a:effectLst/>
                <a:latin typeface="微软雅黑" panose="020B0503020204020204" pitchFamily="34" charset="-122"/>
                <a:ea typeface="微软雅黑" panose="020B0503020204020204" pitchFamily="34" charset="-122"/>
                <a:cs typeface="Times New Roman" panose="02020603050405020304" pitchFamily="18" charset="0"/>
              </a:rPr>
              <a:t>α</a:t>
            </a:r>
            <a:r>
              <a:rPr lang="zh-CN" altLang="zh-CN" sz="1400" kern="100" dirty="0">
                <a:effectLst/>
                <a:latin typeface="微软雅黑" panose="020B0503020204020204" pitchFamily="34" charset="-122"/>
                <a:ea typeface="微软雅黑" panose="020B0503020204020204" pitchFamily="34" charset="-122"/>
                <a:cs typeface="Times New Roman" panose="02020603050405020304" pitchFamily="18" charset="0"/>
              </a:rPr>
              <a:t>治疗开始后</a:t>
            </a:r>
            <a:r>
              <a:rPr lang="zh-CN" altLang="zh-CN" sz="1400" b="1" kern="100" dirty="0">
                <a:effectLst/>
                <a:latin typeface="微软雅黑" panose="020B0503020204020204" pitchFamily="34" charset="-122"/>
                <a:ea typeface="微软雅黑" panose="020B0503020204020204" pitchFamily="34" charset="-122"/>
                <a:cs typeface="Times New Roman" panose="02020603050405020304" pitchFamily="18" charset="0"/>
              </a:rPr>
              <a:t>，</a:t>
            </a:r>
            <a:r>
              <a:rPr lang="zh-CN" altLang="zh-CN" sz="1400" kern="100" dirty="0">
                <a:effectLst/>
                <a:latin typeface="微软雅黑" panose="020B0503020204020204" pitchFamily="34" charset="-122"/>
                <a:ea typeface="微软雅黑" panose="020B0503020204020204" pitchFamily="34" charset="-122"/>
                <a:cs typeface="Times New Roman" panose="02020603050405020304" pitchFamily="18" charset="0"/>
              </a:rPr>
              <a:t>最早在</a:t>
            </a:r>
            <a:r>
              <a:rPr lang="en-US" altLang="zh-CN" sz="1600" b="1" u="sng" kern="100" dirty="0">
                <a:effectLst/>
                <a:latin typeface="微软雅黑" panose="020B0503020204020204" pitchFamily="34" charset="-122"/>
                <a:ea typeface="微软雅黑" panose="020B0503020204020204" pitchFamily="34" charset="-122"/>
                <a:cs typeface="Times New Roman" panose="02020603050405020304" pitchFamily="18" charset="0"/>
              </a:rPr>
              <a:t>3</a:t>
            </a:r>
            <a:r>
              <a:rPr lang="zh-CN" altLang="zh-CN" sz="1600" b="1" u="sng" kern="100" dirty="0">
                <a:effectLst/>
                <a:latin typeface="微软雅黑" panose="020B0503020204020204" pitchFamily="34" charset="-122"/>
                <a:ea typeface="微软雅黑" panose="020B0503020204020204" pitchFamily="34" charset="-122"/>
                <a:cs typeface="Times New Roman" panose="02020603050405020304" pitchFamily="18" charset="0"/>
              </a:rPr>
              <a:t>个月</a:t>
            </a:r>
            <a:r>
              <a:rPr lang="zh-CN" altLang="zh-CN" sz="1400" kern="100" dirty="0">
                <a:effectLst/>
                <a:latin typeface="微软雅黑" panose="020B0503020204020204" pitchFamily="34" charset="-122"/>
                <a:ea typeface="微软雅黑" panose="020B0503020204020204" pitchFamily="34" charset="-122"/>
                <a:cs typeface="Times New Roman" panose="02020603050405020304" pitchFamily="18" charset="0"/>
              </a:rPr>
              <a:t>即可观察到</a:t>
            </a:r>
            <a:r>
              <a:rPr lang="zh-CN" altLang="zh-CN" sz="1400" b="1" kern="100" dirty="0">
                <a:effectLst/>
                <a:latin typeface="微软雅黑" panose="020B0503020204020204" pitchFamily="34" charset="-122"/>
                <a:ea typeface="微软雅黑" panose="020B0503020204020204" pitchFamily="34" charset="-122"/>
                <a:cs typeface="Times New Roman" panose="02020603050405020304" pitchFamily="18" charset="0"/>
              </a:rPr>
              <a:t>血红蛋白浓度和血小板计数较基线的临床显著改善</a:t>
            </a:r>
            <a:endParaRPr lang="en-US" altLang="zh-CN" sz="1400" b="1" kern="100" dirty="0">
              <a:effectLst/>
              <a:latin typeface="微软雅黑" panose="020B0503020204020204" pitchFamily="34" charset="-122"/>
              <a:ea typeface="微软雅黑" panose="020B0503020204020204" pitchFamily="34" charset="-122"/>
              <a:cs typeface="Times New Roman" panose="02020603050405020304" pitchFamily="18" charset="0"/>
            </a:endParaRPr>
          </a:p>
          <a:p>
            <a:pPr marL="285750" indent="-285750">
              <a:lnSpc>
                <a:spcPct val="150000"/>
              </a:lnSpc>
              <a:buFont typeface="Wingdings" panose="05000000000000000000" pitchFamily="2" charset="2"/>
              <a:buChar char="l"/>
            </a:pPr>
            <a:r>
              <a:rPr lang="zh-CN" altLang="zh-CN" sz="1400" kern="100" dirty="0">
                <a:effectLst/>
                <a:latin typeface="微软雅黑" panose="020B0503020204020204" pitchFamily="34" charset="-122"/>
                <a:ea typeface="微软雅黑" panose="020B0503020204020204" pitchFamily="34" charset="-122"/>
                <a:cs typeface="Times New Roman" panose="02020603050405020304" pitchFamily="18" charset="0"/>
              </a:rPr>
              <a:t>在</a:t>
            </a:r>
            <a:r>
              <a:rPr lang="en-US" altLang="zh-CN" sz="1600" b="1" u="sng" kern="100" dirty="0">
                <a:effectLst/>
                <a:latin typeface="微软雅黑" panose="020B0503020204020204" pitchFamily="34" charset="-122"/>
                <a:ea typeface="微软雅黑" panose="020B0503020204020204" pitchFamily="34" charset="-122"/>
                <a:cs typeface="Times New Roman" panose="02020603050405020304" pitchFamily="18" charset="0"/>
              </a:rPr>
              <a:t>6</a:t>
            </a:r>
            <a:r>
              <a:rPr lang="zh-CN" altLang="zh-CN" sz="1600" b="1" u="sng" kern="100" dirty="0">
                <a:effectLst/>
                <a:latin typeface="微软雅黑" panose="020B0503020204020204" pitchFamily="34" charset="-122"/>
                <a:ea typeface="微软雅黑" panose="020B0503020204020204" pitchFamily="34" charset="-122"/>
                <a:cs typeface="Times New Roman" panose="02020603050405020304" pitchFamily="18" charset="0"/>
              </a:rPr>
              <a:t>个月和</a:t>
            </a:r>
            <a:r>
              <a:rPr lang="en-US" altLang="zh-CN" sz="1600" b="1" u="sng" kern="100" dirty="0">
                <a:effectLst/>
                <a:latin typeface="微软雅黑" panose="020B0503020204020204" pitchFamily="34" charset="-122"/>
                <a:ea typeface="微软雅黑" panose="020B0503020204020204" pitchFamily="34" charset="-122"/>
                <a:cs typeface="Times New Roman" panose="02020603050405020304" pitchFamily="18" charset="0"/>
              </a:rPr>
              <a:t>9</a:t>
            </a:r>
            <a:r>
              <a:rPr lang="zh-CN" altLang="zh-CN" sz="1600" b="1" u="sng" kern="100" dirty="0">
                <a:effectLst/>
                <a:latin typeface="微软雅黑" panose="020B0503020204020204" pitchFamily="34" charset="-122"/>
                <a:ea typeface="微软雅黑" panose="020B0503020204020204" pitchFamily="34" charset="-122"/>
                <a:cs typeface="Times New Roman" panose="02020603050405020304" pitchFamily="18" charset="0"/>
              </a:rPr>
              <a:t>个月</a:t>
            </a:r>
            <a:r>
              <a:rPr lang="zh-CN" altLang="zh-CN" sz="1400" kern="100" dirty="0">
                <a:effectLst/>
                <a:latin typeface="微软雅黑" panose="020B0503020204020204" pitchFamily="34" charset="-122"/>
                <a:ea typeface="微软雅黑" panose="020B0503020204020204" pitchFamily="34" charset="-122"/>
                <a:cs typeface="Times New Roman" panose="02020603050405020304" pitchFamily="18" charset="0"/>
              </a:rPr>
              <a:t>可观察到</a:t>
            </a:r>
            <a:r>
              <a:rPr lang="zh-CN" altLang="zh-CN" sz="1400" b="1" kern="100" dirty="0">
                <a:effectLst/>
                <a:latin typeface="微软雅黑" panose="020B0503020204020204" pitchFamily="34" charset="-122"/>
                <a:ea typeface="微软雅黑" panose="020B0503020204020204" pitchFamily="34" charset="-122"/>
                <a:cs typeface="Times New Roman" panose="02020603050405020304" pitchFamily="18" charset="0"/>
              </a:rPr>
              <a:t>肝脏和脾脏体积较基线的临床显著改善</a:t>
            </a:r>
            <a:r>
              <a:rPr lang="en-US" altLang="zh-CN" sz="1400" kern="100" baseline="30000" dirty="0">
                <a:effectLst/>
                <a:latin typeface="微软雅黑" panose="020B0503020204020204" pitchFamily="34" charset="-122"/>
                <a:ea typeface="微软雅黑" panose="020B0503020204020204" pitchFamily="34" charset="-122"/>
                <a:cs typeface="Times New Roman" panose="02020603050405020304" pitchFamily="18" charset="0"/>
              </a:rPr>
              <a:t>1</a:t>
            </a:r>
            <a:endParaRPr lang="zh-CN" altLang="zh-CN" sz="1400" kern="100" baseline="30000" dirty="0">
              <a:effectLst/>
              <a:latin typeface="微软雅黑" panose="020B0503020204020204" pitchFamily="34" charset="-122"/>
              <a:ea typeface="微软雅黑" panose="020B0503020204020204" pitchFamily="34" charset="-122"/>
              <a:cs typeface="Times New Roman" panose="02020603050405020304" pitchFamily="18" charset="0"/>
            </a:endParaRPr>
          </a:p>
        </p:txBody>
      </p:sp>
      <p:graphicFrame>
        <p:nvGraphicFramePr>
          <p:cNvPr id="18" name="Object 17" hidden="1">
            <a:extLst>
              <a:ext uri="{FF2B5EF4-FFF2-40B4-BE49-F238E27FC236}">
                <a16:creationId xmlns:a16="http://schemas.microsoft.com/office/drawing/2014/main" id="{AF03376B-F0DC-4E45-A052-7BB7F2CF943D}"/>
              </a:ext>
            </a:extLst>
          </p:cNvPr>
          <p:cNvGraphicFramePr>
            <a:graphicFrameLocks noChangeAspect="1"/>
          </p:cNvGraphicFramePr>
          <p:nvPr>
            <p:custDataLst>
              <p:tags r:id="rId1"/>
            </p:custDataLst>
            <p:extLst>
              <p:ext uri="{D42A27DB-BD31-4B8C-83A1-F6EECF244321}">
                <p14:modId xmlns:p14="http://schemas.microsoft.com/office/powerpoint/2010/main" val="36981996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5" imgW="347" imgH="348" progId="TCLayout.ActiveDocument.1">
                  <p:embed/>
                </p:oleObj>
              </mc:Choice>
              <mc:Fallback>
                <p:oleObj name="think-cell 幻灯片" r:id="rId5" imgW="347" imgH="348" progId="TCLayout.ActiveDocument.1">
                  <p:embed/>
                  <p:pic>
                    <p:nvPicPr>
                      <p:cNvPr id="18" name="Object 17" hidden="1">
                        <a:extLst>
                          <a:ext uri="{FF2B5EF4-FFF2-40B4-BE49-F238E27FC236}">
                            <a16:creationId xmlns:a16="http://schemas.microsoft.com/office/drawing/2014/main" id="{AF03376B-F0DC-4E45-A052-7BB7F2CF943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60B2A641-EE1A-4353-B663-913BBED2AB49}"/>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800" b="1" i="0" u="none" strike="noStrike" kern="1200" cap="none" spc="0" normalizeH="0" baseline="0" noProof="0">
              <a:ln>
                <a:noFill/>
              </a:ln>
              <a:solidFill>
                <a:srgbClr val="FFFFFF"/>
              </a:solidFill>
              <a:effectLst/>
              <a:uLnTx/>
              <a:uFillTx/>
              <a:latin typeface="Calibri" panose="020F0502020204030204" pitchFamily="34" charset="0"/>
              <a:ea typeface="メイリオ" panose="020B0604030504040204" pitchFamily="50" charset="-128"/>
              <a:cs typeface="Calibri" panose="020F0502020204030204" pitchFamily="34" charset="0"/>
              <a:sym typeface="Calibri" panose="020F0502020204030204" pitchFamily="34" charset="0"/>
            </a:endParaRPr>
          </a:p>
        </p:txBody>
      </p:sp>
      <p:grpSp>
        <p:nvGrpSpPr>
          <p:cNvPr id="4" name="组合 3">
            <a:extLst>
              <a:ext uri="{FF2B5EF4-FFF2-40B4-BE49-F238E27FC236}">
                <a16:creationId xmlns:a16="http://schemas.microsoft.com/office/drawing/2014/main" id="{8A8025E0-A3A0-4427-B0E5-B7ADDD575B04}"/>
              </a:ext>
            </a:extLst>
          </p:cNvPr>
          <p:cNvGrpSpPr/>
          <p:nvPr/>
        </p:nvGrpSpPr>
        <p:grpSpPr>
          <a:xfrm>
            <a:off x="727304" y="4321538"/>
            <a:ext cx="5393753" cy="2272355"/>
            <a:chOff x="6325731" y="2179003"/>
            <a:chExt cx="5393753" cy="4253160"/>
          </a:xfrm>
        </p:grpSpPr>
        <p:sp>
          <p:nvSpPr>
            <p:cNvPr id="25" name="矩形: 圆角 24">
              <a:extLst>
                <a:ext uri="{FF2B5EF4-FFF2-40B4-BE49-F238E27FC236}">
                  <a16:creationId xmlns:a16="http://schemas.microsoft.com/office/drawing/2014/main" id="{A04C7AE1-47F0-4DE8-8521-F41A6E6E9F53}"/>
                </a:ext>
              </a:extLst>
            </p:cNvPr>
            <p:cNvSpPr/>
            <p:nvPr/>
          </p:nvSpPr>
          <p:spPr>
            <a:xfrm>
              <a:off x="6325731" y="2602823"/>
              <a:ext cx="5328000" cy="3829340"/>
            </a:xfrm>
            <a:prstGeom prst="roundRect">
              <a:avLst>
                <a:gd name="adj" fmla="val 0"/>
              </a:avLst>
            </a:prstGeom>
            <a:noFill/>
            <a:ln w="19050">
              <a:no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wrap="none" rtlCol="0" anchor="ctr"/>
            <a:lstStyle/>
            <a:p>
              <a:pPr algn="ctr"/>
              <a:endParaRPr kumimoji="1" lang="zh-CN" altLang="en-US" dirty="0"/>
            </a:p>
          </p:txBody>
        </p:sp>
        <p:graphicFrame>
          <p:nvGraphicFramePr>
            <p:cNvPr id="226" name="Content Placeholder 5">
              <a:extLst>
                <a:ext uri="{FF2B5EF4-FFF2-40B4-BE49-F238E27FC236}">
                  <a16:creationId xmlns:a16="http://schemas.microsoft.com/office/drawing/2014/main" id="{D1346BF5-F06A-4F9F-BCC4-1C6A87403BDF}"/>
                </a:ext>
              </a:extLst>
            </p:cNvPr>
            <p:cNvGraphicFramePr>
              <a:graphicFrameLocks/>
            </p:cNvGraphicFramePr>
            <p:nvPr>
              <p:extLst>
                <p:ext uri="{D42A27DB-BD31-4B8C-83A1-F6EECF244321}">
                  <p14:modId xmlns:p14="http://schemas.microsoft.com/office/powerpoint/2010/main" val="3018599115"/>
                </p:ext>
              </p:extLst>
            </p:nvPr>
          </p:nvGraphicFramePr>
          <p:xfrm>
            <a:off x="6871345" y="2430800"/>
            <a:ext cx="4848139" cy="3912193"/>
          </p:xfrm>
          <a:graphic>
            <a:graphicData uri="http://schemas.openxmlformats.org/drawingml/2006/chart">
              <c:chart xmlns:c="http://schemas.openxmlformats.org/drawingml/2006/chart" xmlns:r="http://schemas.openxmlformats.org/officeDocument/2006/relationships" r:id="rId7"/>
            </a:graphicData>
          </a:graphic>
        </p:graphicFrame>
        <p:sp>
          <p:nvSpPr>
            <p:cNvPr id="227" name="TextBox 147">
              <a:extLst>
                <a:ext uri="{FF2B5EF4-FFF2-40B4-BE49-F238E27FC236}">
                  <a16:creationId xmlns:a16="http://schemas.microsoft.com/office/drawing/2014/main" id="{1EC62E9E-86C2-4746-A5AF-5163BA2B6554}"/>
                </a:ext>
              </a:extLst>
            </p:cNvPr>
            <p:cNvSpPr txBox="1">
              <a:spLocks noChangeArrowheads="1"/>
            </p:cNvSpPr>
            <p:nvPr/>
          </p:nvSpPr>
          <p:spPr bwMode="auto">
            <a:xfrm rot="16200000">
              <a:off x="5158185" y="3603030"/>
              <a:ext cx="3109664" cy="261610"/>
            </a:xfrm>
            <a:prstGeom prst="rect">
              <a:avLst/>
            </a:prstGeom>
            <a:noFill/>
            <a:ln w="9525">
              <a:noFill/>
              <a:miter lim="800000"/>
              <a:headEnd/>
              <a:tailEnd/>
            </a:ln>
          </p:spPr>
          <p:txBody>
            <a:bodyPr wrap="square">
              <a:spAutoFit/>
            </a:bodyPr>
            <a:lstStyle/>
            <a:p>
              <a:pPr algn="ctr" rtl="0" fontAlgn="base">
                <a:spcBef>
                  <a:spcPct val="0"/>
                </a:spcBef>
                <a:spcAft>
                  <a:spcPct val="0"/>
                </a:spcAft>
              </a:pPr>
              <a:r>
                <a:rPr lang="zh-CN" sz="1100" b="0" i="0" u="none" baseline="0" dirty="0">
                  <a:solidFill>
                    <a:srgbClr val="1A1918"/>
                  </a:solidFill>
                  <a:latin typeface="微软雅黑" panose="020B0503020204020204" pitchFamily="34" charset="-122"/>
                  <a:ea typeface="微软雅黑" panose="020B0503020204020204" pitchFamily="34" charset="-122"/>
                  <a:cs typeface="Arial" pitchFamily="34" charset="0"/>
                  <a:sym typeface="微软雅黑" panose="020B0503020204020204" pitchFamily="34" charset="-122"/>
                </a:rPr>
                <a:t>达到目标的患者（%）</a:t>
              </a:r>
            </a:p>
          </p:txBody>
        </p:sp>
      </p:grpSp>
      <p:sp>
        <p:nvSpPr>
          <p:cNvPr id="229" name="文本框 228">
            <a:extLst>
              <a:ext uri="{FF2B5EF4-FFF2-40B4-BE49-F238E27FC236}">
                <a16:creationId xmlns:a16="http://schemas.microsoft.com/office/drawing/2014/main" id="{DCA14695-B56B-4310-AA03-4DB4936BF685}"/>
              </a:ext>
            </a:extLst>
          </p:cNvPr>
          <p:cNvSpPr txBox="1"/>
          <p:nvPr/>
        </p:nvSpPr>
        <p:spPr>
          <a:xfrm>
            <a:off x="723156" y="6631349"/>
            <a:ext cx="6382319" cy="184666"/>
          </a:xfrm>
          <a:prstGeom prst="rect">
            <a:avLst/>
          </a:prstGeom>
          <a:noFill/>
        </p:spPr>
        <p:txBody>
          <a:bodyPr wrap="square">
            <a:spAutoFit/>
          </a:bodyPr>
          <a:lstStyle/>
          <a:p>
            <a:r>
              <a:rPr lang="zh-CN" altLang="en-US" sz="600" dirty="0">
                <a:latin typeface="微软雅黑" panose="020B0503020204020204" pitchFamily="34" charset="-122"/>
                <a:ea typeface="微软雅黑" panose="020B0503020204020204" pitchFamily="34" charset="-122"/>
              </a:rPr>
              <a:t>参考文献：</a:t>
            </a:r>
            <a:r>
              <a:rPr lang="en-US" sz="600" dirty="0">
                <a:latin typeface="微软雅黑" panose="020B0503020204020204" pitchFamily="34" charset="-122"/>
                <a:ea typeface="微软雅黑" panose="020B0503020204020204" pitchFamily="34" charset="-122"/>
              </a:rPr>
              <a:t>1. </a:t>
            </a:r>
            <a:r>
              <a:rPr lang="da-DK" altLang="zh-CN" sz="600" dirty="0" err="1">
                <a:latin typeface="微软雅黑" panose="020B0503020204020204" pitchFamily="34" charset="-122"/>
                <a:ea typeface="微软雅黑" panose="020B0503020204020204" pitchFamily="34" charset="-122"/>
              </a:rPr>
              <a:t>Zimran</a:t>
            </a:r>
            <a:r>
              <a:rPr lang="da-DK" altLang="zh-CN" sz="600" dirty="0">
                <a:latin typeface="微软雅黑" panose="020B0503020204020204" pitchFamily="34" charset="-122"/>
                <a:ea typeface="微软雅黑" panose="020B0503020204020204" pitchFamily="34" charset="-122"/>
              </a:rPr>
              <a:t> A, et al. Blood, 2010; 115-4651–4656. 2. Smith L, et al. Mol Genet </a:t>
            </a:r>
            <a:r>
              <a:rPr lang="da-DK" altLang="zh-CN" sz="600" dirty="0" err="1">
                <a:latin typeface="微软雅黑" panose="020B0503020204020204" pitchFamily="34" charset="-122"/>
                <a:ea typeface="微软雅黑" panose="020B0503020204020204" pitchFamily="34" charset="-122"/>
              </a:rPr>
              <a:t>Metab</a:t>
            </a:r>
            <a:r>
              <a:rPr lang="da-DK" altLang="zh-CN" sz="600" dirty="0">
                <a:latin typeface="微软雅黑" panose="020B0503020204020204" pitchFamily="34" charset="-122"/>
                <a:ea typeface="微软雅黑" panose="020B0503020204020204" pitchFamily="34" charset="-122"/>
              </a:rPr>
              <a:t>. 2016;117(2):164-171; 3.</a:t>
            </a:r>
            <a:r>
              <a:rPr lang="en-US" altLang="zh-CN" sz="600" dirty="0">
                <a:latin typeface="Arial" panose="020B0604020202020204" pitchFamily="34" charset="0"/>
                <a:ea typeface="微软雅黑" panose="020B0503020204020204" pitchFamily="34" charset="-122"/>
              </a:rPr>
              <a:t> </a:t>
            </a:r>
            <a:r>
              <a:rPr lang="en-US" altLang="zh-CN" sz="600" dirty="0" err="1">
                <a:latin typeface="Arial" panose="020B0604020202020204" pitchFamily="34" charset="0"/>
                <a:ea typeface="微软雅黑" panose="020B0503020204020204" pitchFamily="34" charset="-122"/>
              </a:rPr>
              <a:t>Zimran</a:t>
            </a:r>
            <a:r>
              <a:rPr lang="en-US" altLang="zh-CN" sz="600" dirty="0">
                <a:latin typeface="Arial" panose="020B0604020202020204" pitchFamily="34" charset="0"/>
                <a:ea typeface="微软雅黑" panose="020B0503020204020204" pitchFamily="34" charset="-122"/>
              </a:rPr>
              <a:t> A, et al. Am J </a:t>
            </a:r>
            <a:r>
              <a:rPr lang="en-US" altLang="zh-CN" sz="600" dirty="0" err="1">
                <a:latin typeface="Arial" panose="020B0604020202020204" pitchFamily="34" charset="0"/>
                <a:ea typeface="微软雅黑" panose="020B0503020204020204" pitchFamily="34" charset="-122"/>
              </a:rPr>
              <a:t>Hematol</a:t>
            </a:r>
            <a:r>
              <a:rPr lang="en-US" altLang="zh-CN" sz="600" dirty="0">
                <a:latin typeface="Arial" panose="020B0604020202020204" pitchFamily="34" charset="0"/>
                <a:ea typeface="微软雅黑" panose="020B0503020204020204" pitchFamily="34" charset="-122"/>
              </a:rPr>
              <a:t>. 2015 Jul;90(7):577-83. </a:t>
            </a:r>
            <a:endParaRPr lang="da-DK" altLang="zh-CN" sz="600" dirty="0">
              <a:latin typeface="微软雅黑" panose="020B0503020204020204" pitchFamily="34" charset="-122"/>
              <a:ea typeface="微软雅黑" panose="020B0503020204020204" pitchFamily="34" charset="-122"/>
            </a:endParaRPr>
          </a:p>
        </p:txBody>
      </p:sp>
      <p:sp>
        <p:nvSpPr>
          <p:cNvPr id="230" name="Text Placeholder 5">
            <a:extLst>
              <a:ext uri="{FF2B5EF4-FFF2-40B4-BE49-F238E27FC236}">
                <a16:creationId xmlns:a16="http://schemas.microsoft.com/office/drawing/2014/main" id="{57D81BB8-9418-440F-9548-5DB188F948D7}"/>
              </a:ext>
            </a:extLst>
          </p:cNvPr>
          <p:cNvSpPr txBox="1">
            <a:spLocks/>
          </p:cNvSpPr>
          <p:nvPr/>
        </p:nvSpPr>
        <p:spPr>
          <a:xfrm>
            <a:off x="1038225" y="817217"/>
            <a:ext cx="10853738" cy="451205"/>
          </a:xfrm>
          <a:prstGeom prst="rect">
            <a:avLst/>
          </a:prstGeom>
        </p:spPr>
        <p:txBody>
          <a:bodyPr/>
          <a:lstStyle>
            <a:lvl1pPr marL="457071" indent="-457071" algn="l" defTabSz="914150" rtl="0" eaLnBrk="1" latinLnBrk="0" hangingPunct="1">
              <a:spcBef>
                <a:spcPct val="20000"/>
              </a:spcBef>
              <a:buClr>
                <a:srgbClr val="4C4948"/>
              </a:buClr>
              <a:buFont typeface="Arial" panose="020B0604020202020204" pitchFamily="34" charset="0"/>
              <a:buChar char="•"/>
              <a:defRPr kumimoji="1" sz="2000" b="0" i="0" kern="1200" baseline="0">
                <a:solidFill>
                  <a:schemeClr val="tx1"/>
                </a:solidFill>
                <a:latin typeface="Calibri" panose="020F0502020204030204" pitchFamily="34" charset="0"/>
                <a:ea typeface="メイリオ" pitchFamily="50" charset="-128"/>
                <a:cs typeface="Calibri" pitchFamily="34" charset="0"/>
              </a:defRPr>
            </a:lvl1pPr>
            <a:lvl2pPr marL="742745" indent="-285677" algn="l" defTabSz="914150" rtl="0" eaLnBrk="1" latinLnBrk="0" hangingPunct="1">
              <a:spcBef>
                <a:spcPct val="20000"/>
              </a:spcBef>
              <a:buClr>
                <a:srgbClr val="4C4948"/>
              </a:buClr>
              <a:buFont typeface="Arial" pitchFamily="34" charset="0"/>
              <a:buChar char="–"/>
              <a:defRPr kumimoji="1" sz="2000" b="0" i="0" kern="1200">
                <a:solidFill>
                  <a:schemeClr val="tx1"/>
                </a:solidFill>
                <a:latin typeface="Calibri" panose="020F0502020204030204" pitchFamily="34" charset="0"/>
                <a:ea typeface="メイリオ" pitchFamily="50" charset="-128"/>
                <a:cs typeface="Calibri" pitchFamily="34" charset="0"/>
              </a:defRPr>
            </a:lvl2pPr>
            <a:lvl3pPr marL="1142690" indent="-228541" algn="l" defTabSz="914150" rtl="0" eaLnBrk="1" latinLnBrk="0" hangingPunct="1">
              <a:spcBef>
                <a:spcPct val="20000"/>
              </a:spcBef>
              <a:buClr>
                <a:srgbClr val="4C4948"/>
              </a:buClr>
              <a:buFont typeface="Arial" pitchFamily="34" charset="0"/>
              <a:buChar char="•"/>
              <a:defRPr kumimoji="1" sz="2000" b="0" i="0" kern="1200" baseline="0">
                <a:solidFill>
                  <a:schemeClr val="tx1"/>
                </a:solidFill>
                <a:latin typeface="Calibri" panose="020F0502020204030204" pitchFamily="34" charset="0"/>
                <a:ea typeface="メイリオ" pitchFamily="50" charset="-128"/>
                <a:cs typeface="Calibri" pitchFamily="34" charset="0"/>
              </a:defRPr>
            </a:lvl3pPr>
            <a:lvl4pPr marL="1599760" indent="-228541" algn="l" defTabSz="914150" rtl="0" eaLnBrk="1" latinLnBrk="0" hangingPunct="1">
              <a:spcBef>
                <a:spcPct val="20000"/>
              </a:spcBef>
              <a:buClr>
                <a:srgbClr val="4C4948"/>
              </a:buClr>
              <a:buFont typeface="Arial" pitchFamily="34" charset="0"/>
              <a:buChar char="–"/>
              <a:defRPr kumimoji="1" sz="2000" b="0" i="0" kern="1200" baseline="0">
                <a:solidFill>
                  <a:schemeClr val="tx1"/>
                </a:solidFill>
                <a:latin typeface="Calibri" panose="020F0502020204030204" pitchFamily="34" charset="0"/>
                <a:ea typeface="メイリオ" pitchFamily="50" charset="-128"/>
                <a:cs typeface="Calibri" pitchFamily="34" charset="0"/>
              </a:defRPr>
            </a:lvl4pPr>
            <a:lvl5pPr marL="2056831" indent="-228541" algn="l" defTabSz="914150" rtl="0" eaLnBrk="1" latinLnBrk="0" hangingPunct="1">
              <a:spcBef>
                <a:spcPct val="20000"/>
              </a:spcBef>
              <a:buClr>
                <a:srgbClr val="4C4948"/>
              </a:buClr>
              <a:buFont typeface="Arial" pitchFamily="34" charset="0"/>
              <a:buChar char="»"/>
              <a:defRPr kumimoji="1" sz="2000" b="0" i="0" kern="1200" baseline="0">
                <a:solidFill>
                  <a:schemeClr val="tx1"/>
                </a:solidFill>
                <a:latin typeface="Calibri" panose="020F0502020204030204" pitchFamily="34" charset="0"/>
                <a:ea typeface="メイリオ" pitchFamily="50" charset="-128"/>
                <a:cs typeface="Calibri" pitchFamily="34" charset="0"/>
              </a:defRPr>
            </a:lvl5pPr>
            <a:lvl6pPr marL="2513910"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0986"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8061"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5142"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buNone/>
            </a:pPr>
            <a:r>
              <a:rPr lang="en-US" altLang="zh-CN" sz="1800" b="1" dirty="0">
                <a:solidFill>
                  <a:srgbClr val="1A1918"/>
                </a:solidFill>
                <a:latin typeface="微软雅黑" panose="020B0503020204020204" pitchFamily="34" charset="-122"/>
                <a:ea typeface="微软雅黑" panose="020B0503020204020204" pitchFamily="34" charset="-122"/>
              </a:rPr>
              <a:t>——</a:t>
            </a:r>
            <a:r>
              <a:rPr lang="zh-CN" altLang="en-US" sz="1800" b="1" dirty="0">
                <a:solidFill>
                  <a:srgbClr val="1A1918"/>
                </a:solidFill>
                <a:latin typeface="微软雅黑" panose="020B0503020204020204" pitchFamily="34" charset="-122"/>
                <a:ea typeface="微软雅黑" panose="020B0503020204020204" pitchFamily="34" charset="-122"/>
              </a:rPr>
              <a:t>维拉苷酶</a:t>
            </a:r>
            <a:r>
              <a:rPr lang="en-US" altLang="zh-CN" sz="1800" b="1" dirty="0">
                <a:solidFill>
                  <a:srgbClr val="1A1918"/>
                </a:solidFill>
                <a:latin typeface="微软雅黑" panose="020B0503020204020204" pitchFamily="34" charset="-122"/>
                <a:ea typeface="微软雅黑" panose="020B0503020204020204" pitchFamily="34" charset="-122"/>
              </a:rPr>
              <a:t>α</a:t>
            </a:r>
            <a:r>
              <a:rPr lang="zh-CN" altLang="en-US" sz="1800" b="1" dirty="0">
                <a:solidFill>
                  <a:srgbClr val="1A1918"/>
                </a:solidFill>
                <a:latin typeface="微软雅黑" panose="020B0503020204020204" pitchFamily="34" charset="-122"/>
                <a:ea typeface="微软雅黑" panose="020B0503020204020204" pitchFamily="34" charset="-122"/>
              </a:rPr>
              <a:t>能够</a:t>
            </a:r>
            <a:r>
              <a:rPr lang="zh-CN" altLang="en-US" sz="2400" b="1" dirty="0">
                <a:solidFill>
                  <a:srgbClr val="C00000"/>
                </a:solidFill>
                <a:latin typeface="微软雅黑" panose="020B0503020204020204" pitchFamily="34" charset="-122"/>
                <a:ea typeface="微软雅黑" panose="020B0503020204020204" pitchFamily="34" charset="-122"/>
              </a:rPr>
              <a:t>快速起效、高效达标、长期维持</a:t>
            </a:r>
            <a:r>
              <a:rPr lang="zh-CN" altLang="en-US" sz="1800" b="1" dirty="0">
                <a:solidFill>
                  <a:srgbClr val="1A1918"/>
                </a:solidFill>
                <a:latin typeface="微软雅黑" panose="020B0503020204020204" pitchFamily="34" charset="-122"/>
                <a:ea typeface="微软雅黑" panose="020B0503020204020204" pitchFamily="34" charset="-122"/>
              </a:rPr>
              <a:t>，并</a:t>
            </a:r>
            <a:r>
              <a:rPr lang="zh-CN" altLang="en-US" sz="2400" b="1" dirty="0">
                <a:solidFill>
                  <a:srgbClr val="C00000"/>
                </a:solidFill>
                <a:latin typeface="微软雅黑" panose="020B0503020204020204" pitchFamily="34" charset="-122"/>
                <a:ea typeface="微软雅黑" panose="020B0503020204020204" pitchFamily="34" charset="-122"/>
              </a:rPr>
              <a:t>改善儿童患者的生长发育</a:t>
            </a:r>
          </a:p>
          <a:p>
            <a:pPr marL="0" indent="0">
              <a:buNone/>
            </a:pPr>
            <a:endParaRPr lang="en-JP" sz="1800" b="1" dirty="0">
              <a:solidFill>
                <a:srgbClr val="1A1918"/>
              </a:solidFill>
              <a:latin typeface="微软雅黑" panose="020B0503020204020204" pitchFamily="34" charset="-122"/>
              <a:ea typeface="微软雅黑" panose="020B0503020204020204" pitchFamily="34" charset="-122"/>
            </a:endParaRPr>
          </a:p>
        </p:txBody>
      </p:sp>
      <p:sp>
        <p:nvSpPr>
          <p:cNvPr id="446" name="矩形 445">
            <a:extLst>
              <a:ext uri="{FF2B5EF4-FFF2-40B4-BE49-F238E27FC236}">
                <a16:creationId xmlns:a16="http://schemas.microsoft.com/office/drawing/2014/main" id="{97BA000B-18AE-4CD1-80A2-B91B1265F35D}"/>
              </a:ext>
            </a:extLst>
          </p:cNvPr>
          <p:cNvSpPr/>
          <p:nvPr/>
        </p:nvSpPr>
        <p:spPr>
          <a:xfrm>
            <a:off x="878275" y="1345037"/>
            <a:ext cx="5132232" cy="344685"/>
          </a:xfrm>
          <a:prstGeom prst="rect">
            <a:avLst/>
          </a:prstGeom>
          <a:solidFill>
            <a:schemeClr val="accent2">
              <a:lumMod val="75000"/>
            </a:schemeClr>
          </a:solidFill>
          <a:ln w="28575">
            <a:noFill/>
          </a:ln>
        </p:spPr>
        <p:style>
          <a:lnRef idx="1">
            <a:schemeClr val="accent1"/>
          </a:lnRef>
          <a:fillRef idx="0">
            <a:schemeClr val="accent1"/>
          </a:fillRef>
          <a:effectRef idx="0">
            <a:schemeClr val="accent1"/>
          </a:effectRef>
          <a:fontRef idx="minor">
            <a:schemeClr val="tx1"/>
          </a:fontRef>
        </p:style>
        <p:txBody>
          <a:bodyPr wrap="none" rtlCol="0" anchor="ctr"/>
          <a:lstStyle/>
          <a:p>
            <a:pPr algn="ctr"/>
            <a:r>
              <a:rPr kumimoji="1" lang="zh-CN" altLang="en-US" sz="2000" b="1" dirty="0">
                <a:solidFill>
                  <a:schemeClr val="bg1"/>
                </a:solidFill>
                <a:latin typeface="微软雅黑" panose="020B0503020204020204" pitchFamily="34" charset="-122"/>
                <a:ea typeface="微软雅黑" panose="020B0503020204020204" pitchFamily="34" charset="-122"/>
              </a:rPr>
              <a:t>快速起效</a:t>
            </a:r>
            <a:endParaRPr kumimoji="1" lang="zh-CN" altLang="en-US" b="1" dirty="0">
              <a:solidFill>
                <a:schemeClr val="bg1"/>
              </a:solidFill>
              <a:latin typeface="微软雅黑" panose="020B0503020204020204" pitchFamily="34" charset="-122"/>
              <a:ea typeface="微软雅黑" panose="020B0503020204020204" pitchFamily="34" charset="-122"/>
            </a:endParaRPr>
          </a:p>
        </p:txBody>
      </p:sp>
      <p:sp>
        <p:nvSpPr>
          <p:cNvPr id="447" name="矩形 446">
            <a:extLst>
              <a:ext uri="{FF2B5EF4-FFF2-40B4-BE49-F238E27FC236}">
                <a16:creationId xmlns:a16="http://schemas.microsoft.com/office/drawing/2014/main" id="{4DD2622F-F962-40CB-AFBB-35A7C99086A5}"/>
              </a:ext>
            </a:extLst>
          </p:cNvPr>
          <p:cNvSpPr/>
          <p:nvPr/>
        </p:nvSpPr>
        <p:spPr>
          <a:xfrm>
            <a:off x="889214" y="1684294"/>
            <a:ext cx="5106374" cy="1463076"/>
          </a:xfrm>
          <a:prstGeom prst="rect">
            <a:avLst/>
          </a:prstGeom>
          <a:noFill/>
          <a:ln w="19050">
            <a:solidFill>
              <a:schemeClr val="accent2"/>
            </a:solidFill>
          </a:ln>
        </p:spPr>
        <p:style>
          <a:lnRef idx="1">
            <a:schemeClr val="accent1"/>
          </a:lnRef>
          <a:fillRef idx="0">
            <a:schemeClr val="accent1"/>
          </a:fillRef>
          <a:effectRef idx="0">
            <a:schemeClr val="accent1"/>
          </a:effectRef>
          <a:fontRef idx="minor">
            <a:schemeClr val="tx1"/>
          </a:fontRef>
        </p:style>
        <p:txBody>
          <a:bodyPr wrap="none" rtlCol="0" anchor="t"/>
          <a:lstStyle/>
          <a:p>
            <a:pPr algn="ctr"/>
            <a:endParaRPr kumimoji="1" lang="zh-CN" altLang="en-US" sz="1600" b="1" dirty="0">
              <a:solidFill>
                <a:schemeClr val="bg1"/>
              </a:solidFill>
              <a:latin typeface="微软雅黑" panose="020B0503020204020204" pitchFamily="34" charset="-122"/>
              <a:ea typeface="微软雅黑" panose="020B0503020204020204" pitchFamily="34" charset="-122"/>
            </a:endParaRPr>
          </a:p>
        </p:txBody>
      </p:sp>
      <p:sp>
        <p:nvSpPr>
          <p:cNvPr id="494" name="矩形 493">
            <a:extLst>
              <a:ext uri="{FF2B5EF4-FFF2-40B4-BE49-F238E27FC236}">
                <a16:creationId xmlns:a16="http://schemas.microsoft.com/office/drawing/2014/main" id="{D99B1F71-0CFE-42C0-873E-7AB872DD1875}"/>
              </a:ext>
            </a:extLst>
          </p:cNvPr>
          <p:cNvSpPr/>
          <p:nvPr/>
        </p:nvSpPr>
        <p:spPr>
          <a:xfrm>
            <a:off x="6683142" y="1334156"/>
            <a:ext cx="5128598" cy="344685"/>
          </a:xfrm>
          <a:prstGeom prst="rect">
            <a:avLst/>
          </a:prstGeom>
          <a:solidFill>
            <a:schemeClr val="accent2">
              <a:lumMod val="75000"/>
            </a:schemeClr>
          </a:solidFill>
          <a:ln w="28575">
            <a:noFill/>
          </a:ln>
        </p:spPr>
        <p:style>
          <a:lnRef idx="1">
            <a:schemeClr val="accent1"/>
          </a:lnRef>
          <a:fillRef idx="0">
            <a:schemeClr val="accent1"/>
          </a:fillRef>
          <a:effectRef idx="0">
            <a:schemeClr val="accent1"/>
          </a:effectRef>
          <a:fontRef idx="minor">
            <a:schemeClr val="tx1"/>
          </a:fontRef>
        </p:style>
        <p:txBody>
          <a:bodyPr wrap="none" rtlCol="0" anchor="ctr"/>
          <a:lstStyle/>
          <a:p>
            <a:pPr algn="ctr"/>
            <a:r>
              <a:rPr kumimoji="1" lang="zh-CN" altLang="en-US" sz="2000" b="1" dirty="0">
                <a:solidFill>
                  <a:schemeClr val="bg1"/>
                </a:solidFill>
                <a:latin typeface="Arial" panose="020B0604020202020204" pitchFamily="34" charset="0"/>
                <a:ea typeface="微软雅黑" panose="020B0503020204020204" pitchFamily="34" charset="-122"/>
              </a:rPr>
              <a:t>改善儿童患者生长发育</a:t>
            </a:r>
          </a:p>
        </p:txBody>
      </p:sp>
      <p:sp>
        <p:nvSpPr>
          <p:cNvPr id="495" name="矩形 494">
            <a:extLst>
              <a:ext uri="{FF2B5EF4-FFF2-40B4-BE49-F238E27FC236}">
                <a16:creationId xmlns:a16="http://schemas.microsoft.com/office/drawing/2014/main" id="{5339E97A-F01A-4BBA-AB9E-3192EA1C68FD}"/>
              </a:ext>
            </a:extLst>
          </p:cNvPr>
          <p:cNvSpPr/>
          <p:nvPr/>
        </p:nvSpPr>
        <p:spPr>
          <a:xfrm>
            <a:off x="6690447" y="1673413"/>
            <a:ext cx="5106374" cy="1463076"/>
          </a:xfrm>
          <a:prstGeom prst="rect">
            <a:avLst/>
          </a:prstGeom>
          <a:noFill/>
          <a:ln w="19050">
            <a:solidFill>
              <a:schemeClr val="accent2"/>
            </a:solidFill>
          </a:ln>
        </p:spPr>
        <p:style>
          <a:lnRef idx="1">
            <a:schemeClr val="accent1"/>
          </a:lnRef>
          <a:fillRef idx="0">
            <a:schemeClr val="accent1"/>
          </a:fillRef>
          <a:effectRef idx="0">
            <a:schemeClr val="accent1"/>
          </a:effectRef>
          <a:fontRef idx="minor">
            <a:schemeClr val="tx1"/>
          </a:fontRef>
        </p:style>
        <p:txBody>
          <a:bodyPr wrap="none" rtlCol="0" anchor="t"/>
          <a:lstStyle/>
          <a:p>
            <a:pPr algn="ctr"/>
            <a:r>
              <a:rPr kumimoji="1" lang="zh-CN" altLang="en-US" b="1" dirty="0">
                <a:solidFill>
                  <a:schemeClr val="bg1"/>
                </a:solidFill>
                <a:latin typeface="微软雅黑" panose="020B0503020204020204" pitchFamily="34" charset="-122"/>
                <a:ea typeface="微软雅黑" panose="020B0503020204020204" pitchFamily="34" charset="-122"/>
              </a:rPr>
              <a:t>快速起效</a:t>
            </a:r>
            <a:endParaRPr kumimoji="1" lang="en-US" altLang="zh-CN" b="1" dirty="0">
              <a:solidFill>
                <a:schemeClr val="bg1"/>
              </a:solidFill>
              <a:latin typeface="微软雅黑" panose="020B0503020204020204" pitchFamily="34" charset="-122"/>
              <a:ea typeface="微软雅黑" panose="020B0503020204020204" pitchFamily="34" charset="-122"/>
            </a:endParaRPr>
          </a:p>
          <a:p>
            <a:pPr algn="ctr"/>
            <a:endParaRPr kumimoji="1" lang="zh-CN" altLang="en-US" sz="1600" b="1" dirty="0">
              <a:solidFill>
                <a:schemeClr val="bg1"/>
              </a:solidFill>
              <a:latin typeface="微软雅黑" panose="020B0503020204020204" pitchFamily="34" charset="-122"/>
              <a:ea typeface="微软雅黑" panose="020B0503020204020204" pitchFamily="34" charset="-122"/>
            </a:endParaRPr>
          </a:p>
        </p:txBody>
      </p:sp>
      <p:sp>
        <p:nvSpPr>
          <p:cNvPr id="496" name="文本框 495">
            <a:extLst>
              <a:ext uri="{FF2B5EF4-FFF2-40B4-BE49-F238E27FC236}">
                <a16:creationId xmlns:a16="http://schemas.microsoft.com/office/drawing/2014/main" id="{09693E37-9D9A-47F3-992E-9D38BF11D584}"/>
              </a:ext>
            </a:extLst>
          </p:cNvPr>
          <p:cNvSpPr txBox="1"/>
          <p:nvPr/>
        </p:nvSpPr>
        <p:spPr>
          <a:xfrm>
            <a:off x="6689057" y="1724907"/>
            <a:ext cx="5112000" cy="1023742"/>
          </a:xfrm>
          <a:prstGeom prst="rect">
            <a:avLst/>
          </a:prstGeom>
          <a:noFill/>
        </p:spPr>
        <p:txBody>
          <a:bodyPr vert="horz" wrap="square" anchor="t">
            <a:spAutoFit/>
          </a:bodyPr>
          <a:lstStyle/>
          <a:p>
            <a:pPr marL="285750" indent="-285750">
              <a:lnSpc>
                <a:spcPct val="150000"/>
              </a:lnSpc>
              <a:buFont typeface="Wingdings" panose="05000000000000000000" pitchFamily="2" charset="2"/>
              <a:buChar char="l"/>
            </a:pPr>
            <a:r>
              <a:rPr lang="zh-CN" altLang="en-US" sz="1400" kern="100" dirty="0">
                <a:effectLst/>
                <a:latin typeface="微软雅黑" panose="020B0503020204020204" pitchFamily="34" charset="-122"/>
                <a:ea typeface="微软雅黑" panose="020B0503020204020204" pitchFamily="34" charset="-122"/>
                <a:cs typeface="Times New Roman" panose="02020603050405020304" pitchFamily="18" charset="0"/>
              </a:rPr>
              <a:t>儿童人群中，初治患者及既往使用伊米苷酶的患者在</a:t>
            </a:r>
            <a:r>
              <a:rPr lang="en-US" altLang="zh-CN" sz="1400" kern="100" dirty="0">
                <a:effectLst/>
                <a:latin typeface="微软雅黑" panose="020B0503020204020204" pitchFamily="34" charset="-122"/>
                <a:ea typeface="微软雅黑" panose="020B0503020204020204" pitchFamily="34" charset="-122"/>
                <a:cs typeface="Times New Roman" panose="02020603050405020304" pitchFamily="18" charset="0"/>
              </a:rPr>
              <a:t>51</a:t>
            </a:r>
            <a:r>
              <a:rPr lang="zh-CN" altLang="en-US" sz="1400" kern="100" dirty="0">
                <a:effectLst/>
                <a:latin typeface="微软雅黑" panose="020B0503020204020204" pitchFamily="34" charset="-122"/>
                <a:ea typeface="微软雅黑" panose="020B0503020204020204" pitchFamily="34" charset="-122"/>
                <a:cs typeface="Times New Roman" panose="02020603050405020304" pitchFamily="18" charset="0"/>
              </a:rPr>
              <a:t>个月的治疗观察期内，可观察到</a:t>
            </a:r>
            <a:r>
              <a:rPr lang="zh-CN" altLang="en-US" sz="1400" b="1" kern="100" dirty="0">
                <a:effectLst/>
                <a:latin typeface="微软雅黑" panose="020B0503020204020204" pitchFamily="34" charset="-122"/>
                <a:ea typeface="微软雅黑" panose="020B0503020204020204" pitchFamily="34" charset="-122"/>
                <a:cs typeface="Times New Roman" panose="02020603050405020304" pitchFamily="18" charset="0"/>
              </a:rPr>
              <a:t>平均身高</a:t>
            </a:r>
            <a:r>
              <a:rPr lang="en-US" altLang="zh-CN" sz="1400" b="1" kern="100" dirty="0">
                <a:effectLst/>
                <a:latin typeface="微软雅黑" panose="020B0503020204020204" pitchFamily="34" charset="-122"/>
                <a:ea typeface="微软雅黑" panose="020B0503020204020204" pitchFamily="34" charset="-122"/>
                <a:cs typeface="Times New Roman" panose="02020603050405020304" pitchFamily="18" charset="0"/>
              </a:rPr>
              <a:t>/</a:t>
            </a:r>
            <a:r>
              <a:rPr lang="zh-CN" altLang="en-US" sz="1400" b="1" kern="100" dirty="0">
                <a:effectLst/>
                <a:latin typeface="微软雅黑" panose="020B0503020204020204" pitchFamily="34" charset="-122"/>
                <a:ea typeface="微软雅黑" panose="020B0503020204020204" pitchFamily="34" charset="-122"/>
                <a:cs typeface="Times New Roman" panose="02020603050405020304" pitchFamily="18" charset="0"/>
              </a:rPr>
              <a:t>骨龄</a:t>
            </a:r>
            <a:r>
              <a:rPr lang="en-US" altLang="zh-CN" sz="1400" b="1" kern="100" dirty="0">
                <a:effectLst/>
                <a:latin typeface="微软雅黑" panose="020B0503020204020204" pitchFamily="34" charset="-122"/>
                <a:ea typeface="微软雅黑" panose="020B0503020204020204" pitchFamily="34" charset="-122"/>
                <a:cs typeface="Times New Roman" panose="02020603050405020304" pitchFamily="18" charset="0"/>
              </a:rPr>
              <a:t>Z</a:t>
            </a:r>
            <a:r>
              <a:rPr lang="zh-CN" altLang="en-US" sz="1400" b="1" kern="100" dirty="0">
                <a:effectLst/>
                <a:latin typeface="微软雅黑" panose="020B0503020204020204" pitchFamily="34" charset="-122"/>
                <a:ea typeface="微软雅黑" panose="020B0503020204020204" pitchFamily="34" charset="-122"/>
                <a:cs typeface="Times New Roman" panose="02020603050405020304" pitchFamily="18" charset="0"/>
              </a:rPr>
              <a:t>评分的增加，表明维拉苷酶</a:t>
            </a:r>
            <a:r>
              <a:rPr lang="en-US" altLang="zh-CN" sz="1400" b="1" kern="100" dirty="0">
                <a:effectLst/>
                <a:latin typeface="微软雅黑" panose="020B0503020204020204" pitchFamily="34" charset="-122"/>
                <a:ea typeface="微软雅黑" panose="020B0503020204020204" pitchFamily="34" charset="-122"/>
                <a:cs typeface="Times New Roman" panose="02020603050405020304" pitchFamily="18" charset="0"/>
              </a:rPr>
              <a:t>α</a:t>
            </a:r>
            <a:r>
              <a:rPr lang="zh-CN" altLang="en-US" sz="1400" b="1" kern="100" dirty="0">
                <a:effectLst/>
                <a:latin typeface="微软雅黑" panose="020B0503020204020204" pitchFamily="34" charset="-122"/>
                <a:ea typeface="微软雅黑" panose="020B0503020204020204" pitchFamily="34" charset="-122"/>
                <a:cs typeface="Times New Roman" panose="02020603050405020304" pitchFamily="18" charset="0"/>
              </a:rPr>
              <a:t>对线性生长有获益的治疗作用</a:t>
            </a:r>
            <a:r>
              <a:rPr lang="en-US" altLang="zh-CN" sz="1400" b="1" kern="100" baseline="30000" dirty="0">
                <a:latin typeface="微软雅黑" panose="020B0503020204020204" pitchFamily="34" charset="-122"/>
                <a:ea typeface="微软雅黑" panose="020B0503020204020204" pitchFamily="34" charset="-122"/>
                <a:cs typeface="Times New Roman" panose="02020603050405020304" pitchFamily="18" charset="0"/>
              </a:rPr>
              <a:t>2</a:t>
            </a:r>
            <a:endParaRPr lang="en-US" altLang="zh-CN" sz="1400" kern="100" baseline="30000" dirty="0">
              <a:effectLst/>
              <a:latin typeface="微软雅黑" panose="020B0503020204020204" pitchFamily="34" charset="-122"/>
              <a:ea typeface="微软雅黑" panose="020B0503020204020204" pitchFamily="34" charset="-122"/>
              <a:cs typeface="Times New Roman" panose="02020603050405020304" pitchFamily="18" charset="0"/>
            </a:endParaRPr>
          </a:p>
        </p:txBody>
      </p:sp>
      <p:sp>
        <p:nvSpPr>
          <p:cNvPr id="498" name="矩形 497">
            <a:extLst>
              <a:ext uri="{FF2B5EF4-FFF2-40B4-BE49-F238E27FC236}">
                <a16:creationId xmlns:a16="http://schemas.microsoft.com/office/drawing/2014/main" id="{F2AB03CC-E3A6-497C-8ABD-6D0EA97FFF95}"/>
              </a:ext>
            </a:extLst>
          </p:cNvPr>
          <p:cNvSpPr/>
          <p:nvPr/>
        </p:nvSpPr>
        <p:spPr>
          <a:xfrm>
            <a:off x="887824" y="3256078"/>
            <a:ext cx="5132232" cy="344685"/>
          </a:xfrm>
          <a:prstGeom prst="rect">
            <a:avLst/>
          </a:prstGeom>
          <a:solidFill>
            <a:schemeClr val="accent2">
              <a:lumMod val="75000"/>
            </a:schemeClr>
          </a:solidFill>
          <a:ln w="28575">
            <a:noFill/>
          </a:ln>
        </p:spPr>
        <p:style>
          <a:lnRef idx="1">
            <a:schemeClr val="accent1"/>
          </a:lnRef>
          <a:fillRef idx="0">
            <a:schemeClr val="accent1"/>
          </a:fillRef>
          <a:effectRef idx="0">
            <a:schemeClr val="accent1"/>
          </a:effectRef>
          <a:fontRef idx="minor">
            <a:schemeClr val="tx1"/>
          </a:fontRef>
        </p:style>
        <p:txBody>
          <a:bodyPr wrap="none" rtlCol="0" anchor="ctr"/>
          <a:lstStyle/>
          <a:p>
            <a:pPr algn="ctr"/>
            <a:r>
              <a:rPr kumimoji="1" lang="zh-CN" altLang="en-US" sz="2000" b="1" dirty="0">
                <a:solidFill>
                  <a:schemeClr val="bg1"/>
                </a:solidFill>
                <a:latin typeface="微软雅黑" panose="020B0503020204020204" pitchFamily="34" charset="-122"/>
                <a:ea typeface="微软雅黑" panose="020B0503020204020204" pitchFamily="34" charset="-122"/>
              </a:rPr>
              <a:t>高效达标</a:t>
            </a:r>
          </a:p>
        </p:txBody>
      </p:sp>
      <p:sp>
        <p:nvSpPr>
          <p:cNvPr id="499" name="矩形 498">
            <a:extLst>
              <a:ext uri="{FF2B5EF4-FFF2-40B4-BE49-F238E27FC236}">
                <a16:creationId xmlns:a16="http://schemas.microsoft.com/office/drawing/2014/main" id="{D76EE23A-00C1-4800-A8B4-B5F14B71A418}"/>
              </a:ext>
            </a:extLst>
          </p:cNvPr>
          <p:cNvSpPr/>
          <p:nvPr/>
        </p:nvSpPr>
        <p:spPr>
          <a:xfrm>
            <a:off x="898763" y="3595335"/>
            <a:ext cx="5106374" cy="2932888"/>
          </a:xfrm>
          <a:prstGeom prst="rect">
            <a:avLst/>
          </a:prstGeom>
          <a:noFill/>
          <a:ln w="19050">
            <a:solidFill>
              <a:schemeClr val="accent2"/>
            </a:solidFill>
          </a:ln>
        </p:spPr>
        <p:style>
          <a:lnRef idx="1">
            <a:schemeClr val="accent1"/>
          </a:lnRef>
          <a:fillRef idx="0">
            <a:schemeClr val="accent1"/>
          </a:fillRef>
          <a:effectRef idx="0">
            <a:schemeClr val="accent1"/>
          </a:effectRef>
          <a:fontRef idx="minor">
            <a:schemeClr val="tx1"/>
          </a:fontRef>
        </p:style>
        <p:txBody>
          <a:bodyPr wrap="none" rtlCol="0" anchor="t"/>
          <a:lstStyle/>
          <a:p>
            <a:pPr algn="ctr"/>
            <a:r>
              <a:rPr kumimoji="1" lang="zh-CN" altLang="en-US" b="1" dirty="0">
                <a:solidFill>
                  <a:schemeClr val="bg1"/>
                </a:solidFill>
                <a:latin typeface="微软雅黑" panose="020B0503020204020204" pitchFamily="34" charset="-122"/>
                <a:ea typeface="微软雅黑" panose="020B0503020204020204" pitchFamily="34" charset="-122"/>
              </a:rPr>
              <a:t>快速起效</a:t>
            </a:r>
            <a:endParaRPr kumimoji="1" lang="en-US" altLang="zh-CN" b="1" dirty="0">
              <a:solidFill>
                <a:schemeClr val="bg1"/>
              </a:solidFill>
              <a:latin typeface="微软雅黑" panose="020B0503020204020204" pitchFamily="34" charset="-122"/>
              <a:ea typeface="微软雅黑" panose="020B0503020204020204" pitchFamily="34" charset="-122"/>
            </a:endParaRPr>
          </a:p>
          <a:p>
            <a:pPr algn="ctr"/>
            <a:endParaRPr kumimoji="1" lang="zh-CN" altLang="en-US" sz="1600" b="1" dirty="0">
              <a:solidFill>
                <a:schemeClr val="bg1"/>
              </a:solidFill>
              <a:latin typeface="微软雅黑" panose="020B0503020204020204" pitchFamily="34" charset="-122"/>
              <a:ea typeface="微软雅黑" panose="020B0503020204020204" pitchFamily="34" charset="-122"/>
            </a:endParaRPr>
          </a:p>
        </p:txBody>
      </p:sp>
      <p:sp>
        <p:nvSpPr>
          <p:cNvPr id="500" name="文本框 499">
            <a:extLst>
              <a:ext uri="{FF2B5EF4-FFF2-40B4-BE49-F238E27FC236}">
                <a16:creationId xmlns:a16="http://schemas.microsoft.com/office/drawing/2014/main" id="{21279EE5-8AB7-489E-8ED0-7DC88D28CA04}"/>
              </a:ext>
            </a:extLst>
          </p:cNvPr>
          <p:cNvSpPr txBox="1"/>
          <p:nvPr/>
        </p:nvSpPr>
        <p:spPr>
          <a:xfrm>
            <a:off x="896890" y="3565205"/>
            <a:ext cx="5112000" cy="700576"/>
          </a:xfrm>
          <a:prstGeom prst="rect">
            <a:avLst/>
          </a:prstGeom>
          <a:noFill/>
        </p:spPr>
        <p:txBody>
          <a:bodyPr vert="horz" wrap="square" anchor="t">
            <a:spAutoFit/>
          </a:bodyPr>
          <a:lstStyle/>
          <a:p>
            <a:pPr marL="285750" indent="-285750">
              <a:lnSpc>
                <a:spcPct val="150000"/>
              </a:lnSpc>
              <a:buFont typeface="Wingdings" panose="05000000000000000000" pitchFamily="2" charset="2"/>
              <a:buChar char="l"/>
            </a:pPr>
            <a:r>
              <a:rPr lang="zh-CN" altLang="en-US" sz="1400" kern="100" dirty="0">
                <a:effectLst/>
                <a:latin typeface="微软雅黑" panose="020B0503020204020204" pitchFamily="34" charset="-122"/>
                <a:ea typeface="微软雅黑" panose="020B0503020204020204" pitchFamily="34" charset="-122"/>
                <a:cs typeface="Times New Roman" panose="02020603050405020304" pitchFamily="18" charset="0"/>
              </a:rPr>
              <a:t>维拉苷酶</a:t>
            </a:r>
            <a:r>
              <a:rPr lang="en-US" altLang="zh-CN" sz="1400" kern="100" dirty="0">
                <a:effectLst/>
                <a:latin typeface="微软雅黑" panose="020B0503020204020204" pitchFamily="34" charset="-122"/>
                <a:ea typeface="微软雅黑" panose="020B0503020204020204" pitchFamily="34" charset="-122"/>
                <a:cs typeface="Times New Roman" panose="02020603050405020304" pitchFamily="18" charset="0"/>
              </a:rPr>
              <a:t>α</a:t>
            </a:r>
            <a:r>
              <a:rPr lang="zh-CN" altLang="en-US" sz="1400" kern="100" dirty="0">
                <a:effectLst/>
                <a:latin typeface="微软雅黑" panose="020B0503020204020204" pitchFamily="34" charset="-122"/>
                <a:ea typeface="微软雅黑" panose="020B0503020204020204" pitchFamily="34" charset="-122"/>
                <a:cs typeface="Times New Roman" panose="02020603050405020304" pitchFamily="18" charset="0"/>
              </a:rPr>
              <a:t>治疗</a:t>
            </a:r>
            <a:r>
              <a:rPr lang="en-US" altLang="zh-CN" sz="1400" kern="100" dirty="0">
                <a:latin typeface="微软雅黑" panose="020B0503020204020204" pitchFamily="34" charset="-122"/>
                <a:ea typeface="微软雅黑" panose="020B0503020204020204" pitchFamily="34" charset="-122"/>
                <a:cs typeface="Times New Roman" panose="02020603050405020304" pitchFamily="18" charset="0"/>
              </a:rPr>
              <a:t>9</a:t>
            </a:r>
            <a:r>
              <a:rPr lang="zh-CN" altLang="en-US" sz="1400" kern="100" dirty="0">
                <a:latin typeface="微软雅黑" panose="020B0503020204020204" pitchFamily="34" charset="-122"/>
                <a:ea typeface="微软雅黑" panose="020B0503020204020204" pitchFamily="34" charset="-122"/>
                <a:cs typeface="Times New Roman" panose="02020603050405020304" pitchFamily="18" charset="0"/>
              </a:rPr>
              <a:t>个月时</a:t>
            </a:r>
            <a:r>
              <a:rPr lang="zh-CN" altLang="en-US" sz="1400" kern="100" dirty="0">
                <a:effectLst/>
                <a:latin typeface="微软雅黑" panose="020B0503020204020204" pitchFamily="34" charset="-122"/>
                <a:ea typeface="微软雅黑" panose="020B0503020204020204" pitchFamily="34" charset="-122"/>
                <a:cs typeface="Times New Roman" panose="02020603050405020304" pitchFamily="18" charset="0"/>
              </a:rPr>
              <a:t>，可使</a:t>
            </a:r>
            <a:r>
              <a:rPr lang="en-US" altLang="zh-CN" sz="1400" b="1" kern="100" dirty="0">
                <a:effectLst/>
                <a:latin typeface="微软雅黑" panose="020B0503020204020204" pitchFamily="34" charset="-122"/>
                <a:ea typeface="微软雅黑" panose="020B0503020204020204" pitchFamily="34" charset="-122"/>
                <a:cs typeface="Times New Roman" panose="02020603050405020304" pitchFamily="18" charset="0"/>
              </a:rPr>
              <a:t>100%</a:t>
            </a:r>
            <a:r>
              <a:rPr lang="zh-CN" altLang="en-US" sz="1400" b="1" kern="100" dirty="0">
                <a:effectLst/>
                <a:latin typeface="微软雅黑" panose="020B0503020204020204" pitchFamily="34" charset="-122"/>
                <a:ea typeface="微软雅黑" panose="020B0503020204020204" pitchFamily="34" charset="-122"/>
                <a:cs typeface="Times New Roman" panose="02020603050405020304" pitchFamily="18" charset="0"/>
              </a:rPr>
              <a:t>的患者达到血红蛋白浓度及脾脏体积的治疗目标</a:t>
            </a:r>
            <a:r>
              <a:rPr lang="en-US" altLang="zh-CN" sz="1400" b="1" kern="100" baseline="30000" dirty="0">
                <a:effectLst/>
                <a:latin typeface="微软雅黑" panose="020B0503020204020204" pitchFamily="34" charset="-122"/>
                <a:ea typeface="微软雅黑" panose="020B0503020204020204" pitchFamily="34" charset="-122"/>
                <a:cs typeface="Times New Roman" panose="02020603050405020304" pitchFamily="18" charset="0"/>
              </a:rPr>
              <a:t>1</a:t>
            </a:r>
            <a:endParaRPr lang="en-US" altLang="zh-CN" sz="1400" kern="100" dirty="0">
              <a:effectLst/>
              <a:latin typeface="微软雅黑" panose="020B0503020204020204" pitchFamily="34" charset="-122"/>
              <a:ea typeface="微软雅黑" panose="020B0503020204020204" pitchFamily="34" charset="-122"/>
              <a:cs typeface="Times New Roman" panose="02020603050405020304" pitchFamily="18" charset="0"/>
            </a:endParaRPr>
          </a:p>
        </p:txBody>
      </p:sp>
      <p:sp>
        <p:nvSpPr>
          <p:cNvPr id="506" name="矩形 505">
            <a:extLst>
              <a:ext uri="{FF2B5EF4-FFF2-40B4-BE49-F238E27FC236}">
                <a16:creationId xmlns:a16="http://schemas.microsoft.com/office/drawing/2014/main" id="{248D9C9D-E930-43D4-8721-3A8817F5B18B}"/>
              </a:ext>
            </a:extLst>
          </p:cNvPr>
          <p:cNvSpPr/>
          <p:nvPr/>
        </p:nvSpPr>
        <p:spPr>
          <a:xfrm>
            <a:off x="6677707" y="3256078"/>
            <a:ext cx="5128599" cy="344685"/>
          </a:xfrm>
          <a:prstGeom prst="rect">
            <a:avLst/>
          </a:prstGeom>
          <a:solidFill>
            <a:schemeClr val="accent2">
              <a:lumMod val="75000"/>
            </a:schemeClr>
          </a:solidFill>
          <a:ln w="28575">
            <a:noFill/>
          </a:ln>
        </p:spPr>
        <p:style>
          <a:lnRef idx="1">
            <a:schemeClr val="accent1"/>
          </a:lnRef>
          <a:fillRef idx="0">
            <a:schemeClr val="accent1"/>
          </a:fillRef>
          <a:effectRef idx="0">
            <a:schemeClr val="accent1"/>
          </a:effectRef>
          <a:fontRef idx="minor">
            <a:schemeClr val="tx1"/>
          </a:fontRef>
        </p:style>
        <p:txBody>
          <a:bodyPr wrap="none" rtlCol="0" anchor="ctr"/>
          <a:lstStyle/>
          <a:p>
            <a:pPr algn="ctr"/>
            <a:r>
              <a:rPr kumimoji="1" lang="zh-CN" altLang="en-US" sz="2000" b="1" dirty="0">
                <a:solidFill>
                  <a:schemeClr val="bg1"/>
                </a:solidFill>
                <a:latin typeface="微软雅黑" panose="020B0503020204020204" pitchFamily="34" charset="-122"/>
                <a:ea typeface="微软雅黑" panose="020B0503020204020204" pitchFamily="34" charset="-122"/>
              </a:rPr>
              <a:t>长期维持</a:t>
            </a:r>
          </a:p>
        </p:txBody>
      </p:sp>
      <p:sp>
        <p:nvSpPr>
          <p:cNvPr id="507" name="矩形 506">
            <a:extLst>
              <a:ext uri="{FF2B5EF4-FFF2-40B4-BE49-F238E27FC236}">
                <a16:creationId xmlns:a16="http://schemas.microsoft.com/office/drawing/2014/main" id="{AF3E395B-AAD8-401D-9FAC-901FFA3A484F}"/>
              </a:ext>
            </a:extLst>
          </p:cNvPr>
          <p:cNvSpPr/>
          <p:nvPr/>
        </p:nvSpPr>
        <p:spPr>
          <a:xfrm>
            <a:off x="6685014" y="3595335"/>
            <a:ext cx="5106374" cy="2932888"/>
          </a:xfrm>
          <a:prstGeom prst="rect">
            <a:avLst/>
          </a:prstGeom>
          <a:noFill/>
          <a:ln w="19050">
            <a:solidFill>
              <a:schemeClr val="accent2"/>
            </a:solidFill>
          </a:ln>
        </p:spPr>
        <p:style>
          <a:lnRef idx="1">
            <a:schemeClr val="accent1"/>
          </a:lnRef>
          <a:fillRef idx="0">
            <a:schemeClr val="accent1"/>
          </a:fillRef>
          <a:effectRef idx="0">
            <a:schemeClr val="accent1"/>
          </a:effectRef>
          <a:fontRef idx="minor">
            <a:schemeClr val="tx1"/>
          </a:fontRef>
        </p:style>
        <p:txBody>
          <a:bodyPr wrap="none" rtlCol="0" anchor="t"/>
          <a:lstStyle/>
          <a:p>
            <a:pPr algn="ctr"/>
            <a:r>
              <a:rPr kumimoji="1" lang="zh-CN" altLang="en-US" b="1" dirty="0">
                <a:solidFill>
                  <a:schemeClr val="bg1"/>
                </a:solidFill>
                <a:latin typeface="微软雅黑" panose="020B0503020204020204" pitchFamily="34" charset="-122"/>
                <a:ea typeface="微软雅黑" panose="020B0503020204020204" pitchFamily="34" charset="-122"/>
              </a:rPr>
              <a:t>快速起效</a:t>
            </a:r>
            <a:endParaRPr kumimoji="1" lang="en-US" altLang="zh-CN" b="1" dirty="0">
              <a:solidFill>
                <a:schemeClr val="bg1"/>
              </a:solidFill>
              <a:latin typeface="微软雅黑" panose="020B0503020204020204" pitchFamily="34" charset="-122"/>
              <a:ea typeface="微软雅黑" panose="020B0503020204020204" pitchFamily="34" charset="-122"/>
            </a:endParaRPr>
          </a:p>
          <a:p>
            <a:pPr algn="ctr"/>
            <a:endParaRPr kumimoji="1" lang="zh-CN" altLang="en-US" sz="1600" b="1" dirty="0">
              <a:solidFill>
                <a:schemeClr val="bg1"/>
              </a:solidFill>
              <a:latin typeface="微软雅黑" panose="020B0503020204020204" pitchFamily="34" charset="-122"/>
              <a:ea typeface="微软雅黑" panose="020B0503020204020204" pitchFamily="34" charset="-122"/>
            </a:endParaRPr>
          </a:p>
        </p:txBody>
      </p:sp>
      <p:sp>
        <p:nvSpPr>
          <p:cNvPr id="508" name="文本框 507">
            <a:extLst>
              <a:ext uri="{FF2B5EF4-FFF2-40B4-BE49-F238E27FC236}">
                <a16:creationId xmlns:a16="http://schemas.microsoft.com/office/drawing/2014/main" id="{29D4621A-594F-4B77-B682-C7B406CED3ED}"/>
              </a:ext>
            </a:extLst>
          </p:cNvPr>
          <p:cNvSpPr txBox="1"/>
          <p:nvPr/>
        </p:nvSpPr>
        <p:spPr>
          <a:xfrm>
            <a:off x="6683142" y="3593780"/>
            <a:ext cx="5112000" cy="587469"/>
          </a:xfrm>
          <a:prstGeom prst="rect">
            <a:avLst/>
          </a:prstGeom>
          <a:noFill/>
        </p:spPr>
        <p:txBody>
          <a:bodyPr vert="horz" wrap="square" anchor="t">
            <a:spAutoFit/>
          </a:bodyPr>
          <a:lstStyle/>
          <a:p>
            <a:pPr marL="285750" indent="-285750">
              <a:lnSpc>
                <a:spcPct val="120000"/>
              </a:lnSpc>
              <a:buFont typeface="Wingdings" panose="05000000000000000000" pitchFamily="2" charset="2"/>
              <a:buChar char="l"/>
            </a:pPr>
            <a:r>
              <a:rPr lang="zh-CN" altLang="en-US" sz="1400" kern="100" dirty="0">
                <a:latin typeface="微软雅黑" panose="020B0503020204020204" pitchFamily="34" charset="-122"/>
                <a:ea typeface="微软雅黑" panose="020B0503020204020204" pitchFamily="34" charset="-122"/>
                <a:cs typeface="Times New Roman" panose="02020603050405020304" pitchFamily="18" charset="0"/>
              </a:rPr>
              <a:t>使用维拉苷酶</a:t>
            </a:r>
            <a:r>
              <a:rPr lang="en-US" altLang="zh-CN" sz="1400" kern="100" dirty="0">
                <a:latin typeface="微软雅黑" panose="020B0503020204020204" pitchFamily="34" charset="-122"/>
                <a:ea typeface="微软雅黑" panose="020B0503020204020204" pitchFamily="34" charset="-122"/>
                <a:cs typeface="Times New Roman" panose="02020603050405020304" pitchFamily="18" charset="0"/>
              </a:rPr>
              <a:t>α</a:t>
            </a:r>
            <a:r>
              <a:rPr lang="zh-CN" altLang="en-US" sz="1400" kern="100" dirty="0">
                <a:latin typeface="微软雅黑" panose="020B0503020204020204" pitchFamily="34" charset="-122"/>
                <a:ea typeface="微软雅黑" panose="020B0503020204020204" pitchFamily="34" charset="-122"/>
                <a:cs typeface="Times New Roman" panose="02020603050405020304" pitchFamily="18" charset="0"/>
              </a:rPr>
              <a:t>一年后</a:t>
            </a:r>
            <a:r>
              <a:rPr lang="zh-CN" altLang="en-US" sz="1400" b="1" kern="100" dirty="0">
                <a:latin typeface="微软雅黑" panose="020B0503020204020204" pitchFamily="34" charset="-122"/>
                <a:ea typeface="微软雅黑" panose="020B0503020204020204" pitchFamily="34" charset="-122"/>
                <a:cs typeface="Times New Roman" panose="02020603050405020304" pitchFamily="18" charset="0"/>
              </a:rPr>
              <a:t>逐步减量</a:t>
            </a:r>
            <a:r>
              <a:rPr lang="zh-CN" altLang="en-US" sz="1400" kern="100" dirty="0">
                <a:latin typeface="微软雅黑" panose="020B0503020204020204" pitchFamily="34" charset="-122"/>
                <a:ea typeface="微软雅黑" panose="020B0503020204020204" pitchFamily="34" charset="-122"/>
                <a:cs typeface="Times New Roman" panose="02020603050405020304" pitchFamily="18" charset="0"/>
              </a:rPr>
              <a:t>，关键临床参数仍</a:t>
            </a:r>
            <a:r>
              <a:rPr lang="zh-CN" altLang="en-US" sz="1400" b="1" kern="100" dirty="0">
                <a:latin typeface="微软雅黑" panose="020B0503020204020204" pitchFamily="34" charset="-122"/>
                <a:ea typeface="微软雅黑" panose="020B0503020204020204" pitchFamily="34" charset="-122"/>
                <a:cs typeface="Times New Roman" panose="02020603050405020304" pitchFamily="18" charset="0"/>
              </a:rPr>
              <a:t>可持续改善并维持长达</a:t>
            </a:r>
            <a:r>
              <a:rPr lang="en-US" altLang="zh-CN" sz="1400" b="1" kern="100" dirty="0">
                <a:latin typeface="微软雅黑" panose="020B0503020204020204" pitchFamily="34" charset="-122"/>
                <a:ea typeface="微软雅黑" panose="020B0503020204020204" pitchFamily="34" charset="-122"/>
                <a:cs typeface="Times New Roman" panose="02020603050405020304" pitchFamily="18" charset="0"/>
              </a:rPr>
              <a:t>7</a:t>
            </a:r>
            <a:r>
              <a:rPr lang="zh-CN" altLang="en-US" sz="1400" b="1" kern="100" dirty="0">
                <a:latin typeface="微软雅黑" panose="020B0503020204020204" pitchFamily="34" charset="-122"/>
                <a:ea typeface="微软雅黑" panose="020B0503020204020204" pitchFamily="34" charset="-122"/>
                <a:cs typeface="Times New Roman" panose="02020603050405020304" pitchFamily="18" charset="0"/>
              </a:rPr>
              <a:t>年</a:t>
            </a:r>
            <a:r>
              <a:rPr lang="en-US" altLang="zh-CN" sz="1400" b="1" kern="100" baseline="30000" dirty="0">
                <a:latin typeface="微软雅黑" panose="020B0503020204020204" pitchFamily="34" charset="-122"/>
                <a:ea typeface="微软雅黑" panose="020B0503020204020204" pitchFamily="34" charset="-122"/>
                <a:cs typeface="Times New Roman" panose="02020603050405020304" pitchFamily="18" charset="0"/>
              </a:rPr>
              <a:t>3</a:t>
            </a:r>
            <a:endParaRPr lang="zh-CN" altLang="en-US" sz="1400" b="1" kern="100" baseline="30000" dirty="0">
              <a:effectLst/>
              <a:latin typeface="微软雅黑" panose="020B0503020204020204" pitchFamily="34" charset="-122"/>
              <a:ea typeface="微软雅黑" panose="020B0503020204020204" pitchFamily="34" charset="-122"/>
              <a:cs typeface="Times New Roman" panose="02020603050405020304" pitchFamily="18" charset="0"/>
            </a:endParaRPr>
          </a:p>
        </p:txBody>
      </p:sp>
      <p:grpSp>
        <p:nvGrpSpPr>
          <p:cNvPr id="5" name="组合 4">
            <a:extLst>
              <a:ext uri="{FF2B5EF4-FFF2-40B4-BE49-F238E27FC236}">
                <a16:creationId xmlns:a16="http://schemas.microsoft.com/office/drawing/2014/main" id="{2AB3238E-F5A3-468A-8ED9-D486289F0297}"/>
              </a:ext>
            </a:extLst>
          </p:cNvPr>
          <p:cNvGrpSpPr/>
          <p:nvPr/>
        </p:nvGrpSpPr>
        <p:grpSpPr>
          <a:xfrm>
            <a:off x="6715343" y="4487703"/>
            <a:ext cx="5076046" cy="1981277"/>
            <a:chOff x="6808253" y="4387035"/>
            <a:chExt cx="5199061" cy="1981277"/>
          </a:xfrm>
        </p:grpSpPr>
        <p:sp>
          <p:nvSpPr>
            <p:cNvPr id="510" name="Rectangle 425">
              <a:extLst>
                <a:ext uri="{FF2B5EF4-FFF2-40B4-BE49-F238E27FC236}">
                  <a16:creationId xmlns:a16="http://schemas.microsoft.com/office/drawing/2014/main" id="{D076DA2C-2E6A-4C71-808C-1E93D2CE98C0}"/>
                </a:ext>
              </a:extLst>
            </p:cNvPr>
            <p:cNvSpPr>
              <a:spLocks noChangeArrowheads="1"/>
            </p:cNvSpPr>
            <p:nvPr/>
          </p:nvSpPr>
          <p:spPr bwMode="auto">
            <a:xfrm>
              <a:off x="8171332" y="4521413"/>
              <a:ext cx="142595" cy="1527903"/>
            </a:xfrm>
            <a:prstGeom prst="rect">
              <a:avLst/>
            </a:pr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algn="l" rtl="0" fontAlgn="base">
                <a:spcBef>
                  <a:spcPct val="0"/>
                </a:spcBef>
                <a:spcAft>
                  <a:spcPct val="0"/>
                </a:spcAft>
              </a:pPr>
              <a:endParaRPr lang="zh-CN" sz="1000" b="1" dirty="0">
                <a:solidFill>
                  <a:srgbClr val="504C4C"/>
                </a:solidFill>
                <a:latin typeface="Arial" panose="020B0604020202020204" pitchFamily="34" charset="0"/>
                <a:ea typeface="微软雅黑" panose="020B0503020204020204" pitchFamily="34" charset="-122"/>
                <a:cs typeface="Arial" pitchFamily="34" charset="0"/>
              </a:endParaRPr>
            </a:p>
          </p:txBody>
        </p:sp>
        <p:sp>
          <p:nvSpPr>
            <p:cNvPr id="511" name="Rectangle 426">
              <a:extLst>
                <a:ext uri="{FF2B5EF4-FFF2-40B4-BE49-F238E27FC236}">
                  <a16:creationId xmlns:a16="http://schemas.microsoft.com/office/drawing/2014/main" id="{61F38356-82EC-44A6-8E66-EA2E7EDC78BA}"/>
                </a:ext>
              </a:extLst>
            </p:cNvPr>
            <p:cNvSpPr>
              <a:spLocks noChangeArrowheads="1"/>
            </p:cNvSpPr>
            <p:nvPr/>
          </p:nvSpPr>
          <p:spPr bwMode="auto">
            <a:xfrm>
              <a:off x="8359077" y="4521413"/>
              <a:ext cx="143575" cy="1527903"/>
            </a:xfrm>
            <a:prstGeom prst="rect">
              <a:avLst/>
            </a:prstGeom>
            <a:solidFill>
              <a:schemeClr val="tx2">
                <a:lumMod val="20000"/>
                <a:lumOff val="80000"/>
              </a:schemeClr>
            </a:solidFill>
            <a:ln>
              <a:noFill/>
            </a:ln>
          </p:spPr>
          <p:txBody>
            <a:bodyPr vert="horz" wrap="square" lIns="91440" tIns="45720" rIns="91440" bIns="45720" numCol="1" anchor="t" anchorCtr="0" compatLnSpc="1">
              <a:prstTxWarp prst="textNoShape">
                <a:avLst/>
              </a:prstTxWarp>
            </a:bodyPr>
            <a:lstStyle/>
            <a:p>
              <a:pPr algn="l" rtl="0" fontAlgn="base">
                <a:spcBef>
                  <a:spcPct val="0"/>
                </a:spcBef>
                <a:spcAft>
                  <a:spcPct val="0"/>
                </a:spcAft>
              </a:pPr>
              <a:endParaRPr lang="zh-CN" sz="1000" b="1">
                <a:solidFill>
                  <a:srgbClr val="504C4C"/>
                </a:solidFill>
                <a:latin typeface="Arial" panose="020B0604020202020204" pitchFamily="34" charset="0"/>
                <a:ea typeface="微软雅黑" panose="020B0503020204020204" pitchFamily="34" charset="-122"/>
                <a:cs typeface="Arial" pitchFamily="34" charset="0"/>
              </a:endParaRPr>
            </a:p>
          </p:txBody>
        </p:sp>
        <p:sp>
          <p:nvSpPr>
            <p:cNvPr id="512" name="Freeform 5">
              <a:extLst>
                <a:ext uri="{FF2B5EF4-FFF2-40B4-BE49-F238E27FC236}">
                  <a16:creationId xmlns:a16="http://schemas.microsoft.com/office/drawing/2014/main" id="{FAC043B5-F7A2-4304-89C2-775F114E10FA}"/>
                </a:ext>
              </a:extLst>
            </p:cNvPr>
            <p:cNvSpPr>
              <a:spLocks/>
            </p:cNvSpPr>
            <p:nvPr/>
          </p:nvSpPr>
          <p:spPr bwMode="auto">
            <a:xfrm>
              <a:off x="7413203" y="4512613"/>
              <a:ext cx="4419238" cy="1542796"/>
            </a:xfrm>
            <a:custGeom>
              <a:avLst/>
              <a:gdLst>
                <a:gd name="T0" fmla="*/ 0 w 3719"/>
                <a:gd name="T1" fmla="*/ 0 h 2279"/>
                <a:gd name="T2" fmla="*/ 0 w 3719"/>
                <a:gd name="T3" fmla="*/ 2279 h 2279"/>
                <a:gd name="T4" fmla="*/ 3719 w 3719"/>
                <a:gd name="T5" fmla="*/ 2279 h 2279"/>
              </a:gdLst>
              <a:ahLst/>
              <a:cxnLst>
                <a:cxn ang="0">
                  <a:pos x="T0" y="T1"/>
                </a:cxn>
                <a:cxn ang="0">
                  <a:pos x="T2" y="T3"/>
                </a:cxn>
                <a:cxn ang="0">
                  <a:pos x="T4" y="T5"/>
                </a:cxn>
              </a:cxnLst>
              <a:rect l="0" t="0" r="r" b="b"/>
              <a:pathLst>
                <a:path w="3719" h="2279">
                  <a:moveTo>
                    <a:pt x="0" y="0"/>
                  </a:moveTo>
                  <a:lnTo>
                    <a:pt x="0" y="2279"/>
                  </a:lnTo>
                  <a:lnTo>
                    <a:pt x="3719" y="2279"/>
                  </a:lnTo>
                </a:path>
              </a:pathLst>
            </a:custGeom>
            <a:noFill/>
            <a:ln w="28575" cap="sq">
              <a:solidFill>
                <a:schemeClr val="tx1">
                  <a:lumMod val="75000"/>
                  <a:lumOff val="25000"/>
                </a:scheme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fontAlgn="base">
                <a:spcBef>
                  <a:spcPct val="0"/>
                </a:spcBef>
                <a:spcAft>
                  <a:spcPct val="0"/>
                </a:spcAft>
              </a:pPr>
              <a:endParaRPr lang="zh-CN" sz="1000" b="1">
                <a:ln>
                  <a:solidFill>
                    <a:srgbClr val="878C8F"/>
                  </a:solidFill>
                </a:ln>
                <a:solidFill>
                  <a:srgbClr val="504C4C"/>
                </a:solidFill>
                <a:latin typeface="Arial" panose="020B0604020202020204" pitchFamily="34" charset="0"/>
                <a:ea typeface="微软雅黑" panose="020B0503020204020204" pitchFamily="34" charset="-122"/>
              </a:endParaRPr>
            </a:p>
          </p:txBody>
        </p:sp>
        <p:sp>
          <p:nvSpPr>
            <p:cNvPr id="513" name="Line 6">
              <a:extLst>
                <a:ext uri="{FF2B5EF4-FFF2-40B4-BE49-F238E27FC236}">
                  <a16:creationId xmlns:a16="http://schemas.microsoft.com/office/drawing/2014/main" id="{EE8645A5-F61F-4CAF-A032-F3519E80178F}"/>
                </a:ext>
              </a:extLst>
            </p:cNvPr>
            <p:cNvSpPr>
              <a:spLocks noChangeShapeType="1"/>
            </p:cNvSpPr>
            <p:nvPr/>
          </p:nvSpPr>
          <p:spPr bwMode="auto">
            <a:xfrm>
              <a:off x="7346659" y="6055408"/>
              <a:ext cx="66544" cy="0"/>
            </a:xfrm>
            <a:prstGeom prst="line">
              <a:avLst/>
            </a:prstGeom>
            <a:noFill/>
            <a:ln w="28575" cap="sq">
              <a:solidFill>
                <a:schemeClr val="tx1">
                  <a:lumMod val="75000"/>
                  <a:lumOff val="25000"/>
                </a:scheme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fontAlgn="base">
                <a:spcBef>
                  <a:spcPct val="0"/>
                </a:spcBef>
                <a:spcAft>
                  <a:spcPct val="0"/>
                </a:spcAft>
              </a:pPr>
              <a:endParaRPr lang="zh-CN" sz="1000" b="1">
                <a:ln>
                  <a:solidFill>
                    <a:srgbClr val="878C8F"/>
                  </a:solidFill>
                </a:ln>
                <a:solidFill>
                  <a:schemeClr val="tx1"/>
                </a:solidFill>
                <a:latin typeface="Arial" panose="020B0604020202020204" pitchFamily="34" charset="0"/>
                <a:ea typeface="微软雅黑" panose="020B0503020204020204" pitchFamily="34" charset="-122"/>
              </a:endParaRPr>
            </a:p>
          </p:txBody>
        </p:sp>
        <p:sp>
          <p:nvSpPr>
            <p:cNvPr id="514" name="Line 7">
              <a:extLst>
                <a:ext uri="{FF2B5EF4-FFF2-40B4-BE49-F238E27FC236}">
                  <a16:creationId xmlns:a16="http://schemas.microsoft.com/office/drawing/2014/main" id="{563CC93A-9CF6-4473-8F54-1516EF5519C6}"/>
                </a:ext>
              </a:extLst>
            </p:cNvPr>
            <p:cNvSpPr>
              <a:spLocks noChangeShapeType="1"/>
            </p:cNvSpPr>
            <p:nvPr/>
          </p:nvSpPr>
          <p:spPr bwMode="auto">
            <a:xfrm>
              <a:off x="7413203" y="6055408"/>
              <a:ext cx="0" cy="39264"/>
            </a:xfrm>
            <a:prstGeom prst="line">
              <a:avLst/>
            </a:prstGeom>
            <a:noFill/>
            <a:ln w="28575" cap="sq">
              <a:solidFill>
                <a:schemeClr val="tx1">
                  <a:lumMod val="75000"/>
                  <a:lumOff val="25000"/>
                </a:scheme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fontAlgn="base">
                <a:spcBef>
                  <a:spcPct val="0"/>
                </a:spcBef>
                <a:spcAft>
                  <a:spcPct val="0"/>
                </a:spcAft>
              </a:pPr>
              <a:endParaRPr lang="zh-CN" sz="1000" b="1">
                <a:ln>
                  <a:solidFill>
                    <a:srgbClr val="878C8F"/>
                  </a:solidFill>
                </a:ln>
                <a:solidFill>
                  <a:schemeClr val="tx1"/>
                </a:solidFill>
                <a:latin typeface="Arial" panose="020B0604020202020204" pitchFamily="34" charset="0"/>
                <a:ea typeface="微软雅黑" panose="020B0503020204020204" pitchFamily="34" charset="-122"/>
              </a:endParaRPr>
            </a:p>
          </p:txBody>
        </p:sp>
        <p:sp>
          <p:nvSpPr>
            <p:cNvPr id="515" name="Line 15">
              <a:extLst>
                <a:ext uri="{FF2B5EF4-FFF2-40B4-BE49-F238E27FC236}">
                  <a16:creationId xmlns:a16="http://schemas.microsoft.com/office/drawing/2014/main" id="{DF472101-363B-4B43-8F45-60D44FD5289D}"/>
                </a:ext>
              </a:extLst>
            </p:cNvPr>
            <p:cNvSpPr>
              <a:spLocks noChangeShapeType="1"/>
            </p:cNvSpPr>
            <p:nvPr/>
          </p:nvSpPr>
          <p:spPr bwMode="auto">
            <a:xfrm>
              <a:off x="8672787" y="6055408"/>
              <a:ext cx="0" cy="39264"/>
            </a:xfrm>
            <a:prstGeom prst="line">
              <a:avLst/>
            </a:prstGeom>
            <a:noFill/>
            <a:ln w="28575" cap="sq">
              <a:solidFill>
                <a:schemeClr val="tx1">
                  <a:lumMod val="75000"/>
                  <a:lumOff val="25000"/>
                </a:scheme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fontAlgn="base">
                <a:spcBef>
                  <a:spcPct val="0"/>
                </a:spcBef>
                <a:spcAft>
                  <a:spcPct val="0"/>
                </a:spcAft>
              </a:pPr>
              <a:endParaRPr lang="zh-CN" sz="1000" b="1">
                <a:ln>
                  <a:solidFill>
                    <a:srgbClr val="878C8F"/>
                  </a:solidFill>
                </a:ln>
                <a:solidFill>
                  <a:schemeClr val="tx1"/>
                </a:solidFill>
                <a:latin typeface="Arial" panose="020B0604020202020204" pitchFamily="34" charset="0"/>
                <a:ea typeface="微软雅黑" panose="020B0503020204020204" pitchFamily="34" charset="-122"/>
              </a:endParaRPr>
            </a:p>
          </p:txBody>
        </p:sp>
        <p:sp>
          <p:nvSpPr>
            <p:cNvPr id="516" name="Line 18">
              <a:extLst>
                <a:ext uri="{FF2B5EF4-FFF2-40B4-BE49-F238E27FC236}">
                  <a16:creationId xmlns:a16="http://schemas.microsoft.com/office/drawing/2014/main" id="{E8F9D912-3A81-4C1D-9B15-852CF45AE17F}"/>
                </a:ext>
              </a:extLst>
            </p:cNvPr>
            <p:cNvSpPr>
              <a:spLocks noChangeShapeType="1"/>
            </p:cNvSpPr>
            <p:nvPr/>
          </p:nvSpPr>
          <p:spPr bwMode="auto">
            <a:xfrm>
              <a:off x="9145726" y="6055408"/>
              <a:ext cx="0" cy="39264"/>
            </a:xfrm>
            <a:prstGeom prst="line">
              <a:avLst/>
            </a:prstGeom>
            <a:noFill/>
            <a:ln w="28575" cap="sq">
              <a:solidFill>
                <a:schemeClr val="tx1">
                  <a:lumMod val="75000"/>
                  <a:lumOff val="25000"/>
                </a:scheme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fontAlgn="base">
                <a:spcBef>
                  <a:spcPct val="0"/>
                </a:spcBef>
                <a:spcAft>
                  <a:spcPct val="0"/>
                </a:spcAft>
              </a:pPr>
              <a:endParaRPr lang="zh-CN" sz="1000" b="1">
                <a:ln>
                  <a:solidFill>
                    <a:srgbClr val="878C8F"/>
                  </a:solidFill>
                </a:ln>
                <a:solidFill>
                  <a:schemeClr val="tx1"/>
                </a:solidFill>
                <a:latin typeface="Arial" panose="020B0604020202020204" pitchFamily="34" charset="0"/>
                <a:ea typeface="微软雅黑" panose="020B0503020204020204" pitchFamily="34" charset="-122"/>
              </a:endParaRPr>
            </a:p>
          </p:txBody>
        </p:sp>
        <p:sp>
          <p:nvSpPr>
            <p:cNvPr id="517" name="Line 19">
              <a:extLst>
                <a:ext uri="{FF2B5EF4-FFF2-40B4-BE49-F238E27FC236}">
                  <a16:creationId xmlns:a16="http://schemas.microsoft.com/office/drawing/2014/main" id="{6BCB02EF-9228-4555-A9C3-62EAC2B8D963}"/>
                </a:ext>
              </a:extLst>
            </p:cNvPr>
            <p:cNvSpPr>
              <a:spLocks noChangeShapeType="1"/>
            </p:cNvSpPr>
            <p:nvPr/>
          </p:nvSpPr>
          <p:spPr bwMode="auto">
            <a:xfrm>
              <a:off x="9302580" y="6055408"/>
              <a:ext cx="0" cy="39264"/>
            </a:xfrm>
            <a:prstGeom prst="line">
              <a:avLst/>
            </a:prstGeom>
            <a:noFill/>
            <a:ln w="28575" cap="sq">
              <a:solidFill>
                <a:schemeClr val="tx1">
                  <a:lumMod val="75000"/>
                  <a:lumOff val="25000"/>
                </a:scheme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fontAlgn="base">
                <a:spcBef>
                  <a:spcPct val="0"/>
                </a:spcBef>
                <a:spcAft>
                  <a:spcPct val="0"/>
                </a:spcAft>
              </a:pPr>
              <a:endParaRPr lang="zh-CN" sz="1000" b="1">
                <a:ln>
                  <a:solidFill>
                    <a:srgbClr val="878C8F"/>
                  </a:solidFill>
                </a:ln>
                <a:solidFill>
                  <a:schemeClr val="tx1"/>
                </a:solidFill>
                <a:latin typeface="Arial" panose="020B0604020202020204" pitchFamily="34" charset="0"/>
                <a:ea typeface="微软雅黑" panose="020B0503020204020204" pitchFamily="34" charset="-122"/>
              </a:endParaRPr>
            </a:p>
          </p:txBody>
        </p:sp>
        <p:sp>
          <p:nvSpPr>
            <p:cNvPr id="518" name="Line 22">
              <a:extLst>
                <a:ext uri="{FF2B5EF4-FFF2-40B4-BE49-F238E27FC236}">
                  <a16:creationId xmlns:a16="http://schemas.microsoft.com/office/drawing/2014/main" id="{848F7A7C-3A6F-4261-9CA4-415FF409E2B7}"/>
                </a:ext>
              </a:extLst>
            </p:cNvPr>
            <p:cNvSpPr>
              <a:spLocks noChangeShapeType="1"/>
            </p:cNvSpPr>
            <p:nvPr/>
          </p:nvSpPr>
          <p:spPr bwMode="auto">
            <a:xfrm>
              <a:off x="9776704" y="6055408"/>
              <a:ext cx="0" cy="39264"/>
            </a:xfrm>
            <a:prstGeom prst="line">
              <a:avLst/>
            </a:prstGeom>
            <a:noFill/>
            <a:ln w="28575" cap="sq">
              <a:solidFill>
                <a:schemeClr val="tx1">
                  <a:lumMod val="75000"/>
                  <a:lumOff val="25000"/>
                </a:scheme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fontAlgn="base">
                <a:spcBef>
                  <a:spcPct val="0"/>
                </a:spcBef>
                <a:spcAft>
                  <a:spcPct val="0"/>
                </a:spcAft>
              </a:pPr>
              <a:endParaRPr lang="zh-CN" sz="1000" b="1">
                <a:ln>
                  <a:solidFill>
                    <a:srgbClr val="878C8F"/>
                  </a:solidFill>
                </a:ln>
                <a:solidFill>
                  <a:schemeClr val="tx1"/>
                </a:solidFill>
                <a:latin typeface="Arial" panose="020B0604020202020204" pitchFamily="34" charset="0"/>
                <a:ea typeface="微软雅黑" panose="020B0503020204020204" pitchFamily="34" charset="-122"/>
              </a:endParaRPr>
            </a:p>
          </p:txBody>
        </p:sp>
        <p:sp>
          <p:nvSpPr>
            <p:cNvPr id="519" name="Line 23">
              <a:extLst>
                <a:ext uri="{FF2B5EF4-FFF2-40B4-BE49-F238E27FC236}">
                  <a16:creationId xmlns:a16="http://schemas.microsoft.com/office/drawing/2014/main" id="{39F0D6B5-3AED-40D6-B0EC-02C89FE568DD}"/>
                </a:ext>
              </a:extLst>
            </p:cNvPr>
            <p:cNvSpPr>
              <a:spLocks noChangeShapeType="1"/>
            </p:cNvSpPr>
            <p:nvPr/>
          </p:nvSpPr>
          <p:spPr bwMode="auto">
            <a:xfrm>
              <a:off x="9933559" y="6055408"/>
              <a:ext cx="0" cy="39264"/>
            </a:xfrm>
            <a:prstGeom prst="line">
              <a:avLst/>
            </a:prstGeom>
            <a:noFill/>
            <a:ln w="28575" cap="sq">
              <a:solidFill>
                <a:schemeClr val="tx1">
                  <a:lumMod val="75000"/>
                  <a:lumOff val="25000"/>
                </a:scheme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fontAlgn="base">
                <a:spcBef>
                  <a:spcPct val="0"/>
                </a:spcBef>
                <a:spcAft>
                  <a:spcPct val="0"/>
                </a:spcAft>
              </a:pPr>
              <a:endParaRPr lang="zh-CN" sz="1000" b="1">
                <a:ln>
                  <a:solidFill>
                    <a:srgbClr val="878C8F"/>
                  </a:solidFill>
                </a:ln>
                <a:solidFill>
                  <a:schemeClr val="tx1"/>
                </a:solidFill>
                <a:latin typeface="Arial" panose="020B0604020202020204" pitchFamily="34" charset="0"/>
                <a:ea typeface="微软雅黑" panose="020B0503020204020204" pitchFamily="34" charset="-122"/>
              </a:endParaRPr>
            </a:p>
          </p:txBody>
        </p:sp>
        <p:sp>
          <p:nvSpPr>
            <p:cNvPr id="520" name="Line 24">
              <a:extLst>
                <a:ext uri="{FF2B5EF4-FFF2-40B4-BE49-F238E27FC236}">
                  <a16:creationId xmlns:a16="http://schemas.microsoft.com/office/drawing/2014/main" id="{FADE93D9-28CB-4D63-9492-17421157A998}"/>
                </a:ext>
              </a:extLst>
            </p:cNvPr>
            <p:cNvSpPr>
              <a:spLocks noChangeShapeType="1"/>
            </p:cNvSpPr>
            <p:nvPr/>
          </p:nvSpPr>
          <p:spPr bwMode="auto">
            <a:xfrm>
              <a:off x="10090413" y="6055408"/>
              <a:ext cx="0" cy="39264"/>
            </a:xfrm>
            <a:prstGeom prst="line">
              <a:avLst/>
            </a:prstGeom>
            <a:noFill/>
            <a:ln w="28575" cap="sq">
              <a:solidFill>
                <a:schemeClr val="tx1">
                  <a:lumMod val="75000"/>
                  <a:lumOff val="25000"/>
                </a:scheme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fontAlgn="base">
                <a:spcBef>
                  <a:spcPct val="0"/>
                </a:spcBef>
                <a:spcAft>
                  <a:spcPct val="0"/>
                </a:spcAft>
              </a:pPr>
              <a:endParaRPr lang="zh-CN" sz="1000" b="1">
                <a:ln>
                  <a:solidFill>
                    <a:srgbClr val="878C8F"/>
                  </a:solidFill>
                </a:ln>
                <a:solidFill>
                  <a:schemeClr val="tx1"/>
                </a:solidFill>
                <a:latin typeface="Arial" panose="020B0604020202020204" pitchFamily="34" charset="0"/>
                <a:ea typeface="微软雅黑" panose="020B0503020204020204" pitchFamily="34" charset="-122"/>
              </a:endParaRPr>
            </a:p>
          </p:txBody>
        </p:sp>
        <p:sp>
          <p:nvSpPr>
            <p:cNvPr id="521" name="Line 26">
              <a:extLst>
                <a:ext uri="{FF2B5EF4-FFF2-40B4-BE49-F238E27FC236}">
                  <a16:creationId xmlns:a16="http://schemas.microsoft.com/office/drawing/2014/main" id="{1C0AE6BB-1433-4AC4-8D07-2C6C6DF97C88}"/>
                </a:ext>
              </a:extLst>
            </p:cNvPr>
            <p:cNvSpPr>
              <a:spLocks noChangeShapeType="1"/>
            </p:cNvSpPr>
            <p:nvPr/>
          </p:nvSpPr>
          <p:spPr bwMode="auto">
            <a:xfrm>
              <a:off x="10406498" y="6055408"/>
              <a:ext cx="0" cy="39264"/>
            </a:xfrm>
            <a:prstGeom prst="line">
              <a:avLst/>
            </a:prstGeom>
            <a:noFill/>
            <a:ln w="28575" cap="sq">
              <a:solidFill>
                <a:schemeClr val="tx1">
                  <a:lumMod val="75000"/>
                  <a:lumOff val="25000"/>
                </a:scheme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fontAlgn="base">
                <a:spcBef>
                  <a:spcPct val="0"/>
                </a:spcBef>
                <a:spcAft>
                  <a:spcPct val="0"/>
                </a:spcAft>
              </a:pPr>
              <a:endParaRPr lang="zh-CN" sz="1000" b="1">
                <a:ln>
                  <a:solidFill>
                    <a:srgbClr val="878C8F"/>
                  </a:solidFill>
                </a:ln>
                <a:solidFill>
                  <a:schemeClr val="tx1"/>
                </a:solidFill>
                <a:latin typeface="Arial" panose="020B0604020202020204" pitchFamily="34" charset="0"/>
                <a:ea typeface="微软雅黑" panose="020B0503020204020204" pitchFamily="34" charset="-122"/>
              </a:endParaRPr>
            </a:p>
          </p:txBody>
        </p:sp>
        <p:sp>
          <p:nvSpPr>
            <p:cNvPr id="522" name="Line 27">
              <a:extLst>
                <a:ext uri="{FF2B5EF4-FFF2-40B4-BE49-F238E27FC236}">
                  <a16:creationId xmlns:a16="http://schemas.microsoft.com/office/drawing/2014/main" id="{653F8693-EEA1-488E-ADEA-A206CE3E69FD}"/>
                </a:ext>
              </a:extLst>
            </p:cNvPr>
            <p:cNvSpPr>
              <a:spLocks noChangeShapeType="1"/>
            </p:cNvSpPr>
            <p:nvPr/>
          </p:nvSpPr>
          <p:spPr bwMode="auto">
            <a:xfrm>
              <a:off x="10563351" y="6055408"/>
              <a:ext cx="0" cy="39264"/>
            </a:xfrm>
            <a:prstGeom prst="line">
              <a:avLst/>
            </a:prstGeom>
            <a:noFill/>
            <a:ln w="28575" cap="sq">
              <a:solidFill>
                <a:schemeClr val="tx1">
                  <a:lumMod val="75000"/>
                  <a:lumOff val="25000"/>
                </a:scheme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fontAlgn="base">
                <a:spcBef>
                  <a:spcPct val="0"/>
                </a:spcBef>
                <a:spcAft>
                  <a:spcPct val="0"/>
                </a:spcAft>
              </a:pPr>
              <a:endParaRPr lang="zh-CN" sz="1000" b="1">
                <a:ln>
                  <a:solidFill>
                    <a:srgbClr val="878C8F"/>
                  </a:solidFill>
                </a:ln>
                <a:solidFill>
                  <a:schemeClr val="tx1"/>
                </a:solidFill>
                <a:latin typeface="Arial" panose="020B0604020202020204" pitchFamily="34" charset="0"/>
                <a:ea typeface="微软雅黑" panose="020B0503020204020204" pitchFamily="34" charset="-122"/>
              </a:endParaRPr>
            </a:p>
          </p:txBody>
        </p:sp>
        <p:sp>
          <p:nvSpPr>
            <p:cNvPr id="523" name="Line 28">
              <a:extLst>
                <a:ext uri="{FF2B5EF4-FFF2-40B4-BE49-F238E27FC236}">
                  <a16:creationId xmlns:a16="http://schemas.microsoft.com/office/drawing/2014/main" id="{A3A9E775-38C5-489F-9A33-3FBB6E35C3DE}"/>
                </a:ext>
              </a:extLst>
            </p:cNvPr>
            <p:cNvSpPr>
              <a:spLocks noChangeShapeType="1"/>
            </p:cNvSpPr>
            <p:nvPr/>
          </p:nvSpPr>
          <p:spPr bwMode="auto">
            <a:xfrm>
              <a:off x="10720205" y="6055408"/>
              <a:ext cx="0" cy="39264"/>
            </a:xfrm>
            <a:prstGeom prst="line">
              <a:avLst/>
            </a:prstGeom>
            <a:noFill/>
            <a:ln w="28575" cap="sq">
              <a:solidFill>
                <a:schemeClr val="tx1">
                  <a:lumMod val="75000"/>
                  <a:lumOff val="25000"/>
                </a:scheme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fontAlgn="base">
                <a:spcBef>
                  <a:spcPct val="0"/>
                </a:spcBef>
                <a:spcAft>
                  <a:spcPct val="0"/>
                </a:spcAft>
              </a:pPr>
              <a:endParaRPr lang="zh-CN" sz="1000" b="1">
                <a:ln>
                  <a:solidFill>
                    <a:srgbClr val="878C8F"/>
                  </a:solidFill>
                </a:ln>
                <a:solidFill>
                  <a:schemeClr val="tx1"/>
                </a:solidFill>
                <a:latin typeface="Arial" panose="020B0604020202020204" pitchFamily="34" charset="0"/>
                <a:ea typeface="微软雅黑" panose="020B0503020204020204" pitchFamily="34" charset="-122"/>
              </a:endParaRPr>
            </a:p>
          </p:txBody>
        </p:sp>
        <p:sp>
          <p:nvSpPr>
            <p:cNvPr id="524" name="Line 30">
              <a:extLst>
                <a:ext uri="{FF2B5EF4-FFF2-40B4-BE49-F238E27FC236}">
                  <a16:creationId xmlns:a16="http://schemas.microsoft.com/office/drawing/2014/main" id="{AEF5EBAC-B5B0-4E34-BFE8-8B6D8C7373AC}"/>
                </a:ext>
              </a:extLst>
            </p:cNvPr>
            <p:cNvSpPr>
              <a:spLocks noChangeShapeType="1"/>
            </p:cNvSpPr>
            <p:nvPr/>
          </p:nvSpPr>
          <p:spPr bwMode="auto">
            <a:xfrm>
              <a:off x="11033913" y="6055408"/>
              <a:ext cx="0" cy="39264"/>
            </a:xfrm>
            <a:prstGeom prst="line">
              <a:avLst/>
            </a:prstGeom>
            <a:noFill/>
            <a:ln w="28575" cap="sq">
              <a:solidFill>
                <a:schemeClr val="tx1">
                  <a:lumMod val="75000"/>
                  <a:lumOff val="25000"/>
                </a:scheme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fontAlgn="base">
                <a:spcBef>
                  <a:spcPct val="0"/>
                </a:spcBef>
                <a:spcAft>
                  <a:spcPct val="0"/>
                </a:spcAft>
              </a:pPr>
              <a:endParaRPr lang="zh-CN" sz="1000" b="1">
                <a:ln>
                  <a:solidFill>
                    <a:srgbClr val="878C8F"/>
                  </a:solidFill>
                </a:ln>
                <a:solidFill>
                  <a:schemeClr val="tx1"/>
                </a:solidFill>
                <a:latin typeface="Arial" panose="020B0604020202020204" pitchFamily="34" charset="0"/>
                <a:ea typeface="微软雅黑" panose="020B0503020204020204" pitchFamily="34" charset="-122"/>
              </a:endParaRPr>
            </a:p>
          </p:txBody>
        </p:sp>
        <p:sp>
          <p:nvSpPr>
            <p:cNvPr id="525" name="Line 31">
              <a:extLst>
                <a:ext uri="{FF2B5EF4-FFF2-40B4-BE49-F238E27FC236}">
                  <a16:creationId xmlns:a16="http://schemas.microsoft.com/office/drawing/2014/main" id="{C1772C18-A8DC-4546-AFEE-A0A8054AC0C4}"/>
                </a:ext>
              </a:extLst>
            </p:cNvPr>
            <p:cNvSpPr>
              <a:spLocks noChangeShapeType="1"/>
            </p:cNvSpPr>
            <p:nvPr/>
          </p:nvSpPr>
          <p:spPr bwMode="auto">
            <a:xfrm>
              <a:off x="11193142" y="6055408"/>
              <a:ext cx="0" cy="39264"/>
            </a:xfrm>
            <a:prstGeom prst="line">
              <a:avLst/>
            </a:prstGeom>
            <a:noFill/>
            <a:ln w="28575" cap="sq">
              <a:solidFill>
                <a:schemeClr val="tx1">
                  <a:lumMod val="75000"/>
                  <a:lumOff val="25000"/>
                </a:scheme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fontAlgn="base">
                <a:spcBef>
                  <a:spcPct val="0"/>
                </a:spcBef>
                <a:spcAft>
                  <a:spcPct val="0"/>
                </a:spcAft>
              </a:pPr>
              <a:endParaRPr lang="zh-CN" sz="1000" b="1">
                <a:ln>
                  <a:solidFill>
                    <a:srgbClr val="878C8F"/>
                  </a:solidFill>
                </a:ln>
                <a:solidFill>
                  <a:schemeClr val="tx1"/>
                </a:solidFill>
                <a:latin typeface="Arial" panose="020B0604020202020204" pitchFamily="34" charset="0"/>
                <a:ea typeface="微软雅黑" panose="020B0503020204020204" pitchFamily="34" charset="-122"/>
              </a:endParaRPr>
            </a:p>
          </p:txBody>
        </p:sp>
        <p:sp>
          <p:nvSpPr>
            <p:cNvPr id="526" name="Line 32">
              <a:extLst>
                <a:ext uri="{FF2B5EF4-FFF2-40B4-BE49-F238E27FC236}">
                  <a16:creationId xmlns:a16="http://schemas.microsoft.com/office/drawing/2014/main" id="{A77E4C17-041D-4A06-9B92-C48F22B247DB}"/>
                </a:ext>
              </a:extLst>
            </p:cNvPr>
            <p:cNvSpPr>
              <a:spLocks noChangeShapeType="1"/>
            </p:cNvSpPr>
            <p:nvPr/>
          </p:nvSpPr>
          <p:spPr bwMode="auto">
            <a:xfrm>
              <a:off x="11349996" y="6055408"/>
              <a:ext cx="0" cy="39264"/>
            </a:xfrm>
            <a:prstGeom prst="line">
              <a:avLst/>
            </a:prstGeom>
            <a:noFill/>
            <a:ln w="28575" cap="sq">
              <a:solidFill>
                <a:schemeClr val="tx1">
                  <a:lumMod val="75000"/>
                  <a:lumOff val="25000"/>
                </a:scheme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fontAlgn="base">
                <a:spcBef>
                  <a:spcPct val="0"/>
                </a:spcBef>
                <a:spcAft>
                  <a:spcPct val="0"/>
                </a:spcAft>
              </a:pPr>
              <a:endParaRPr lang="zh-CN" sz="1000" b="1">
                <a:ln>
                  <a:solidFill>
                    <a:srgbClr val="878C8F"/>
                  </a:solidFill>
                </a:ln>
                <a:solidFill>
                  <a:schemeClr val="tx1"/>
                </a:solidFill>
                <a:latin typeface="Arial" panose="020B0604020202020204" pitchFamily="34" charset="0"/>
                <a:ea typeface="微软雅黑" panose="020B0503020204020204" pitchFamily="34" charset="-122"/>
              </a:endParaRPr>
            </a:p>
          </p:txBody>
        </p:sp>
        <p:sp>
          <p:nvSpPr>
            <p:cNvPr id="527" name="Line 33">
              <a:extLst>
                <a:ext uri="{FF2B5EF4-FFF2-40B4-BE49-F238E27FC236}">
                  <a16:creationId xmlns:a16="http://schemas.microsoft.com/office/drawing/2014/main" id="{44487485-CC2D-40C3-952B-EEC9A9ADF804}"/>
                </a:ext>
              </a:extLst>
            </p:cNvPr>
            <p:cNvSpPr>
              <a:spLocks noChangeShapeType="1"/>
            </p:cNvSpPr>
            <p:nvPr/>
          </p:nvSpPr>
          <p:spPr bwMode="auto">
            <a:xfrm>
              <a:off x="11674399" y="6055408"/>
              <a:ext cx="0" cy="39264"/>
            </a:xfrm>
            <a:prstGeom prst="line">
              <a:avLst/>
            </a:prstGeom>
            <a:noFill/>
            <a:ln w="28575" cap="sq">
              <a:solidFill>
                <a:schemeClr val="tx1">
                  <a:lumMod val="75000"/>
                  <a:lumOff val="25000"/>
                </a:scheme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fontAlgn="base">
                <a:spcBef>
                  <a:spcPct val="0"/>
                </a:spcBef>
                <a:spcAft>
                  <a:spcPct val="0"/>
                </a:spcAft>
              </a:pPr>
              <a:endParaRPr lang="zh-CN" sz="1000" b="1">
                <a:ln>
                  <a:solidFill>
                    <a:srgbClr val="878C8F"/>
                  </a:solidFill>
                </a:ln>
                <a:solidFill>
                  <a:schemeClr val="tx1"/>
                </a:solidFill>
                <a:latin typeface="Arial" panose="020B0604020202020204" pitchFamily="34" charset="0"/>
                <a:ea typeface="微软雅黑" panose="020B0503020204020204" pitchFamily="34" charset="-122"/>
              </a:endParaRPr>
            </a:p>
          </p:txBody>
        </p:sp>
        <p:sp>
          <p:nvSpPr>
            <p:cNvPr id="528" name="Line 35">
              <a:extLst>
                <a:ext uri="{FF2B5EF4-FFF2-40B4-BE49-F238E27FC236}">
                  <a16:creationId xmlns:a16="http://schemas.microsoft.com/office/drawing/2014/main" id="{BBCB4BFF-659B-43B0-828D-9DDC97C8C1F1}"/>
                </a:ext>
              </a:extLst>
            </p:cNvPr>
            <p:cNvSpPr>
              <a:spLocks noChangeShapeType="1"/>
            </p:cNvSpPr>
            <p:nvPr/>
          </p:nvSpPr>
          <p:spPr bwMode="auto">
            <a:xfrm>
              <a:off x="11833084" y="6055408"/>
              <a:ext cx="0" cy="39264"/>
            </a:xfrm>
            <a:prstGeom prst="line">
              <a:avLst/>
            </a:prstGeom>
            <a:noFill/>
            <a:ln w="28575" cap="sq">
              <a:solidFill>
                <a:schemeClr val="tx1">
                  <a:lumMod val="75000"/>
                  <a:lumOff val="25000"/>
                </a:scheme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fontAlgn="base">
                <a:spcBef>
                  <a:spcPct val="0"/>
                </a:spcBef>
                <a:spcAft>
                  <a:spcPct val="0"/>
                </a:spcAft>
              </a:pPr>
              <a:endParaRPr lang="zh-CN" sz="1000" b="1">
                <a:ln>
                  <a:solidFill>
                    <a:srgbClr val="878C8F"/>
                  </a:solidFill>
                </a:ln>
                <a:solidFill>
                  <a:schemeClr val="tx1"/>
                </a:solidFill>
                <a:latin typeface="Arial" panose="020B0604020202020204" pitchFamily="34" charset="0"/>
                <a:ea typeface="微软雅黑" panose="020B0503020204020204" pitchFamily="34" charset="-122"/>
              </a:endParaRPr>
            </a:p>
          </p:txBody>
        </p:sp>
        <p:sp>
          <p:nvSpPr>
            <p:cNvPr id="529" name="Line 37">
              <a:extLst>
                <a:ext uri="{FF2B5EF4-FFF2-40B4-BE49-F238E27FC236}">
                  <a16:creationId xmlns:a16="http://schemas.microsoft.com/office/drawing/2014/main" id="{65892A3A-A95E-4723-9EE1-110C3EBC54FE}"/>
                </a:ext>
              </a:extLst>
            </p:cNvPr>
            <p:cNvSpPr>
              <a:spLocks noChangeShapeType="1"/>
            </p:cNvSpPr>
            <p:nvPr/>
          </p:nvSpPr>
          <p:spPr bwMode="auto">
            <a:xfrm>
              <a:off x="7346659" y="5617414"/>
              <a:ext cx="66544" cy="0"/>
            </a:xfrm>
            <a:prstGeom prst="line">
              <a:avLst/>
            </a:prstGeom>
            <a:noFill/>
            <a:ln w="28575" cap="sq">
              <a:solidFill>
                <a:schemeClr val="tx1">
                  <a:lumMod val="75000"/>
                  <a:lumOff val="25000"/>
                </a:scheme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fontAlgn="base">
                <a:spcBef>
                  <a:spcPct val="0"/>
                </a:spcBef>
                <a:spcAft>
                  <a:spcPct val="0"/>
                </a:spcAft>
              </a:pPr>
              <a:endParaRPr lang="zh-CN" sz="1000" b="1">
                <a:ln>
                  <a:solidFill>
                    <a:srgbClr val="878C8F"/>
                  </a:solidFill>
                </a:ln>
                <a:solidFill>
                  <a:schemeClr val="tx1"/>
                </a:solidFill>
                <a:latin typeface="Arial" panose="020B0604020202020204" pitchFamily="34" charset="0"/>
                <a:ea typeface="微软雅黑" panose="020B0503020204020204" pitchFamily="34" charset="-122"/>
              </a:endParaRPr>
            </a:p>
          </p:txBody>
        </p:sp>
        <p:sp>
          <p:nvSpPr>
            <p:cNvPr id="530" name="Line 39">
              <a:extLst>
                <a:ext uri="{FF2B5EF4-FFF2-40B4-BE49-F238E27FC236}">
                  <a16:creationId xmlns:a16="http://schemas.microsoft.com/office/drawing/2014/main" id="{A133A3BB-0B75-4FC4-A9B8-94A0937749D0}"/>
                </a:ext>
              </a:extLst>
            </p:cNvPr>
            <p:cNvSpPr>
              <a:spLocks noChangeShapeType="1"/>
            </p:cNvSpPr>
            <p:nvPr/>
          </p:nvSpPr>
          <p:spPr bwMode="auto">
            <a:xfrm>
              <a:off x="7346659" y="5398079"/>
              <a:ext cx="66544" cy="0"/>
            </a:xfrm>
            <a:prstGeom prst="line">
              <a:avLst/>
            </a:prstGeom>
            <a:noFill/>
            <a:ln w="28575" cap="sq">
              <a:solidFill>
                <a:schemeClr val="tx1">
                  <a:lumMod val="75000"/>
                  <a:lumOff val="25000"/>
                </a:scheme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fontAlgn="base">
                <a:spcBef>
                  <a:spcPct val="0"/>
                </a:spcBef>
                <a:spcAft>
                  <a:spcPct val="0"/>
                </a:spcAft>
              </a:pPr>
              <a:endParaRPr lang="zh-CN" sz="1000" b="1">
                <a:ln>
                  <a:solidFill>
                    <a:srgbClr val="878C8F"/>
                  </a:solidFill>
                </a:ln>
                <a:solidFill>
                  <a:schemeClr val="tx1"/>
                </a:solidFill>
                <a:latin typeface="Arial" panose="020B0604020202020204" pitchFamily="34" charset="0"/>
                <a:ea typeface="微软雅黑" panose="020B0503020204020204" pitchFamily="34" charset="-122"/>
              </a:endParaRPr>
            </a:p>
          </p:txBody>
        </p:sp>
        <p:sp>
          <p:nvSpPr>
            <p:cNvPr id="531" name="Line 40">
              <a:extLst>
                <a:ext uri="{FF2B5EF4-FFF2-40B4-BE49-F238E27FC236}">
                  <a16:creationId xmlns:a16="http://schemas.microsoft.com/office/drawing/2014/main" id="{3E2C6016-3ACD-4571-956F-B0105C42C975}"/>
                </a:ext>
              </a:extLst>
            </p:cNvPr>
            <p:cNvSpPr>
              <a:spLocks noChangeShapeType="1"/>
            </p:cNvSpPr>
            <p:nvPr/>
          </p:nvSpPr>
          <p:spPr bwMode="auto">
            <a:xfrm>
              <a:off x="7346659" y="5178066"/>
              <a:ext cx="66544" cy="0"/>
            </a:xfrm>
            <a:prstGeom prst="line">
              <a:avLst/>
            </a:prstGeom>
            <a:noFill/>
            <a:ln w="28575" cap="sq">
              <a:solidFill>
                <a:schemeClr val="tx1">
                  <a:lumMod val="75000"/>
                  <a:lumOff val="25000"/>
                </a:scheme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fontAlgn="base">
                <a:spcBef>
                  <a:spcPct val="0"/>
                </a:spcBef>
                <a:spcAft>
                  <a:spcPct val="0"/>
                </a:spcAft>
              </a:pPr>
              <a:endParaRPr lang="zh-CN" sz="1000" b="1">
                <a:ln>
                  <a:solidFill>
                    <a:srgbClr val="878C8F"/>
                  </a:solidFill>
                </a:ln>
                <a:solidFill>
                  <a:schemeClr val="tx1"/>
                </a:solidFill>
                <a:latin typeface="Arial" panose="020B0604020202020204" pitchFamily="34" charset="0"/>
                <a:ea typeface="微软雅黑" panose="020B0503020204020204" pitchFamily="34" charset="-122"/>
              </a:endParaRPr>
            </a:p>
          </p:txBody>
        </p:sp>
        <p:sp>
          <p:nvSpPr>
            <p:cNvPr id="532" name="Line 41">
              <a:extLst>
                <a:ext uri="{FF2B5EF4-FFF2-40B4-BE49-F238E27FC236}">
                  <a16:creationId xmlns:a16="http://schemas.microsoft.com/office/drawing/2014/main" id="{FC3A265E-EAEA-4057-90C0-9FF2A5468972}"/>
                </a:ext>
              </a:extLst>
            </p:cNvPr>
            <p:cNvSpPr>
              <a:spLocks noChangeShapeType="1"/>
            </p:cNvSpPr>
            <p:nvPr/>
          </p:nvSpPr>
          <p:spPr bwMode="auto">
            <a:xfrm>
              <a:off x="7346659" y="4738717"/>
              <a:ext cx="66544" cy="0"/>
            </a:xfrm>
            <a:prstGeom prst="line">
              <a:avLst/>
            </a:prstGeom>
            <a:noFill/>
            <a:ln w="28575" cap="sq">
              <a:solidFill>
                <a:schemeClr val="tx1">
                  <a:lumMod val="75000"/>
                  <a:lumOff val="25000"/>
                </a:scheme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fontAlgn="base">
                <a:spcBef>
                  <a:spcPct val="0"/>
                </a:spcBef>
                <a:spcAft>
                  <a:spcPct val="0"/>
                </a:spcAft>
              </a:pPr>
              <a:endParaRPr lang="zh-CN" sz="1000" b="1">
                <a:ln>
                  <a:solidFill>
                    <a:srgbClr val="878C8F"/>
                  </a:solidFill>
                </a:ln>
                <a:solidFill>
                  <a:schemeClr val="tx1"/>
                </a:solidFill>
                <a:latin typeface="Arial" panose="020B0604020202020204" pitchFamily="34" charset="0"/>
                <a:ea typeface="微软雅黑" panose="020B0503020204020204" pitchFamily="34" charset="-122"/>
              </a:endParaRPr>
            </a:p>
          </p:txBody>
        </p:sp>
        <p:sp>
          <p:nvSpPr>
            <p:cNvPr id="533" name="Line 42">
              <a:extLst>
                <a:ext uri="{FF2B5EF4-FFF2-40B4-BE49-F238E27FC236}">
                  <a16:creationId xmlns:a16="http://schemas.microsoft.com/office/drawing/2014/main" id="{E074B17B-D7BE-4AED-9DC7-1C7C6EE909EE}"/>
                </a:ext>
              </a:extLst>
            </p:cNvPr>
            <p:cNvSpPr>
              <a:spLocks noChangeShapeType="1"/>
            </p:cNvSpPr>
            <p:nvPr/>
          </p:nvSpPr>
          <p:spPr bwMode="auto">
            <a:xfrm>
              <a:off x="7346659" y="4512300"/>
              <a:ext cx="66544" cy="0"/>
            </a:xfrm>
            <a:prstGeom prst="line">
              <a:avLst/>
            </a:prstGeom>
            <a:noFill/>
            <a:ln w="28575" cap="sq">
              <a:solidFill>
                <a:schemeClr val="tx1">
                  <a:lumMod val="75000"/>
                  <a:lumOff val="25000"/>
                </a:scheme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fontAlgn="base">
                <a:spcBef>
                  <a:spcPct val="0"/>
                </a:spcBef>
                <a:spcAft>
                  <a:spcPct val="0"/>
                </a:spcAft>
              </a:pPr>
              <a:endParaRPr lang="zh-CN" sz="1000" b="1">
                <a:ln>
                  <a:solidFill>
                    <a:srgbClr val="878C8F"/>
                  </a:solidFill>
                </a:ln>
                <a:solidFill>
                  <a:schemeClr val="tx1"/>
                </a:solidFill>
                <a:latin typeface="Arial" panose="020B0604020202020204" pitchFamily="34" charset="0"/>
                <a:ea typeface="微软雅黑" panose="020B0503020204020204" pitchFamily="34" charset="-122"/>
              </a:endParaRPr>
            </a:p>
          </p:txBody>
        </p:sp>
        <p:sp>
          <p:nvSpPr>
            <p:cNvPr id="534" name="Line 43">
              <a:extLst>
                <a:ext uri="{FF2B5EF4-FFF2-40B4-BE49-F238E27FC236}">
                  <a16:creationId xmlns:a16="http://schemas.microsoft.com/office/drawing/2014/main" id="{25842DEC-BE3D-42DD-AF0D-C7E4919CA500}"/>
                </a:ext>
              </a:extLst>
            </p:cNvPr>
            <p:cNvSpPr>
              <a:spLocks noChangeShapeType="1"/>
            </p:cNvSpPr>
            <p:nvPr/>
          </p:nvSpPr>
          <p:spPr bwMode="auto">
            <a:xfrm>
              <a:off x="7346659" y="4958730"/>
              <a:ext cx="66544" cy="0"/>
            </a:xfrm>
            <a:prstGeom prst="line">
              <a:avLst/>
            </a:prstGeom>
            <a:noFill/>
            <a:ln w="28575" cap="sq">
              <a:solidFill>
                <a:schemeClr val="tx1">
                  <a:lumMod val="75000"/>
                  <a:lumOff val="25000"/>
                </a:scheme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fontAlgn="base">
                <a:spcBef>
                  <a:spcPct val="0"/>
                </a:spcBef>
                <a:spcAft>
                  <a:spcPct val="0"/>
                </a:spcAft>
              </a:pPr>
              <a:endParaRPr lang="zh-CN" sz="1000" b="1">
                <a:ln>
                  <a:solidFill>
                    <a:srgbClr val="878C8F"/>
                  </a:solidFill>
                </a:ln>
                <a:solidFill>
                  <a:schemeClr val="tx1"/>
                </a:solidFill>
                <a:latin typeface="Arial" panose="020B0604020202020204" pitchFamily="34" charset="0"/>
                <a:ea typeface="微软雅黑" panose="020B0503020204020204" pitchFamily="34" charset="-122"/>
              </a:endParaRPr>
            </a:p>
          </p:txBody>
        </p:sp>
        <p:sp>
          <p:nvSpPr>
            <p:cNvPr id="535" name="Freeform 346">
              <a:extLst>
                <a:ext uri="{FF2B5EF4-FFF2-40B4-BE49-F238E27FC236}">
                  <a16:creationId xmlns:a16="http://schemas.microsoft.com/office/drawing/2014/main" id="{D1FAAD50-FC5A-48B3-A50A-B95604D14038}"/>
                </a:ext>
              </a:extLst>
            </p:cNvPr>
            <p:cNvSpPr>
              <a:spLocks/>
            </p:cNvSpPr>
            <p:nvPr/>
          </p:nvSpPr>
          <p:spPr bwMode="auto">
            <a:xfrm>
              <a:off x="11673211" y="6006667"/>
              <a:ext cx="0" cy="40617"/>
            </a:xfrm>
            <a:custGeom>
              <a:avLst/>
              <a:gdLst>
                <a:gd name="T0" fmla="*/ 60 h 60"/>
                <a:gd name="T1" fmla="*/ 0 h 60"/>
                <a:gd name="T2" fmla="*/ 60 h 60"/>
              </a:gdLst>
              <a:ahLst/>
              <a:cxnLst>
                <a:cxn ang="0">
                  <a:pos x="0" y="T0"/>
                </a:cxn>
                <a:cxn ang="0">
                  <a:pos x="0" y="T1"/>
                </a:cxn>
                <a:cxn ang="0">
                  <a:pos x="0" y="T2"/>
                </a:cxn>
              </a:cxnLst>
              <a:rect l="0" t="0" r="r" b="b"/>
              <a:pathLst>
                <a:path h="60">
                  <a:moveTo>
                    <a:pt x="0" y="60"/>
                  </a:moveTo>
                  <a:lnTo>
                    <a:pt x="0" y="0"/>
                  </a:lnTo>
                  <a:lnTo>
                    <a:pt x="0" y="60"/>
                  </a:lnTo>
                  <a:close/>
                </a:path>
              </a:pathLst>
            </a:custGeom>
            <a:solidFill>
              <a:srgbClr val="0098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l" rtl="0" fontAlgn="base">
                <a:spcBef>
                  <a:spcPct val="0"/>
                </a:spcBef>
                <a:spcAft>
                  <a:spcPct val="0"/>
                </a:spcAft>
              </a:pPr>
              <a:endParaRPr lang="zh-CN" sz="1000" b="1">
                <a:solidFill>
                  <a:srgbClr val="504C4C"/>
                </a:solidFill>
                <a:latin typeface="Arial" panose="020B0604020202020204" pitchFamily="34" charset="0"/>
                <a:ea typeface="微软雅黑" panose="020B0503020204020204" pitchFamily="34" charset="-122"/>
                <a:cs typeface="Arial" pitchFamily="34" charset="0"/>
              </a:endParaRPr>
            </a:p>
          </p:txBody>
        </p:sp>
        <p:sp>
          <p:nvSpPr>
            <p:cNvPr id="536" name="Freeform 350">
              <a:extLst>
                <a:ext uri="{FF2B5EF4-FFF2-40B4-BE49-F238E27FC236}">
                  <a16:creationId xmlns:a16="http://schemas.microsoft.com/office/drawing/2014/main" id="{DB11B458-AE32-41C0-A55A-973861E74EA4}"/>
                </a:ext>
              </a:extLst>
            </p:cNvPr>
            <p:cNvSpPr>
              <a:spLocks/>
            </p:cNvSpPr>
            <p:nvPr/>
          </p:nvSpPr>
          <p:spPr bwMode="auto">
            <a:xfrm>
              <a:off x="11649445" y="6047285"/>
              <a:ext cx="49907" cy="0"/>
            </a:xfrm>
            <a:custGeom>
              <a:avLst/>
              <a:gdLst>
                <a:gd name="T0" fmla="*/ 0 w 42"/>
                <a:gd name="T1" fmla="*/ 42 w 42"/>
                <a:gd name="T2" fmla="*/ 0 w 42"/>
              </a:gdLst>
              <a:ahLst/>
              <a:cxnLst>
                <a:cxn ang="0">
                  <a:pos x="T0" y="0"/>
                </a:cxn>
                <a:cxn ang="0">
                  <a:pos x="T1" y="0"/>
                </a:cxn>
                <a:cxn ang="0">
                  <a:pos x="T2" y="0"/>
                </a:cxn>
              </a:cxnLst>
              <a:rect l="0" t="0" r="r" b="b"/>
              <a:pathLst>
                <a:path w="42">
                  <a:moveTo>
                    <a:pt x="0" y="0"/>
                  </a:moveTo>
                  <a:lnTo>
                    <a:pt x="42" y="0"/>
                  </a:lnTo>
                  <a:lnTo>
                    <a:pt x="0" y="0"/>
                  </a:lnTo>
                  <a:close/>
                </a:path>
              </a:pathLst>
            </a:custGeom>
            <a:solidFill>
              <a:srgbClr val="0098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l" rtl="0" fontAlgn="base">
                <a:spcBef>
                  <a:spcPct val="0"/>
                </a:spcBef>
                <a:spcAft>
                  <a:spcPct val="0"/>
                </a:spcAft>
              </a:pPr>
              <a:endParaRPr lang="zh-CN" sz="1000" b="1">
                <a:latin typeface="Arial" panose="020B0604020202020204" pitchFamily="34" charset="0"/>
                <a:ea typeface="微软雅黑" panose="020B0503020204020204" pitchFamily="34" charset="-122"/>
                <a:cs typeface="Arial" pitchFamily="34" charset="0"/>
              </a:endParaRPr>
            </a:p>
          </p:txBody>
        </p:sp>
        <p:sp>
          <p:nvSpPr>
            <p:cNvPr id="537" name="Freeform 388">
              <a:extLst>
                <a:ext uri="{FF2B5EF4-FFF2-40B4-BE49-F238E27FC236}">
                  <a16:creationId xmlns:a16="http://schemas.microsoft.com/office/drawing/2014/main" id="{E31B91F6-0AC1-4592-BFF4-7F12A9E1018C}"/>
                </a:ext>
              </a:extLst>
            </p:cNvPr>
            <p:cNvSpPr>
              <a:spLocks/>
            </p:cNvSpPr>
            <p:nvPr/>
          </p:nvSpPr>
          <p:spPr bwMode="auto">
            <a:xfrm>
              <a:off x="11673211" y="6012083"/>
              <a:ext cx="0" cy="29786"/>
            </a:xfrm>
            <a:custGeom>
              <a:avLst/>
              <a:gdLst>
                <a:gd name="T0" fmla="*/ 44 h 44"/>
                <a:gd name="T1" fmla="*/ 0 h 44"/>
                <a:gd name="T2" fmla="*/ 44 h 44"/>
              </a:gdLst>
              <a:ahLst/>
              <a:cxnLst>
                <a:cxn ang="0">
                  <a:pos x="0" y="T0"/>
                </a:cxn>
                <a:cxn ang="0">
                  <a:pos x="0" y="T1"/>
                </a:cxn>
                <a:cxn ang="0">
                  <a:pos x="0" y="T2"/>
                </a:cxn>
              </a:cxnLst>
              <a:rect l="0" t="0" r="r" b="b"/>
              <a:pathLst>
                <a:path h="44">
                  <a:moveTo>
                    <a:pt x="0" y="44"/>
                  </a:moveTo>
                  <a:lnTo>
                    <a:pt x="0" y="0"/>
                  </a:lnTo>
                  <a:lnTo>
                    <a:pt x="0" y="44"/>
                  </a:lnTo>
                  <a:close/>
                </a:path>
              </a:pathLst>
            </a:custGeom>
            <a:solidFill>
              <a:srgbClr val="0098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l" rtl="0" fontAlgn="base">
                <a:spcBef>
                  <a:spcPct val="0"/>
                </a:spcBef>
                <a:spcAft>
                  <a:spcPct val="0"/>
                </a:spcAft>
              </a:pPr>
              <a:endParaRPr lang="zh-CN" sz="1000" b="1">
                <a:solidFill>
                  <a:srgbClr val="504C4C"/>
                </a:solidFill>
                <a:latin typeface="Arial" panose="020B0604020202020204" pitchFamily="34" charset="0"/>
                <a:ea typeface="微软雅黑" panose="020B0503020204020204" pitchFamily="34" charset="-122"/>
                <a:cs typeface="Arial" pitchFamily="34" charset="0"/>
              </a:endParaRPr>
            </a:p>
          </p:txBody>
        </p:sp>
        <p:sp>
          <p:nvSpPr>
            <p:cNvPr id="538" name="Freeform 392">
              <a:extLst>
                <a:ext uri="{FF2B5EF4-FFF2-40B4-BE49-F238E27FC236}">
                  <a16:creationId xmlns:a16="http://schemas.microsoft.com/office/drawing/2014/main" id="{854F7612-BB35-4A8B-951C-D051EE7B338D}"/>
                </a:ext>
              </a:extLst>
            </p:cNvPr>
            <p:cNvSpPr>
              <a:spLocks/>
            </p:cNvSpPr>
            <p:nvPr/>
          </p:nvSpPr>
          <p:spPr bwMode="auto">
            <a:xfrm>
              <a:off x="11647068" y="6041869"/>
              <a:ext cx="52285" cy="0"/>
            </a:xfrm>
            <a:custGeom>
              <a:avLst/>
              <a:gdLst>
                <a:gd name="T0" fmla="*/ 0 w 44"/>
                <a:gd name="T1" fmla="*/ 44 w 44"/>
                <a:gd name="T2" fmla="*/ 0 w 44"/>
              </a:gdLst>
              <a:ahLst/>
              <a:cxnLst>
                <a:cxn ang="0">
                  <a:pos x="T0" y="0"/>
                </a:cxn>
                <a:cxn ang="0">
                  <a:pos x="T1" y="0"/>
                </a:cxn>
                <a:cxn ang="0">
                  <a:pos x="T2" y="0"/>
                </a:cxn>
              </a:cxnLst>
              <a:rect l="0" t="0" r="r" b="b"/>
              <a:pathLst>
                <a:path w="44">
                  <a:moveTo>
                    <a:pt x="0" y="0"/>
                  </a:moveTo>
                  <a:lnTo>
                    <a:pt x="44" y="0"/>
                  </a:lnTo>
                  <a:lnTo>
                    <a:pt x="0" y="0"/>
                  </a:lnTo>
                  <a:close/>
                </a:path>
              </a:pathLst>
            </a:custGeom>
            <a:solidFill>
              <a:srgbClr val="0098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l" rtl="0" fontAlgn="base">
                <a:spcBef>
                  <a:spcPct val="0"/>
                </a:spcBef>
                <a:spcAft>
                  <a:spcPct val="0"/>
                </a:spcAft>
              </a:pPr>
              <a:endParaRPr lang="zh-CN" sz="1000" b="1">
                <a:solidFill>
                  <a:srgbClr val="504C4C"/>
                </a:solidFill>
                <a:latin typeface="Arial" panose="020B0604020202020204" pitchFamily="34" charset="0"/>
                <a:ea typeface="微软雅黑" panose="020B0503020204020204" pitchFamily="34" charset="-122"/>
                <a:cs typeface="Arial" pitchFamily="34" charset="0"/>
              </a:endParaRPr>
            </a:p>
          </p:txBody>
        </p:sp>
        <p:sp>
          <p:nvSpPr>
            <p:cNvPr id="539" name="TextBox 67">
              <a:extLst>
                <a:ext uri="{FF2B5EF4-FFF2-40B4-BE49-F238E27FC236}">
                  <a16:creationId xmlns:a16="http://schemas.microsoft.com/office/drawing/2014/main" id="{CC96B3B9-B14C-47E3-871B-460CA51AE690}"/>
                </a:ext>
              </a:extLst>
            </p:cNvPr>
            <p:cNvSpPr txBox="1"/>
            <p:nvPr/>
          </p:nvSpPr>
          <p:spPr bwMode="auto">
            <a:xfrm>
              <a:off x="6845202" y="5995327"/>
              <a:ext cx="534729" cy="122057"/>
            </a:xfrm>
            <a:prstGeom prst="rect">
              <a:avLst/>
            </a:prstGeom>
            <a:noFill/>
            <a:ln w="9525">
              <a:noFill/>
              <a:miter lim="800000"/>
              <a:headEnd/>
              <a:tailEnd/>
            </a:ln>
            <a:effectLst/>
          </p:spPr>
          <p:txBody>
            <a:bodyPr vert="horz" wrap="square" lIns="91440" tIns="45720" rIns="91440" bIns="45720" numCol="1" rtlCol="0" anchor="ctr" anchorCtr="0" compatLnSpc="1">
              <a:prstTxWarp prst="textNoShape">
                <a:avLst/>
              </a:prstTxWarp>
              <a:spAutoFit/>
            </a:bodyPr>
            <a:lstStyle/>
            <a:p>
              <a:pPr algn="r" rtl="0" fontAlgn="base">
                <a:spcBef>
                  <a:spcPct val="0"/>
                </a:spcBef>
                <a:spcAft>
                  <a:spcPct val="0"/>
                </a:spcAft>
              </a:pPr>
              <a:r>
                <a:rPr lang="zh-CN" sz="1000" b="0" i="0" u="none" baseline="0" dirty="0">
                  <a:latin typeface="Arial" panose="020B0604020202020204" pitchFamily="34" charset="0"/>
                  <a:ea typeface="微软雅黑" panose="020B0503020204020204" pitchFamily="34" charset="-122"/>
                  <a:cs typeface="Arial" pitchFamily="34" charset="0"/>
                </a:rPr>
                <a:t>–100</a:t>
              </a:r>
            </a:p>
          </p:txBody>
        </p:sp>
        <p:sp>
          <p:nvSpPr>
            <p:cNvPr id="540" name="TextBox 68">
              <a:extLst>
                <a:ext uri="{FF2B5EF4-FFF2-40B4-BE49-F238E27FC236}">
                  <a16:creationId xmlns:a16="http://schemas.microsoft.com/office/drawing/2014/main" id="{73BB0C9C-8D08-4F42-B727-FBC16BB2628A}"/>
                </a:ext>
              </a:extLst>
            </p:cNvPr>
            <p:cNvSpPr txBox="1"/>
            <p:nvPr/>
          </p:nvSpPr>
          <p:spPr bwMode="auto">
            <a:xfrm>
              <a:off x="6845202" y="5774098"/>
              <a:ext cx="534729" cy="122057"/>
            </a:xfrm>
            <a:prstGeom prst="rect">
              <a:avLst/>
            </a:prstGeom>
            <a:noFill/>
            <a:ln w="9525">
              <a:noFill/>
              <a:miter lim="800000"/>
              <a:headEnd/>
              <a:tailEnd/>
            </a:ln>
            <a:effectLst/>
          </p:spPr>
          <p:txBody>
            <a:bodyPr vert="horz" wrap="square" lIns="91440" tIns="45720" rIns="91440" bIns="45720" numCol="1" rtlCol="0" anchor="ctr" anchorCtr="0" compatLnSpc="1">
              <a:prstTxWarp prst="textNoShape">
                <a:avLst/>
              </a:prstTxWarp>
              <a:spAutoFit/>
            </a:bodyPr>
            <a:lstStyle/>
            <a:p>
              <a:pPr algn="r" rtl="0" fontAlgn="base">
                <a:spcBef>
                  <a:spcPct val="0"/>
                </a:spcBef>
                <a:spcAft>
                  <a:spcPct val="0"/>
                </a:spcAft>
              </a:pPr>
              <a:r>
                <a:rPr lang="zh-CN" sz="1000" b="0" i="0" u="none" baseline="0">
                  <a:latin typeface="Arial" panose="020B0604020202020204" pitchFamily="34" charset="0"/>
                  <a:ea typeface="微软雅黑" panose="020B0503020204020204" pitchFamily="34" charset="-122"/>
                  <a:cs typeface="Arial" pitchFamily="34" charset="0"/>
                </a:rPr>
                <a:t>–50</a:t>
              </a:r>
            </a:p>
          </p:txBody>
        </p:sp>
        <p:sp>
          <p:nvSpPr>
            <p:cNvPr id="541" name="TextBox 69">
              <a:extLst>
                <a:ext uri="{FF2B5EF4-FFF2-40B4-BE49-F238E27FC236}">
                  <a16:creationId xmlns:a16="http://schemas.microsoft.com/office/drawing/2014/main" id="{6E73862B-2717-48FA-926D-2D58C5E9D9AA}"/>
                </a:ext>
              </a:extLst>
            </p:cNvPr>
            <p:cNvSpPr txBox="1"/>
            <p:nvPr/>
          </p:nvSpPr>
          <p:spPr bwMode="auto">
            <a:xfrm>
              <a:off x="6845202" y="5557469"/>
              <a:ext cx="534729" cy="122057"/>
            </a:xfrm>
            <a:prstGeom prst="rect">
              <a:avLst/>
            </a:prstGeom>
            <a:noFill/>
            <a:ln w="9525">
              <a:noFill/>
              <a:miter lim="800000"/>
              <a:headEnd/>
              <a:tailEnd/>
            </a:ln>
            <a:effectLst/>
          </p:spPr>
          <p:txBody>
            <a:bodyPr vert="horz" wrap="square" lIns="91440" tIns="45720" rIns="91440" bIns="45720" numCol="1" rtlCol="0" anchor="ctr" anchorCtr="0" compatLnSpc="1">
              <a:prstTxWarp prst="textNoShape">
                <a:avLst/>
              </a:prstTxWarp>
              <a:spAutoFit/>
            </a:bodyPr>
            <a:lstStyle/>
            <a:p>
              <a:pPr algn="r" rtl="0" fontAlgn="base">
                <a:spcBef>
                  <a:spcPct val="0"/>
                </a:spcBef>
                <a:spcAft>
                  <a:spcPct val="0"/>
                </a:spcAft>
              </a:pPr>
              <a:r>
                <a:rPr lang="zh-CN" sz="1000" b="0" i="0" u="none" baseline="0">
                  <a:latin typeface="Arial" panose="020B0604020202020204" pitchFamily="34" charset="0"/>
                  <a:ea typeface="微软雅黑" panose="020B0503020204020204" pitchFamily="34" charset="-122"/>
                  <a:cs typeface="Arial" pitchFamily="34" charset="0"/>
                </a:rPr>
                <a:t>0</a:t>
              </a:r>
            </a:p>
          </p:txBody>
        </p:sp>
        <p:sp>
          <p:nvSpPr>
            <p:cNvPr id="542" name="TextBox 70">
              <a:extLst>
                <a:ext uri="{FF2B5EF4-FFF2-40B4-BE49-F238E27FC236}">
                  <a16:creationId xmlns:a16="http://schemas.microsoft.com/office/drawing/2014/main" id="{3498CC9F-1DA8-4E1E-9B92-BA2D720E9E1F}"/>
                </a:ext>
              </a:extLst>
            </p:cNvPr>
            <p:cNvSpPr txBox="1"/>
            <p:nvPr/>
          </p:nvSpPr>
          <p:spPr bwMode="auto">
            <a:xfrm>
              <a:off x="6845202" y="5336241"/>
              <a:ext cx="534729" cy="122057"/>
            </a:xfrm>
            <a:prstGeom prst="rect">
              <a:avLst/>
            </a:prstGeom>
            <a:noFill/>
            <a:ln w="9525">
              <a:noFill/>
              <a:miter lim="800000"/>
              <a:headEnd/>
              <a:tailEnd/>
            </a:ln>
            <a:effectLst/>
          </p:spPr>
          <p:txBody>
            <a:bodyPr vert="horz" wrap="square" lIns="91440" tIns="45720" rIns="91440" bIns="45720" numCol="1" rtlCol="0" anchor="ctr" anchorCtr="0" compatLnSpc="1">
              <a:prstTxWarp prst="textNoShape">
                <a:avLst/>
              </a:prstTxWarp>
              <a:spAutoFit/>
            </a:bodyPr>
            <a:lstStyle/>
            <a:p>
              <a:pPr algn="r" rtl="0" fontAlgn="base">
                <a:spcBef>
                  <a:spcPct val="0"/>
                </a:spcBef>
                <a:spcAft>
                  <a:spcPct val="0"/>
                </a:spcAft>
              </a:pPr>
              <a:r>
                <a:rPr lang="zh-CN" sz="1000" b="0" i="0" u="none" baseline="0">
                  <a:latin typeface="Arial" panose="020B0604020202020204" pitchFamily="34" charset="0"/>
                  <a:ea typeface="微软雅黑" panose="020B0503020204020204" pitchFamily="34" charset="-122"/>
                  <a:cs typeface="Arial" pitchFamily="34" charset="0"/>
                </a:rPr>
                <a:t>50</a:t>
              </a:r>
            </a:p>
          </p:txBody>
        </p:sp>
        <p:sp>
          <p:nvSpPr>
            <p:cNvPr id="543" name="TextBox 71">
              <a:extLst>
                <a:ext uri="{FF2B5EF4-FFF2-40B4-BE49-F238E27FC236}">
                  <a16:creationId xmlns:a16="http://schemas.microsoft.com/office/drawing/2014/main" id="{C7BE07BF-F237-4F62-AA5A-F88956E3363C}"/>
                </a:ext>
              </a:extLst>
            </p:cNvPr>
            <p:cNvSpPr txBox="1"/>
            <p:nvPr/>
          </p:nvSpPr>
          <p:spPr bwMode="auto">
            <a:xfrm>
              <a:off x="6845202" y="5118252"/>
              <a:ext cx="534729" cy="122057"/>
            </a:xfrm>
            <a:prstGeom prst="rect">
              <a:avLst/>
            </a:prstGeom>
            <a:noFill/>
            <a:ln w="9525">
              <a:noFill/>
              <a:miter lim="800000"/>
              <a:headEnd/>
              <a:tailEnd/>
            </a:ln>
            <a:effectLst/>
          </p:spPr>
          <p:txBody>
            <a:bodyPr vert="horz" wrap="square" lIns="91440" tIns="45720" rIns="91440" bIns="45720" numCol="1" rtlCol="0" anchor="ctr" anchorCtr="0" compatLnSpc="1">
              <a:prstTxWarp prst="textNoShape">
                <a:avLst/>
              </a:prstTxWarp>
              <a:spAutoFit/>
            </a:bodyPr>
            <a:lstStyle/>
            <a:p>
              <a:pPr algn="r" rtl="0" fontAlgn="base">
                <a:spcBef>
                  <a:spcPct val="0"/>
                </a:spcBef>
                <a:spcAft>
                  <a:spcPct val="0"/>
                </a:spcAft>
              </a:pPr>
              <a:r>
                <a:rPr lang="zh-CN" sz="1000" b="0" i="0" u="none" baseline="0">
                  <a:latin typeface="Arial" panose="020B0604020202020204" pitchFamily="34" charset="0"/>
                  <a:ea typeface="微软雅黑" panose="020B0503020204020204" pitchFamily="34" charset="-122"/>
                  <a:cs typeface="Arial" pitchFamily="34" charset="0"/>
                </a:rPr>
                <a:t>100</a:t>
              </a:r>
            </a:p>
          </p:txBody>
        </p:sp>
        <p:sp>
          <p:nvSpPr>
            <p:cNvPr id="544" name="TextBox 72">
              <a:extLst>
                <a:ext uri="{FF2B5EF4-FFF2-40B4-BE49-F238E27FC236}">
                  <a16:creationId xmlns:a16="http://schemas.microsoft.com/office/drawing/2014/main" id="{F75C3B01-89B8-4045-A5DB-E34738F8F1DF}"/>
                </a:ext>
              </a:extLst>
            </p:cNvPr>
            <p:cNvSpPr txBox="1"/>
            <p:nvPr/>
          </p:nvSpPr>
          <p:spPr bwMode="auto">
            <a:xfrm>
              <a:off x="6845202" y="4897024"/>
              <a:ext cx="534729" cy="122057"/>
            </a:xfrm>
            <a:prstGeom prst="rect">
              <a:avLst/>
            </a:prstGeom>
            <a:noFill/>
            <a:ln w="9525">
              <a:noFill/>
              <a:miter lim="800000"/>
              <a:headEnd/>
              <a:tailEnd/>
            </a:ln>
            <a:effectLst/>
          </p:spPr>
          <p:txBody>
            <a:bodyPr vert="horz" wrap="square" lIns="91440" tIns="45720" rIns="91440" bIns="45720" numCol="1" rtlCol="0" anchor="ctr" anchorCtr="0" compatLnSpc="1">
              <a:prstTxWarp prst="textNoShape">
                <a:avLst/>
              </a:prstTxWarp>
              <a:spAutoFit/>
            </a:bodyPr>
            <a:lstStyle/>
            <a:p>
              <a:pPr algn="r" rtl="0" fontAlgn="base">
                <a:spcBef>
                  <a:spcPct val="0"/>
                </a:spcBef>
                <a:spcAft>
                  <a:spcPct val="0"/>
                </a:spcAft>
              </a:pPr>
              <a:r>
                <a:rPr lang="zh-CN" sz="1000" b="0" i="0" u="none" baseline="0">
                  <a:latin typeface="Arial" panose="020B0604020202020204" pitchFamily="34" charset="0"/>
                  <a:ea typeface="微软雅黑" panose="020B0503020204020204" pitchFamily="34" charset="-122"/>
                  <a:cs typeface="Arial" pitchFamily="34" charset="0"/>
                </a:rPr>
                <a:t>150</a:t>
              </a:r>
            </a:p>
          </p:txBody>
        </p:sp>
        <p:sp>
          <p:nvSpPr>
            <p:cNvPr id="545" name="TextBox 73">
              <a:extLst>
                <a:ext uri="{FF2B5EF4-FFF2-40B4-BE49-F238E27FC236}">
                  <a16:creationId xmlns:a16="http://schemas.microsoft.com/office/drawing/2014/main" id="{1FA1CCA2-A120-4B2B-817E-61810088D6BB}"/>
                </a:ext>
              </a:extLst>
            </p:cNvPr>
            <p:cNvSpPr txBox="1"/>
            <p:nvPr/>
          </p:nvSpPr>
          <p:spPr bwMode="auto">
            <a:xfrm>
              <a:off x="6845202" y="4678906"/>
              <a:ext cx="534729" cy="122057"/>
            </a:xfrm>
            <a:prstGeom prst="rect">
              <a:avLst/>
            </a:prstGeom>
            <a:noFill/>
            <a:ln w="9525">
              <a:noFill/>
              <a:miter lim="800000"/>
              <a:headEnd/>
              <a:tailEnd/>
            </a:ln>
            <a:effectLst/>
          </p:spPr>
          <p:txBody>
            <a:bodyPr vert="horz" wrap="square" lIns="91440" tIns="45720" rIns="91440" bIns="45720" numCol="1" rtlCol="0" anchor="ctr" anchorCtr="0" compatLnSpc="1">
              <a:prstTxWarp prst="textNoShape">
                <a:avLst/>
              </a:prstTxWarp>
              <a:spAutoFit/>
            </a:bodyPr>
            <a:lstStyle/>
            <a:p>
              <a:pPr algn="r" rtl="0" fontAlgn="base">
                <a:spcBef>
                  <a:spcPct val="0"/>
                </a:spcBef>
                <a:spcAft>
                  <a:spcPct val="0"/>
                </a:spcAft>
              </a:pPr>
              <a:r>
                <a:rPr lang="zh-CN" sz="1000" b="0" i="0" u="none" baseline="0">
                  <a:latin typeface="Arial" panose="020B0604020202020204" pitchFamily="34" charset="0"/>
                  <a:ea typeface="微软雅黑" panose="020B0503020204020204" pitchFamily="34" charset="-122"/>
                  <a:cs typeface="Arial" pitchFamily="34" charset="0"/>
                </a:rPr>
                <a:t>200</a:t>
              </a:r>
            </a:p>
          </p:txBody>
        </p:sp>
        <p:sp>
          <p:nvSpPr>
            <p:cNvPr id="546" name="TextBox 74">
              <a:extLst>
                <a:ext uri="{FF2B5EF4-FFF2-40B4-BE49-F238E27FC236}">
                  <a16:creationId xmlns:a16="http://schemas.microsoft.com/office/drawing/2014/main" id="{49FDAA1F-71FB-497E-A9F2-B0195B0E9EAE}"/>
                </a:ext>
              </a:extLst>
            </p:cNvPr>
            <p:cNvSpPr txBox="1"/>
            <p:nvPr/>
          </p:nvSpPr>
          <p:spPr bwMode="auto">
            <a:xfrm>
              <a:off x="6845202" y="4450981"/>
              <a:ext cx="534729" cy="122057"/>
            </a:xfrm>
            <a:prstGeom prst="rect">
              <a:avLst/>
            </a:prstGeom>
            <a:noFill/>
            <a:ln w="9525">
              <a:noFill/>
              <a:miter lim="800000"/>
              <a:headEnd/>
              <a:tailEnd/>
            </a:ln>
            <a:effectLst/>
          </p:spPr>
          <p:txBody>
            <a:bodyPr vert="horz" wrap="square" lIns="91440" tIns="45720" rIns="91440" bIns="45720" numCol="1" rtlCol="0" anchor="ctr" anchorCtr="0" compatLnSpc="1">
              <a:prstTxWarp prst="textNoShape">
                <a:avLst/>
              </a:prstTxWarp>
              <a:spAutoFit/>
            </a:bodyPr>
            <a:lstStyle/>
            <a:p>
              <a:pPr algn="r" rtl="0" fontAlgn="base">
                <a:spcBef>
                  <a:spcPct val="0"/>
                </a:spcBef>
                <a:spcAft>
                  <a:spcPct val="0"/>
                </a:spcAft>
              </a:pPr>
              <a:r>
                <a:rPr lang="zh-CN" sz="1000" b="0" i="0" u="none" baseline="0">
                  <a:latin typeface="Arial" panose="020B0604020202020204" pitchFamily="34" charset="0"/>
                  <a:ea typeface="微软雅黑" panose="020B0503020204020204" pitchFamily="34" charset="-122"/>
                  <a:cs typeface="Arial" pitchFamily="34" charset="0"/>
                </a:rPr>
                <a:t>250</a:t>
              </a:r>
            </a:p>
          </p:txBody>
        </p:sp>
        <p:sp>
          <p:nvSpPr>
            <p:cNvPr id="547" name="TextBox 75">
              <a:extLst>
                <a:ext uri="{FF2B5EF4-FFF2-40B4-BE49-F238E27FC236}">
                  <a16:creationId xmlns:a16="http://schemas.microsoft.com/office/drawing/2014/main" id="{7D93872F-21BE-456D-823C-E91505920AB9}"/>
                </a:ext>
              </a:extLst>
            </p:cNvPr>
            <p:cNvSpPr txBox="1"/>
            <p:nvPr/>
          </p:nvSpPr>
          <p:spPr bwMode="auto">
            <a:xfrm>
              <a:off x="7507089" y="6227048"/>
              <a:ext cx="4419238" cy="122057"/>
            </a:xfrm>
            <a:prstGeom prst="rect">
              <a:avLst/>
            </a:prstGeom>
            <a:noFill/>
            <a:ln w="9525">
              <a:noFill/>
              <a:miter lim="800000"/>
              <a:headEnd/>
              <a:tailEnd/>
            </a:ln>
            <a:effectLst/>
          </p:spPr>
          <p:txBody>
            <a:bodyPr vert="horz" wrap="square" lIns="91440" tIns="45720" rIns="91440" bIns="45720" numCol="1" rtlCol="0" anchor="ctr" anchorCtr="0" compatLnSpc="1">
              <a:prstTxWarp prst="textNoShape">
                <a:avLst/>
              </a:prstTxWarp>
              <a:spAutoFit/>
            </a:bodyPr>
            <a:lstStyle/>
            <a:p>
              <a:pPr algn="ctr" rtl="0" fontAlgn="base">
                <a:spcBef>
                  <a:spcPct val="0"/>
                </a:spcBef>
                <a:spcAft>
                  <a:spcPct val="0"/>
                </a:spcAft>
              </a:pPr>
              <a:r>
                <a:rPr lang="zh-CN" altLang="en-US" sz="1000" b="0" i="0" u="none" baseline="0" dirty="0">
                  <a:latin typeface="Arial" panose="020B0604020202020204" pitchFamily="34" charset="0"/>
                  <a:ea typeface="微软雅黑" panose="020B0503020204020204" pitchFamily="34" charset="-122"/>
                  <a:cs typeface="Arial" pitchFamily="34" charset="0"/>
                </a:rPr>
                <a:t>时间（</a:t>
              </a:r>
              <a:r>
                <a:rPr lang="zh-CN" sz="1000" b="0" i="0" u="none" baseline="0" dirty="0">
                  <a:latin typeface="Arial" panose="020B0604020202020204" pitchFamily="34" charset="0"/>
                  <a:ea typeface="微软雅黑" panose="020B0503020204020204" pitchFamily="34" charset="-122"/>
                  <a:cs typeface="Arial" pitchFamily="34" charset="0"/>
                </a:rPr>
                <a:t>月</a:t>
              </a:r>
              <a:r>
                <a:rPr lang="zh-CN" altLang="en-US" sz="1000" b="0" i="0" u="none" baseline="0" dirty="0">
                  <a:latin typeface="Arial" panose="020B0604020202020204" pitchFamily="34" charset="0"/>
                  <a:ea typeface="微软雅黑" panose="020B0503020204020204" pitchFamily="34" charset="-122"/>
                  <a:cs typeface="Arial" pitchFamily="34" charset="0"/>
                </a:rPr>
                <a:t>数）</a:t>
              </a:r>
              <a:endParaRPr lang="zh-CN" sz="1000" b="0" i="0" u="none" baseline="0" dirty="0">
                <a:latin typeface="Arial" panose="020B0604020202020204" pitchFamily="34" charset="0"/>
                <a:ea typeface="微软雅黑" panose="020B0503020204020204" pitchFamily="34" charset="-122"/>
                <a:cs typeface="Arial" pitchFamily="34" charset="0"/>
              </a:endParaRPr>
            </a:p>
          </p:txBody>
        </p:sp>
        <p:sp>
          <p:nvSpPr>
            <p:cNvPr id="548" name="TextBox 76">
              <a:extLst>
                <a:ext uri="{FF2B5EF4-FFF2-40B4-BE49-F238E27FC236}">
                  <a16:creationId xmlns:a16="http://schemas.microsoft.com/office/drawing/2014/main" id="{15334C86-81F3-48B3-A65E-FA630E399812}"/>
                </a:ext>
              </a:extLst>
            </p:cNvPr>
            <p:cNvSpPr txBox="1"/>
            <p:nvPr/>
          </p:nvSpPr>
          <p:spPr bwMode="auto">
            <a:xfrm rot="16200000">
              <a:off x="6117063" y="5078225"/>
              <a:ext cx="1627874" cy="245494"/>
            </a:xfrm>
            <a:prstGeom prst="rect">
              <a:avLst/>
            </a:prstGeom>
            <a:noFill/>
            <a:ln w="9525">
              <a:noFill/>
              <a:miter lim="800000"/>
              <a:headEnd/>
              <a:tailEnd/>
            </a:ln>
            <a:effectLst/>
          </p:spPr>
          <p:txBody>
            <a:bodyPr vert="horz" wrap="square" lIns="91440" tIns="45720" rIns="91440" bIns="45720" numCol="1" rtlCol="0" anchor="ctr" anchorCtr="0" compatLnSpc="1">
              <a:prstTxWarp prst="textNoShape">
                <a:avLst/>
              </a:prstTxWarp>
              <a:spAutoFit/>
            </a:bodyPr>
            <a:lstStyle/>
            <a:p>
              <a:pPr algn="ctr" rtl="0" fontAlgn="base">
                <a:spcBef>
                  <a:spcPct val="0"/>
                </a:spcBef>
                <a:spcAft>
                  <a:spcPct val="0"/>
                </a:spcAft>
              </a:pPr>
              <a:r>
                <a:rPr lang="zh-CN" sz="1000" b="0" i="0" u="none" baseline="0" dirty="0">
                  <a:solidFill>
                    <a:srgbClr val="1A1918"/>
                  </a:solidFill>
                  <a:latin typeface="Arial" panose="020B0604020202020204" pitchFamily="34" charset="0"/>
                  <a:ea typeface="微软雅黑" panose="020B0503020204020204" pitchFamily="34" charset="-122"/>
                  <a:cs typeface="Arial" pitchFamily="34" charset="0"/>
                </a:rPr>
                <a:t>平均变化百分比（95% CI）</a:t>
              </a:r>
              <a:endParaRPr lang="zh-CN" sz="1000" dirty="0">
                <a:solidFill>
                  <a:srgbClr val="1A1918"/>
                </a:solidFill>
                <a:latin typeface="Arial" panose="020B0604020202020204" pitchFamily="34" charset="0"/>
                <a:ea typeface="微软雅黑" panose="020B0503020204020204" pitchFamily="34" charset="-122"/>
                <a:cs typeface="Arial" pitchFamily="34" charset="0"/>
              </a:endParaRPr>
            </a:p>
          </p:txBody>
        </p:sp>
        <p:sp>
          <p:nvSpPr>
            <p:cNvPr id="549" name="TextBox 77">
              <a:extLst>
                <a:ext uri="{FF2B5EF4-FFF2-40B4-BE49-F238E27FC236}">
                  <a16:creationId xmlns:a16="http://schemas.microsoft.com/office/drawing/2014/main" id="{34F42900-CAF0-4CAF-9C00-18B734EE0F3C}"/>
                </a:ext>
              </a:extLst>
            </p:cNvPr>
            <p:cNvSpPr txBox="1"/>
            <p:nvPr/>
          </p:nvSpPr>
          <p:spPr bwMode="auto">
            <a:xfrm>
              <a:off x="7988213" y="4388354"/>
              <a:ext cx="2374174" cy="120388"/>
            </a:xfrm>
            <a:prstGeom prst="rect">
              <a:avLst/>
            </a:prstGeom>
            <a:noFill/>
            <a:ln w="9525">
              <a:noFill/>
              <a:miter lim="800000"/>
              <a:headEnd/>
              <a:tailEnd/>
            </a:ln>
            <a:effectLst/>
          </p:spPr>
          <p:txBody>
            <a:bodyPr vert="horz" wrap="square" lIns="91440" tIns="45720" rIns="91440" bIns="45720" numCol="1" rtlCol="0" anchor="ctr" anchorCtr="0" compatLnSpc="1">
              <a:prstTxWarp prst="textNoShape">
                <a:avLst/>
              </a:prstTxWarp>
              <a:spAutoFit/>
            </a:bodyPr>
            <a:lstStyle/>
            <a:p>
              <a:pPr algn="l" rtl="0" fontAlgn="base">
                <a:spcBef>
                  <a:spcPct val="0"/>
                </a:spcBef>
                <a:spcAft>
                  <a:spcPct val="0"/>
                </a:spcAft>
              </a:pPr>
              <a:r>
                <a:rPr lang="zh-CN" sz="1000" b="0" i="0" u="none" baseline="0" dirty="0">
                  <a:solidFill>
                    <a:srgbClr val="1A1918"/>
                  </a:solidFill>
                  <a:latin typeface="Arial" panose="020B0604020202020204" pitchFamily="34" charset="0"/>
                  <a:ea typeface="微软雅黑" panose="020B0503020204020204" pitchFamily="34" charset="-122"/>
                  <a:cs typeface="Arial" pitchFamily="34" charset="0"/>
                </a:rPr>
                <a:t>减量阶段</a:t>
              </a:r>
              <a:r>
                <a:rPr lang="zh-CN" sz="1000" b="0" i="0" u="none" baseline="30000" dirty="0">
                  <a:solidFill>
                    <a:srgbClr val="1A1918"/>
                  </a:solidFill>
                  <a:latin typeface="Arial" panose="020B0604020202020204" pitchFamily="34" charset="0"/>
                  <a:ea typeface="微软雅黑" panose="020B0503020204020204" pitchFamily="34" charset="-122"/>
                  <a:cs typeface="Arial" pitchFamily="34" charset="0"/>
                </a:rPr>
                <a:t>†</a:t>
              </a:r>
              <a:endParaRPr lang="zh-CN" sz="1000" baseline="30000" dirty="0">
                <a:solidFill>
                  <a:srgbClr val="1A1918"/>
                </a:solidFill>
                <a:latin typeface="Arial" panose="020B0604020202020204" pitchFamily="34" charset="0"/>
                <a:ea typeface="微软雅黑" panose="020B0503020204020204" pitchFamily="34" charset="-122"/>
                <a:cs typeface="Arial" pitchFamily="34" charset="0"/>
              </a:endParaRPr>
            </a:p>
          </p:txBody>
        </p:sp>
        <p:sp>
          <p:nvSpPr>
            <p:cNvPr id="550" name="TextBox 78">
              <a:extLst>
                <a:ext uri="{FF2B5EF4-FFF2-40B4-BE49-F238E27FC236}">
                  <a16:creationId xmlns:a16="http://schemas.microsoft.com/office/drawing/2014/main" id="{FF51DD4D-76EF-43B3-AC95-47EECF19FCB1}"/>
                </a:ext>
              </a:extLst>
            </p:cNvPr>
            <p:cNvSpPr txBox="1"/>
            <p:nvPr/>
          </p:nvSpPr>
          <p:spPr bwMode="auto">
            <a:xfrm>
              <a:off x="11459782" y="6247924"/>
              <a:ext cx="547532" cy="120388"/>
            </a:xfrm>
            <a:prstGeom prst="rect">
              <a:avLst/>
            </a:prstGeom>
            <a:noFill/>
            <a:ln w="9525">
              <a:noFill/>
              <a:miter lim="800000"/>
              <a:headEnd/>
              <a:tailEnd/>
            </a:ln>
            <a:effectLst/>
          </p:spPr>
          <p:txBody>
            <a:bodyPr vert="horz" wrap="square" lIns="91440" tIns="45720" rIns="91440" bIns="45720" numCol="1" rtlCol="0" anchor="ctr" anchorCtr="0" compatLnSpc="1">
              <a:prstTxWarp prst="textNoShape">
                <a:avLst/>
              </a:prstTxWarp>
              <a:spAutoFit/>
            </a:bodyPr>
            <a:lstStyle/>
            <a:p>
              <a:pPr algn="r" rtl="0" fontAlgn="base">
                <a:spcBef>
                  <a:spcPct val="0"/>
                </a:spcBef>
                <a:spcAft>
                  <a:spcPct val="0"/>
                </a:spcAft>
              </a:pPr>
              <a:r>
                <a:rPr lang="zh-CN" sz="1000" b="0" i="0" u="none" baseline="0" dirty="0">
                  <a:latin typeface="Arial" panose="020B0604020202020204" pitchFamily="34" charset="0"/>
                  <a:ea typeface="微软雅黑" panose="020B0503020204020204" pitchFamily="34" charset="-122"/>
                  <a:cs typeface="Arial" pitchFamily="34" charset="0"/>
                  <a:sym typeface="Symbol"/>
                </a:rPr>
                <a:t>（</a:t>
              </a:r>
              <a:r>
                <a:rPr lang="en-US" altLang="zh-CN" sz="1000" dirty="0">
                  <a:latin typeface="Arial" panose="020B0604020202020204" pitchFamily="34" charset="0"/>
                  <a:ea typeface="微软雅黑" panose="020B0503020204020204" pitchFamily="34" charset="-122"/>
                  <a:cs typeface="Arial" pitchFamily="34" charset="0"/>
                  <a:sym typeface="Symbol"/>
                </a:rPr>
                <a:t>7</a:t>
              </a:r>
              <a:r>
                <a:rPr lang="zh-CN" altLang="en-US" sz="1000" dirty="0">
                  <a:latin typeface="Arial" panose="020B0604020202020204" pitchFamily="34" charset="0"/>
                  <a:ea typeface="微软雅黑" panose="020B0503020204020204" pitchFamily="34" charset="-122"/>
                  <a:cs typeface="Arial" pitchFamily="34" charset="0"/>
                  <a:sym typeface="Symbol"/>
                </a:rPr>
                <a:t>年</a:t>
              </a:r>
              <a:r>
                <a:rPr lang="zh-CN" sz="1000" b="0" i="0" u="none" baseline="0" dirty="0">
                  <a:latin typeface="Arial" panose="020B0604020202020204" pitchFamily="34" charset="0"/>
                  <a:ea typeface="微软雅黑" panose="020B0503020204020204" pitchFamily="34" charset="-122"/>
                  <a:cs typeface="Arial" pitchFamily="34" charset="0"/>
                </a:rPr>
                <a:t>）</a:t>
              </a:r>
            </a:p>
          </p:txBody>
        </p:sp>
        <p:grpSp>
          <p:nvGrpSpPr>
            <p:cNvPr id="551" name="Group 81">
              <a:extLst>
                <a:ext uri="{FF2B5EF4-FFF2-40B4-BE49-F238E27FC236}">
                  <a16:creationId xmlns:a16="http://schemas.microsoft.com/office/drawing/2014/main" id="{D52D44E8-11D8-4BA3-8F4D-5B93C7B9F45D}"/>
                </a:ext>
              </a:extLst>
            </p:cNvPr>
            <p:cNvGrpSpPr/>
            <p:nvPr/>
          </p:nvGrpSpPr>
          <p:grpSpPr>
            <a:xfrm>
              <a:off x="7420936" y="4603660"/>
              <a:ext cx="4424951" cy="1014557"/>
              <a:chOff x="1264539" y="1863752"/>
              <a:chExt cx="5085256" cy="2046625"/>
            </a:xfrm>
          </p:grpSpPr>
          <p:grpSp>
            <p:nvGrpSpPr>
              <p:cNvPr id="552" name="Group 318">
                <a:extLst>
                  <a:ext uri="{FF2B5EF4-FFF2-40B4-BE49-F238E27FC236}">
                    <a16:creationId xmlns:a16="http://schemas.microsoft.com/office/drawing/2014/main" id="{CBFA97D4-44FB-4636-AA96-ADB683D61A3B}"/>
                  </a:ext>
                </a:extLst>
              </p:cNvPr>
              <p:cNvGrpSpPr/>
              <p:nvPr/>
            </p:nvGrpSpPr>
            <p:grpSpPr>
              <a:xfrm>
                <a:off x="1264539" y="1863752"/>
                <a:ext cx="5085256" cy="2046625"/>
                <a:chOff x="1264539" y="1863752"/>
                <a:chExt cx="5085256" cy="2046625"/>
              </a:xfrm>
            </p:grpSpPr>
            <p:grpSp>
              <p:nvGrpSpPr>
                <p:cNvPr id="554" name="Group 320">
                  <a:extLst>
                    <a:ext uri="{FF2B5EF4-FFF2-40B4-BE49-F238E27FC236}">
                      <a16:creationId xmlns:a16="http://schemas.microsoft.com/office/drawing/2014/main" id="{D2581D29-63A7-4E47-A43D-C4A8E4B1D969}"/>
                    </a:ext>
                  </a:extLst>
                </p:cNvPr>
                <p:cNvGrpSpPr/>
                <p:nvPr/>
              </p:nvGrpSpPr>
              <p:grpSpPr>
                <a:xfrm>
                  <a:off x="1264539" y="1863752"/>
                  <a:ext cx="5080215" cy="2046625"/>
                  <a:chOff x="1607239" y="1087407"/>
                  <a:chExt cx="5080215" cy="2046625"/>
                </a:xfrm>
              </p:grpSpPr>
              <p:sp>
                <p:nvSpPr>
                  <p:cNvPr id="578" name="Freeform 47">
                    <a:extLst>
                      <a:ext uri="{FF2B5EF4-FFF2-40B4-BE49-F238E27FC236}">
                        <a16:creationId xmlns:a16="http://schemas.microsoft.com/office/drawing/2014/main" id="{9AAAE2BF-DCE0-4A1B-9DB8-7F7F0823884A}"/>
                      </a:ext>
                    </a:extLst>
                  </p:cNvPr>
                  <p:cNvSpPr>
                    <a:spLocks/>
                  </p:cNvSpPr>
                  <p:nvPr/>
                </p:nvSpPr>
                <p:spPr bwMode="auto">
                  <a:xfrm>
                    <a:off x="1607239" y="1791640"/>
                    <a:ext cx="5054109" cy="1342392"/>
                  </a:xfrm>
                  <a:custGeom>
                    <a:avLst/>
                    <a:gdLst>
                      <a:gd name="T0" fmla="*/ 0 w 1850"/>
                      <a:gd name="T1" fmla="*/ 491 h 491"/>
                      <a:gd name="T2" fmla="*/ 189 w 1850"/>
                      <a:gd name="T3" fmla="*/ 343 h 491"/>
                      <a:gd name="T4" fmla="*/ 255 w 1850"/>
                      <a:gd name="T5" fmla="*/ 251 h 491"/>
                      <a:gd name="T6" fmla="*/ 520 w 1850"/>
                      <a:gd name="T7" fmla="*/ 173 h 491"/>
                      <a:gd name="T8" fmla="*/ 784 w 1850"/>
                      <a:gd name="T9" fmla="*/ 124 h 491"/>
                      <a:gd name="T10" fmla="*/ 1052 w 1850"/>
                      <a:gd name="T11" fmla="*/ 70 h 491"/>
                      <a:gd name="T12" fmla="*/ 1317 w 1850"/>
                      <a:gd name="T13" fmla="*/ 0 h 491"/>
                      <a:gd name="T14" fmla="*/ 1580 w 1850"/>
                      <a:gd name="T15" fmla="*/ 53 h 491"/>
                      <a:gd name="T16" fmla="*/ 1850 w 1850"/>
                      <a:gd name="T17" fmla="*/ 121 h 4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50" h="491">
                        <a:moveTo>
                          <a:pt x="0" y="491"/>
                        </a:moveTo>
                        <a:cubicBezTo>
                          <a:pt x="3" y="490"/>
                          <a:pt x="189" y="343"/>
                          <a:pt x="189" y="343"/>
                        </a:cubicBezTo>
                        <a:cubicBezTo>
                          <a:pt x="255" y="251"/>
                          <a:pt x="255" y="251"/>
                          <a:pt x="255" y="251"/>
                        </a:cubicBezTo>
                        <a:cubicBezTo>
                          <a:pt x="520" y="173"/>
                          <a:pt x="520" y="173"/>
                          <a:pt x="520" y="173"/>
                        </a:cubicBezTo>
                        <a:cubicBezTo>
                          <a:pt x="520" y="173"/>
                          <a:pt x="781" y="123"/>
                          <a:pt x="784" y="124"/>
                        </a:cubicBezTo>
                        <a:cubicBezTo>
                          <a:pt x="787" y="124"/>
                          <a:pt x="1052" y="70"/>
                          <a:pt x="1052" y="70"/>
                        </a:cubicBezTo>
                        <a:cubicBezTo>
                          <a:pt x="1317" y="0"/>
                          <a:pt x="1317" y="0"/>
                          <a:pt x="1317" y="0"/>
                        </a:cubicBezTo>
                        <a:cubicBezTo>
                          <a:pt x="1580" y="53"/>
                          <a:pt x="1580" y="53"/>
                          <a:pt x="1580" y="53"/>
                        </a:cubicBezTo>
                        <a:cubicBezTo>
                          <a:pt x="1850" y="121"/>
                          <a:pt x="1850" y="121"/>
                          <a:pt x="1850" y="121"/>
                        </a:cubicBezTo>
                      </a:path>
                    </a:pathLst>
                  </a:custGeom>
                  <a:noFill/>
                  <a:ln w="28575" cap="flat">
                    <a:solidFill>
                      <a:srgbClr val="001C7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algn="l" rtl="0" fontAlgn="base">
                      <a:spcBef>
                        <a:spcPct val="0"/>
                      </a:spcBef>
                      <a:spcAft>
                        <a:spcPct val="0"/>
                      </a:spcAft>
                    </a:pPr>
                    <a:endParaRPr lang="zh-CN" sz="1000" b="1">
                      <a:solidFill>
                        <a:srgbClr val="504C4C"/>
                      </a:solidFill>
                      <a:latin typeface="Arial" panose="020B0604020202020204" pitchFamily="34" charset="0"/>
                      <a:ea typeface="微软雅黑" panose="020B0503020204020204" pitchFamily="34" charset="-122"/>
                      <a:cs typeface="Arial" pitchFamily="34" charset="0"/>
                    </a:endParaRPr>
                  </a:p>
                </p:txBody>
              </p:sp>
              <p:grpSp>
                <p:nvGrpSpPr>
                  <p:cNvPr id="579" name="Group 345">
                    <a:extLst>
                      <a:ext uri="{FF2B5EF4-FFF2-40B4-BE49-F238E27FC236}">
                        <a16:creationId xmlns:a16="http://schemas.microsoft.com/office/drawing/2014/main" id="{7AB13699-7DE4-4312-B303-A7083B018871}"/>
                      </a:ext>
                    </a:extLst>
                  </p:cNvPr>
                  <p:cNvGrpSpPr/>
                  <p:nvPr/>
                </p:nvGrpSpPr>
                <p:grpSpPr>
                  <a:xfrm>
                    <a:off x="2124964" y="1087407"/>
                    <a:ext cx="4562490" cy="1952818"/>
                    <a:chOff x="1767458" y="1863755"/>
                    <a:chExt cx="4562490" cy="1952818"/>
                  </a:xfrm>
                </p:grpSpPr>
                <p:sp>
                  <p:nvSpPr>
                    <p:cNvPr id="580" name="Line 132">
                      <a:extLst>
                        <a:ext uri="{FF2B5EF4-FFF2-40B4-BE49-F238E27FC236}">
                          <a16:creationId xmlns:a16="http://schemas.microsoft.com/office/drawing/2014/main" id="{E1879832-91D8-487C-9F96-CFFEFC2E562A}"/>
                        </a:ext>
                      </a:extLst>
                    </p:cNvPr>
                    <p:cNvSpPr>
                      <a:spLocks noChangeShapeType="1"/>
                    </p:cNvSpPr>
                    <p:nvPr/>
                  </p:nvSpPr>
                  <p:spPr bwMode="auto">
                    <a:xfrm>
                      <a:off x="4816857" y="1863755"/>
                      <a:ext cx="57355" cy="0"/>
                    </a:xfrm>
                    <a:prstGeom prst="line">
                      <a:avLst/>
                    </a:prstGeom>
                    <a:noFill/>
                    <a:ln w="12700" cap="flat">
                      <a:solidFill>
                        <a:srgbClr val="001C7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algn="l" rtl="0" fontAlgn="base">
                        <a:spcBef>
                          <a:spcPct val="0"/>
                        </a:spcBef>
                        <a:spcAft>
                          <a:spcPct val="0"/>
                        </a:spcAft>
                      </a:pPr>
                      <a:endParaRPr lang="zh-CN" sz="1000" b="1">
                        <a:solidFill>
                          <a:srgbClr val="504C4C"/>
                        </a:solidFill>
                        <a:latin typeface="Arial" panose="020B0604020202020204" pitchFamily="34" charset="0"/>
                        <a:ea typeface="微软雅黑" panose="020B0503020204020204" pitchFamily="34" charset="-122"/>
                        <a:cs typeface="Arial" pitchFamily="34" charset="0"/>
                      </a:endParaRPr>
                    </a:p>
                  </p:txBody>
                </p:sp>
                <p:sp>
                  <p:nvSpPr>
                    <p:cNvPr id="581" name="Line 134">
                      <a:extLst>
                        <a:ext uri="{FF2B5EF4-FFF2-40B4-BE49-F238E27FC236}">
                          <a16:creationId xmlns:a16="http://schemas.microsoft.com/office/drawing/2014/main" id="{16045D89-8C54-45EA-88BF-70E6E5050D2D}"/>
                        </a:ext>
                      </a:extLst>
                    </p:cNvPr>
                    <p:cNvSpPr>
                      <a:spLocks noChangeShapeType="1"/>
                    </p:cNvSpPr>
                    <p:nvPr/>
                  </p:nvSpPr>
                  <p:spPr bwMode="auto">
                    <a:xfrm>
                      <a:off x="4816857" y="3274427"/>
                      <a:ext cx="57355" cy="0"/>
                    </a:xfrm>
                    <a:prstGeom prst="line">
                      <a:avLst/>
                    </a:prstGeom>
                    <a:noFill/>
                    <a:ln w="12700" cap="flat">
                      <a:solidFill>
                        <a:srgbClr val="001C7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algn="l" rtl="0" fontAlgn="base">
                        <a:spcBef>
                          <a:spcPct val="0"/>
                        </a:spcBef>
                        <a:spcAft>
                          <a:spcPct val="0"/>
                        </a:spcAft>
                      </a:pPr>
                      <a:endParaRPr lang="zh-CN" sz="1000" b="1" dirty="0">
                        <a:solidFill>
                          <a:srgbClr val="504C4C"/>
                        </a:solidFill>
                        <a:latin typeface="Arial" panose="020B0604020202020204" pitchFamily="34" charset="0"/>
                        <a:ea typeface="微软雅黑" panose="020B0503020204020204" pitchFamily="34" charset="-122"/>
                        <a:cs typeface="Arial" pitchFamily="34" charset="0"/>
                      </a:endParaRPr>
                    </a:p>
                  </p:txBody>
                </p:sp>
                <p:sp>
                  <p:nvSpPr>
                    <p:cNvPr id="582" name="Line 138">
                      <a:extLst>
                        <a:ext uri="{FF2B5EF4-FFF2-40B4-BE49-F238E27FC236}">
                          <a16:creationId xmlns:a16="http://schemas.microsoft.com/office/drawing/2014/main" id="{5EA1C7FC-5BA6-4212-BC0F-0ADF14EF4DF5}"/>
                        </a:ext>
                      </a:extLst>
                    </p:cNvPr>
                    <p:cNvSpPr>
                      <a:spLocks noChangeShapeType="1"/>
                    </p:cNvSpPr>
                    <p:nvPr/>
                  </p:nvSpPr>
                  <p:spPr bwMode="auto">
                    <a:xfrm>
                      <a:off x="4093085" y="2356739"/>
                      <a:ext cx="57355" cy="0"/>
                    </a:xfrm>
                    <a:prstGeom prst="line">
                      <a:avLst/>
                    </a:prstGeom>
                    <a:noFill/>
                    <a:ln w="12700" cap="flat">
                      <a:solidFill>
                        <a:srgbClr val="001C7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algn="l" rtl="0" fontAlgn="base">
                        <a:spcBef>
                          <a:spcPct val="0"/>
                        </a:spcBef>
                        <a:spcAft>
                          <a:spcPct val="0"/>
                        </a:spcAft>
                      </a:pPr>
                      <a:endParaRPr lang="zh-CN" sz="1000" b="1">
                        <a:solidFill>
                          <a:srgbClr val="504C4C"/>
                        </a:solidFill>
                        <a:latin typeface="Arial" panose="020B0604020202020204" pitchFamily="34" charset="0"/>
                        <a:ea typeface="微软雅黑" panose="020B0503020204020204" pitchFamily="34" charset="-122"/>
                        <a:cs typeface="Arial" pitchFamily="34" charset="0"/>
                      </a:endParaRPr>
                    </a:p>
                  </p:txBody>
                </p:sp>
                <p:sp>
                  <p:nvSpPr>
                    <p:cNvPr id="583" name="Line 140">
                      <a:extLst>
                        <a:ext uri="{FF2B5EF4-FFF2-40B4-BE49-F238E27FC236}">
                          <a16:creationId xmlns:a16="http://schemas.microsoft.com/office/drawing/2014/main" id="{FA6DABF7-4CED-4220-9B3A-0EF6ED02A559}"/>
                        </a:ext>
                      </a:extLst>
                    </p:cNvPr>
                    <p:cNvSpPr>
                      <a:spLocks noChangeShapeType="1"/>
                    </p:cNvSpPr>
                    <p:nvPr/>
                  </p:nvSpPr>
                  <p:spPr bwMode="auto">
                    <a:xfrm>
                      <a:off x="4093085" y="3162447"/>
                      <a:ext cx="57355" cy="0"/>
                    </a:xfrm>
                    <a:prstGeom prst="line">
                      <a:avLst/>
                    </a:prstGeom>
                    <a:noFill/>
                    <a:ln w="12700" cap="flat">
                      <a:solidFill>
                        <a:srgbClr val="001C7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algn="l" rtl="0" fontAlgn="base">
                        <a:spcBef>
                          <a:spcPct val="0"/>
                        </a:spcBef>
                        <a:spcAft>
                          <a:spcPct val="0"/>
                        </a:spcAft>
                      </a:pPr>
                      <a:endParaRPr lang="zh-CN" sz="1000" b="1">
                        <a:solidFill>
                          <a:srgbClr val="504C4C"/>
                        </a:solidFill>
                        <a:latin typeface="Arial" panose="020B0604020202020204" pitchFamily="34" charset="0"/>
                        <a:ea typeface="微软雅黑" panose="020B0503020204020204" pitchFamily="34" charset="-122"/>
                        <a:cs typeface="Arial" pitchFamily="34" charset="0"/>
                      </a:endParaRPr>
                    </a:p>
                  </p:txBody>
                </p:sp>
                <p:sp>
                  <p:nvSpPr>
                    <p:cNvPr id="584" name="Line 144">
                      <a:extLst>
                        <a:ext uri="{FF2B5EF4-FFF2-40B4-BE49-F238E27FC236}">
                          <a16:creationId xmlns:a16="http://schemas.microsoft.com/office/drawing/2014/main" id="{11387534-D5E4-4C7D-BD38-B79006B6C724}"/>
                        </a:ext>
                      </a:extLst>
                    </p:cNvPr>
                    <p:cNvSpPr>
                      <a:spLocks noChangeShapeType="1"/>
                    </p:cNvSpPr>
                    <p:nvPr/>
                  </p:nvSpPr>
                  <p:spPr bwMode="auto">
                    <a:xfrm>
                      <a:off x="3367949" y="2569774"/>
                      <a:ext cx="60087" cy="0"/>
                    </a:xfrm>
                    <a:prstGeom prst="line">
                      <a:avLst/>
                    </a:prstGeom>
                    <a:noFill/>
                    <a:ln w="12700" cap="flat">
                      <a:solidFill>
                        <a:srgbClr val="001C7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algn="l" rtl="0" fontAlgn="base">
                        <a:spcBef>
                          <a:spcPct val="0"/>
                        </a:spcBef>
                        <a:spcAft>
                          <a:spcPct val="0"/>
                        </a:spcAft>
                      </a:pPr>
                      <a:endParaRPr lang="zh-CN" sz="1000" b="1">
                        <a:solidFill>
                          <a:srgbClr val="504C4C"/>
                        </a:solidFill>
                        <a:latin typeface="Arial" panose="020B0604020202020204" pitchFamily="34" charset="0"/>
                        <a:ea typeface="微软雅黑" panose="020B0503020204020204" pitchFamily="34" charset="-122"/>
                        <a:cs typeface="Arial" pitchFamily="34" charset="0"/>
                      </a:endParaRPr>
                    </a:p>
                  </p:txBody>
                </p:sp>
                <p:sp>
                  <p:nvSpPr>
                    <p:cNvPr id="585" name="Line 146">
                      <a:extLst>
                        <a:ext uri="{FF2B5EF4-FFF2-40B4-BE49-F238E27FC236}">
                          <a16:creationId xmlns:a16="http://schemas.microsoft.com/office/drawing/2014/main" id="{30AD9F7D-7E87-44AD-97B5-28E4026183B2}"/>
                        </a:ext>
                      </a:extLst>
                    </p:cNvPr>
                    <p:cNvSpPr>
                      <a:spLocks noChangeShapeType="1"/>
                    </p:cNvSpPr>
                    <p:nvPr/>
                  </p:nvSpPr>
                  <p:spPr bwMode="auto">
                    <a:xfrm>
                      <a:off x="3367949" y="3247115"/>
                      <a:ext cx="60087" cy="0"/>
                    </a:xfrm>
                    <a:prstGeom prst="line">
                      <a:avLst/>
                    </a:prstGeom>
                    <a:noFill/>
                    <a:ln w="12700" cap="flat">
                      <a:solidFill>
                        <a:srgbClr val="001C7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algn="l" rtl="0" fontAlgn="base">
                        <a:spcBef>
                          <a:spcPct val="0"/>
                        </a:spcBef>
                        <a:spcAft>
                          <a:spcPct val="0"/>
                        </a:spcAft>
                      </a:pPr>
                      <a:endParaRPr lang="zh-CN" sz="1000" b="1">
                        <a:solidFill>
                          <a:srgbClr val="504C4C"/>
                        </a:solidFill>
                        <a:latin typeface="Arial" panose="020B0604020202020204" pitchFamily="34" charset="0"/>
                        <a:ea typeface="微软雅黑" panose="020B0503020204020204" pitchFamily="34" charset="-122"/>
                        <a:cs typeface="Arial" pitchFamily="34" charset="0"/>
                      </a:endParaRPr>
                    </a:p>
                  </p:txBody>
                </p:sp>
                <p:sp>
                  <p:nvSpPr>
                    <p:cNvPr id="586" name="Line 150">
                      <a:extLst>
                        <a:ext uri="{FF2B5EF4-FFF2-40B4-BE49-F238E27FC236}">
                          <a16:creationId xmlns:a16="http://schemas.microsoft.com/office/drawing/2014/main" id="{A444221B-3FE8-4FB5-A753-0714D8EDB534}"/>
                        </a:ext>
                      </a:extLst>
                    </p:cNvPr>
                    <p:cNvSpPr>
                      <a:spLocks noChangeShapeType="1"/>
                    </p:cNvSpPr>
                    <p:nvPr/>
                  </p:nvSpPr>
                  <p:spPr bwMode="auto">
                    <a:xfrm>
                      <a:off x="2644177" y="2657173"/>
                      <a:ext cx="57355" cy="0"/>
                    </a:xfrm>
                    <a:prstGeom prst="line">
                      <a:avLst/>
                    </a:prstGeom>
                    <a:noFill/>
                    <a:ln w="12700" cap="flat">
                      <a:solidFill>
                        <a:srgbClr val="001C7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algn="l" rtl="0" fontAlgn="base">
                        <a:spcBef>
                          <a:spcPct val="0"/>
                        </a:spcBef>
                        <a:spcAft>
                          <a:spcPct val="0"/>
                        </a:spcAft>
                      </a:pPr>
                      <a:endParaRPr lang="zh-CN" sz="1000" b="1">
                        <a:solidFill>
                          <a:srgbClr val="504C4C"/>
                        </a:solidFill>
                        <a:latin typeface="Arial" panose="020B0604020202020204" pitchFamily="34" charset="0"/>
                        <a:ea typeface="微软雅黑" panose="020B0503020204020204" pitchFamily="34" charset="-122"/>
                        <a:cs typeface="Arial" pitchFamily="34" charset="0"/>
                      </a:endParaRPr>
                    </a:p>
                  </p:txBody>
                </p:sp>
                <p:sp>
                  <p:nvSpPr>
                    <p:cNvPr id="587" name="Line 152">
                      <a:extLst>
                        <a:ext uri="{FF2B5EF4-FFF2-40B4-BE49-F238E27FC236}">
                          <a16:creationId xmlns:a16="http://schemas.microsoft.com/office/drawing/2014/main" id="{D125A163-7B29-48B5-9494-89FE6DFD8BDB}"/>
                        </a:ext>
                      </a:extLst>
                    </p:cNvPr>
                    <p:cNvSpPr>
                      <a:spLocks noChangeShapeType="1"/>
                    </p:cNvSpPr>
                    <p:nvPr/>
                  </p:nvSpPr>
                  <p:spPr bwMode="auto">
                    <a:xfrm>
                      <a:off x="2644177" y="3428740"/>
                      <a:ext cx="57355" cy="0"/>
                    </a:xfrm>
                    <a:prstGeom prst="line">
                      <a:avLst/>
                    </a:prstGeom>
                    <a:noFill/>
                    <a:ln w="12700" cap="flat">
                      <a:solidFill>
                        <a:srgbClr val="001C7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algn="l" rtl="0" fontAlgn="base">
                        <a:spcBef>
                          <a:spcPct val="0"/>
                        </a:spcBef>
                        <a:spcAft>
                          <a:spcPct val="0"/>
                        </a:spcAft>
                      </a:pPr>
                      <a:endParaRPr lang="zh-CN" sz="1000" b="1">
                        <a:solidFill>
                          <a:srgbClr val="504C4C"/>
                        </a:solidFill>
                        <a:latin typeface="Arial" panose="020B0604020202020204" pitchFamily="34" charset="0"/>
                        <a:ea typeface="微软雅黑" panose="020B0503020204020204" pitchFamily="34" charset="-122"/>
                        <a:cs typeface="Arial" pitchFamily="34" charset="0"/>
                      </a:endParaRPr>
                    </a:p>
                  </p:txBody>
                </p:sp>
                <p:sp>
                  <p:nvSpPr>
                    <p:cNvPr id="588" name="Line 156">
                      <a:extLst>
                        <a:ext uri="{FF2B5EF4-FFF2-40B4-BE49-F238E27FC236}">
                          <a16:creationId xmlns:a16="http://schemas.microsoft.com/office/drawing/2014/main" id="{287838AD-03AF-49D8-AA31-E370F0F8E649}"/>
                        </a:ext>
                      </a:extLst>
                    </p:cNvPr>
                    <p:cNvSpPr>
                      <a:spLocks noChangeShapeType="1"/>
                    </p:cNvSpPr>
                    <p:nvPr/>
                  </p:nvSpPr>
                  <p:spPr bwMode="auto">
                    <a:xfrm>
                      <a:off x="1917675" y="2862014"/>
                      <a:ext cx="57355" cy="0"/>
                    </a:xfrm>
                    <a:prstGeom prst="line">
                      <a:avLst/>
                    </a:prstGeom>
                    <a:noFill/>
                    <a:ln w="12700" cap="flat">
                      <a:solidFill>
                        <a:srgbClr val="001C7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algn="l" rtl="0" fontAlgn="base">
                        <a:spcBef>
                          <a:spcPct val="0"/>
                        </a:spcBef>
                        <a:spcAft>
                          <a:spcPct val="0"/>
                        </a:spcAft>
                      </a:pPr>
                      <a:endParaRPr lang="zh-CN" sz="1000" b="1">
                        <a:solidFill>
                          <a:srgbClr val="504C4C"/>
                        </a:solidFill>
                        <a:latin typeface="Arial" panose="020B0604020202020204" pitchFamily="34" charset="0"/>
                        <a:ea typeface="微软雅黑" panose="020B0503020204020204" pitchFamily="34" charset="-122"/>
                        <a:cs typeface="Arial" pitchFamily="34" charset="0"/>
                      </a:endParaRPr>
                    </a:p>
                  </p:txBody>
                </p:sp>
                <p:sp>
                  <p:nvSpPr>
                    <p:cNvPr id="589" name="Line 158">
                      <a:extLst>
                        <a:ext uri="{FF2B5EF4-FFF2-40B4-BE49-F238E27FC236}">
                          <a16:creationId xmlns:a16="http://schemas.microsoft.com/office/drawing/2014/main" id="{E64071A0-9EFA-490F-81B9-F67082CFF9D3}"/>
                        </a:ext>
                      </a:extLst>
                    </p:cNvPr>
                    <p:cNvSpPr>
                      <a:spLocks noChangeShapeType="1"/>
                    </p:cNvSpPr>
                    <p:nvPr/>
                  </p:nvSpPr>
                  <p:spPr bwMode="auto">
                    <a:xfrm>
                      <a:off x="1917675" y="3641775"/>
                      <a:ext cx="57355" cy="0"/>
                    </a:xfrm>
                    <a:prstGeom prst="line">
                      <a:avLst/>
                    </a:prstGeom>
                    <a:noFill/>
                    <a:ln w="12700" cap="flat">
                      <a:solidFill>
                        <a:srgbClr val="001C7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algn="l" rtl="0" fontAlgn="base">
                        <a:spcBef>
                          <a:spcPct val="0"/>
                        </a:spcBef>
                        <a:spcAft>
                          <a:spcPct val="0"/>
                        </a:spcAft>
                      </a:pPr>
                      <a:endParaRPr lang="zh-CN" sz="1000" b="1">
                        <a:solidFill>
                          <a:srgbClr val="504C4C"/>
                        </a:solidFill>
                        <a:latin typeface="Arial" panose="020B0604020202020204" pitchFamily="34" charset="0"/>
                        <a:ea typeface="微软雅黑" panose="020B0503020204020204" pitchFamily="34" charset="-122"/>
                        <a:cs typeface="Arial" pitchFamily="34" charset="0"/>
                      </a:endParaRPr>
                    </a:p>
                  </p:txBody>
                </p:sp>
                <p:sp>
                  <p:nvSpPr>
                    <p:cNvPr id="590" name="Line 418">
                      <a:extLst>
                        <a:ext uri="{FF2B5EF4-FFF2-40B4-BE49-F238E27FC236}">
                          <a16:creationId xmlns:a16="http://schemas.microsoft.com/office/drawing/2014/main" id="{17025C31-A0D9-4C2A-8AA6-53CC3CD38DE7}"/>
                        </a:ext>
                      </a:extLst>
                    </p:cNvPr>
                    <p:cNvSpPr>
                      <a:spLocks noChangeShapeType="1"/>
                    </p:cNvSpPr>
                    <p:nvPr/>
                  </p:nvSpPr>
                  <p:spPr bwMode="auto">
                    <a:xfrm>
                      <a:off x="6272593" y="3559838"/>
                      <a:ext cx="57355" cy="0"/>
                    </a:xfrm>
                    <a:prstGeom prst="line">
                      <a:avLst/>
                    </a:prstGeom>
                    <a:noFill/>
                    <a:ln w="12700" cap="flat">
                      <a:solidFill>
                        <a:srgbClr val="001C7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algn="l" rtl="0" fontAlgn="base">
                        <a:spcBef>
                          <a:spcPct val="0"/>
                        </a:spcBef>
                        <a:spcAft>
                          <a:spcPct val="0"/>
                        </a:spcAft>
                      </a:pPr>
                      <a:endParaRPr lang="zh-CN" sz="1000" b="1">
                        <a:solidFill>
                          <a:srgbClr val="504C4C"/>
                        </a:solidFill>
                        <a:latin typeface="Arial" panose="020B0604020202020204" pitchFamily="34" charset="0"/>
                        <a:ea typeface="微软雅黑" panose="020B0503020204020204" pitchFamily="34" charset="-122"/>
                        <a:cs typeface="Arial" pitchFamily="34" charset="0"/>
                      </a:endParaRPr>
                    </a:p>
                  </p:txBody>
                </p:sp>
                <p:grpSp>
                  <p:nvGrpSpPr>
                    <p:cNvPr id="591" name="Group 357">
                      <a:extLst>
                        <a:ext uri="{FF2B5EF4-FFF2-40B4-BE49-F238E27FC236}">
                          <a16:creationId xmlns:a16="http://schemas.microsoft.com/office/drawing/2014/main" id="{847410F1-4852-4F84-818F-C1C0E12DF4D3}"/>
                        </a:ext>
                      </a:extLst>
                    </p:cNvPr>
                    <p:cNvGrpSpPr/>
                    <p:nvPr/>
                  </p:nvGrpSpPr>
                  <p:grpSpPr>
                    <a:xfrm>
                      <a:off x="1767458" y="1866486"/>
                      <a:ext cx="4532447" cy="1950087"/>
                      <a:chOff x="1778623" y="1869217"/>
                      <a:chExt cx="4532447" cy="1950087"/>
                    </a:xfrm>
                  </p:grpSpPr>
                  <p:sp>
                    <p:nvSpPr>
                      <p:cNvPr id="595" name="Line 160">
                        <a:extLst>
                          <a:ext uri="{FF2B5EF4-FFF2-40B4-BE49-F238E27FC236}">
                            <a16:creationId xmlns:a16="http://schemas.microsoft.com/office/drawing/2014/main" id="{A76B2E05-1C2C-4E24-BD14-A6BE144CEA72}"/>
                          </a:ext>
                        </a:extLst>
                      </p:cNvPr>
                      <p:cNvSpPr>
                        <a:spLocks noChangeShapeType="1"/>
                      </p:cNvSpPr>
                      <p:nvPr/>
                    </p:nvSpPr>
                    <p:spPr bwMode="auto">
                      <a:xfrm flipV="1">
                        <a:off x="1778623" y="3208877"/>
                        <a:ext cx="0" cy="610427"/>
                      </a:xfrm>
                      <a:prstGeom prst="line">
                        <a:avLst/>
                      </a:prstGeom>
                      <a:noFill/>
                      <a:ln w="12700" cap="flat">
                        <a:solidFill>
                          <a:srgbClr val="001C7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algn="l" rtl="0" fontAlgn="base">
                          <a:spcBef>
                            <a:spcPct val="0"/>
                          </a:spcBef>
                          <a:spcAft>
                            <a:spcPct val="0"/>
                          </a:spcAft>
                        </a:pPr>
                        <a:endParaRPr lang="zh-CN" sz="1000" b="1">
                          <a:solidFill>
                            <a:srgbClr val="504C4C"/>
                          </a:solidFill>
                          <a:latin typeface="Arial" panose="020B0604020202020204" pitchFamily="34" charset="0"/>
                          <a:ea typeface="微软雅黑" panose="020B0503020204020204" pitchFamily="34" charset="-122"/>
                          <a:cs typeface="Arial" pitchFamily="34" charset="0"/>
                        </a:endParaRPr>
                      </a:p>
                    </p:txBody>
                  </p:sp>
                  <p:sp>
                    <p:nvSpPr>
                      <p:cNvPr id="596" name="Line 130">
                        <a:extLst>
                          <a:ext uri="{FF2B5EF4-FFF2-40B4-BE49-F238E27FC236}">
                            <a16:creationId xmlns:a16="http://schemas.microsoft.com/office/drawing/2014/main" id="{4BF88FA0-5C76-4CA1-B7A2-F6AE355B7F79}"/>
                          </a:ext>
                        </a:extLst>
                      </p:cNvPr>
                      <p:cNvSpPr>
                        <a:spLocks noChangeShapeType="1"/>
                      </p:cNvSpPr>
                      <p:nvPr/>
                    </p:nvSpPr>
                    <p:spPr bwMode="auto">
                      <a:xfrm flipV="1">
                        <a:off x="4858065" y="1869217"/>
                        <a:ext cx="0" cy="1407941"/>
                      </a:xfrm>
                      <a:prstGeom prst="line">
                        <a:avLst/>
                      </a:prstGeom>
                      <a:noFill/>
                      <a:ln w="12700" cap="flat">
                        <a:solidFill>
                          <a:srgbClr val="001C7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algn="l" rtl="0" fontAlgn="base">
                          <a:spcBef>
                            <a:spcPct val="0"/>
                          </a:spcBef>
                          <a:spcAft>
                            <a:spcPct val="0"/>
                          </a:spcAft>
                        </a:pPr>
                        <a:endParaRPr lang="zh-CN" sz="1000" b="1">
                          <a:solidFill>
                            <a:srgbClr val="504C4C"/>
                          </a:solidFill>
                          <a:latin typeface="Arial" panose="020B0604020202020204" pitchFamily="34" charset="0"/>
                          <a:ea typeface="微软雅黑" panose="020B0503020204020204" pitchFamily="34" charset="-122"/>
                          <a:cs typeface="Arial" pitchFamily="34" charset="0"/>
                        </a:endParaRPr>
                      </a:p>
                    </p:txBody>
                  </p:sp>
                  <p:sp>
                    <p:nvSpPr>
                      <p:cNvPr id="597" name="Line 136">
                        <a:extLst>
                          <a:ext uri="{FF2B5EF4-FFF2-40B4-BE49-F238E27FC236}">
                            <a16:creationId xmlns:a16="http://schemas.microsoft.com/office/drawing/2014/main" id="{D51B9D90-F595-426E-8B49-E696E2D34372}"/>
                          </a:ext>
                        </a:extLst>
                      </p:cNvPr>
                      <p:cNvSpPr>
                        <a:spLocks noChangeShapeType="1"/>
                      </p:cNvSpPr>
                      <p:nvPr/>
                    </p:nvSpPr>
                    <p:spPr bwMode="auto">
                      <a:xfrm flipV="1">
                        <a:off x="4134294" y="2359470"/>
                        <a:ext cx="0" cy="805708"/>
                      </a:xfrm>
                      <a:prstGeom prst="line">
                        <a:avLst/>
                      </a:prstGeom>
                      <a:noFill/>
                      <a:ln w="12700" cap="flat">
                        <a:solidFill>
                          <a:srgbClr val="001C7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algn="l" rtl="0" fontAlgn="base">
                          <a:spcBef>
                            <a:spcPct val="0"/>
                          </a:spcBef>
                          <a:spcAft>
                            <a:spcPct val="0"/>
                          </a:spcAft>
                        </a:pPr>
                        <a:endParaRPr lang="zh-CN" sz="1000" b="1">
                          <a:solidFill>
                            <a:srgbClr val="504C4C"/>
                          </a:solidFill>
                          <a:latin typeface="Arial" panose="020B0604020202020204" pitchFamily="34" charset="0"/>
                          <a:ea typeface="微软雅黑" panose="020B0503020204020204" pitchFamily="34" charset="-122"/>
                          <a:cs typeface="Arial" pitchFamily="34" charset="0"/>
                        </a:endParaRPr>
                      </a:p>
                    </p:txBody>
                  </p:sp>
                  <p:sp>
                    <p:nvSpPr>
                      <p:cNvPr id="598" name="Line 142">
                        <a:extLst>
                          <a:ext uri="{FF2B5EF4-FFF2-40B4-BE49-F238E27FC236}">
                            <a16:creationId xmlns:a16="http://schemas.microsoft.com/office/drawing/2014/main" id="{0835E31D-9AB9-4814-9A09-7B66196465CB}"/>
                          </a:ext>
                        </a:extLst>
                      </p:cNvPr>
                      <p:cNvSpPr>
                        <a:spLocks noChangeShapeType="1"/>
                      </p:cNvSpPr>
                      <p:nvPr/>
                    </p:nvSpPr>
                    <p:spPr bwMode="auto">
                      <a:xfrm flipV="1">
                        <a:off x="3409157" y="2572505"/>
                        <a:ext cx="0" cy="677341"/>
                      </a:xfrm>
                      <a:prstGeom prst="line">
                        <a:avLst/>
                      </a:prstGeom>
                      <a:noFill/>
                      <a:ln w="12700" cap="flat">
                        <a:solidFill>
                          <a:srgbClr val="001C7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algn="l" rtl="0" fontAlgn="base">
                          <a:spcBef>
                            <a:spcPct val="0"/>
                          </a:spcBef>
                          <a:spcAft>
                            <a:spcPct val="0"/>
                          </a:spcAft>
                        </a:pPr>
                        <a:endParaRPr lang="zh-CN" sz="1000" b="1">
                          <a:solidFill>
                            <a:srgbClr val="504C4C"/>
                          </a:solidFill>
                          <a:latin typeface="Arial" panose="020B0604020202020204" pitchFamily="34" charset="0"/>
                          <a:ea typeface="微软雅黑" panose="020B0503020204020204" pitchFamily="34" charset="-122"/>
                          <a:cs typeface="Arial" pitchFamily="34" charset="0"/>
                        </a:endParaRPr>
                      </a:p>
                    </p:txBody>
                  </p:sp>
                  <p:sp>
                    <p:nvSpPr>
                      <p:cNvPr id="599" name="Line 148">
                        <a:extLst>
                          <a:ext uri="{FF2B5EF4-FFF2-40B4-BE49-F238E27FC236}">
                            <a16:creationId xmlns:a16="http://schemas.microsoft.com/office/drawing/2014/main" id="{7FBCC81F-E0A0-417D-A52C-B5F0AB47BDD4}"/>
                          </a:ext>
                        </a:extLst>
                      </p:cNvPr>
                      <p:cNvSpPr>
                        <a:spLocks noChangeShapeType="1"/>
                      </p:cNvSpPr>
                      <p:nvPr/>
                    </p:nvSpPr>
                    <p:spPr bwMode="auto">
                      <a:xfrm flipV="1">
                        <a:off x="2685385" y="2659904"/>
                        <a:ext cx="0" cy="771568"/>
                      </a:xfrm>
                      <a:prstGeom prst="line">
                        <a:avLst/>
                      </a:prstGeom>
                      <a:noFill/>
                      <a:ln w="12700" cap="flat">
                        <a:solidFill>
                          <a:srgbClr val="001C7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algn="l" rtl="0" fontAlgn="base">
                          <a:spcBef>
                            <a:spcPct val="0"/>
                          </a:spcBef>
                          <a:spcAft>
                            <a:spcPct val="0"/>
                          </a:spcAft>
                        </a:pPr>
                        <a:endParaRPr lang="zh-CN" sz="1000" b="1">
                          <a:solidFill>
                            <a:srgbClr val="504C4C"/>
                          </a:solidFill>
                          <a:latin typeface="Arial" panose="020B0604020202020204" pitchFamily="34" charset="0"/>
                          <a:ea typeface="微软雅黑" panose="020B0503020204020204" pitchFamily="34" charset="-122"/>
                          <a:cs typeface="Arial" pitchFamily="34" charset="0"/>
                        </a:endParaRPr>
                      </a:p>
                    </p:txBody>
                  </p:sp>
                  <p:sp>
                    <p:nvSpPr>
                      <p:cNvPr id="600" name="Line 154">
                        <a:extLst>
                          <a:ext uri="{FF2B5EF4-FFF2-40B4-BE49-F238E27FC236}">
                            <a16:creationId xmlns:a16="http://schemas.microsoft.com/office/drawing/2014/main" id="{49B0979B-28D9-4CFA-9675-9D3650A3ED9B}"/>
                          </a:ext>
                        </a:extLst>
                      </p:cNvPr>
                      <p:cNvSpPr>
                        <a:spLocks noChangeShapeType="1"/>
                      </p:cNvSpPr>
                      <p:nvPr/>
                    </p:nvSpPr>
                    <p:spPr bwMode="auto">
                      <a:xfrm flipV="1">
                        <a:off x="1957517" y="2867476"/>
                        <a:ext cx="0" cy="777031"/>
                      </a:xfrm>
                      <a:prstGeom prst="line">
                        <a:avLst/>
                      </a:prstGeom>
                      <a:noFill/>
                      <a:ln w="12700" cap="flat">
                        <a:solidFill>
                          <a:srgbClr val="001C7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algn="l" rtl="0" fontAlgn="base">
                          <a:spcBef>
                            <a:spcPct val="0"/>
                          </a:spcBef>
                          <a:spcAft>
                            <a:spcPct val="0"/>
                          </a:spcAft>
                        </a:pPr>
                        <a:endParaRPr lang="zh-CN" sz="1000" b="1">
                          <a:solidFill>
                            <a:srgbClr val="504C4C"/>
                          </a:solidFill>
                          <a:latin typeface="Arial" panose="020B0604020202020204" pitchFamily="34" charset="0"/>
                          <a:ea typeface="微软雅黑" panose="020B0503020204020204" pitchFamily="34" charset="-122"/>
                          <a:cs typeface="Arial" pitchFamily="34" charset="0"/>
                        </a:endParaRPr>
                      </a:p>
                    </p:txBody>
                  </p:sp>
                  <p:sp>
                    <p:nvSpPr>
                      <p:cNvPr id="601" name="Line 414">
                        <a:extLst>
                          <a:ext uri="{FF2B5EF4-FFF2-40B4-BE49-F238E27FC236}">
                            <a16:creationId xmlns:a16="http://schemas.microsoft.com/office/drawing/2014/main" id="{EDE5883E-D3C4-48E7-8151-F96B224EAA4A}"/>
                          </a:ext>
                        </a:extLst>
                      </p:cNvPr>
                      <p:cNvSpPr>
                        <a:spLocks noChangeShapeType="1"/>
                      </p:cNvSpPr>
                      <p:nvPr/>
                    </p:nvSpPr>
                    <p:spPr bwMode="auto">
                      <a:xfrm flipV="1">
                        <a:off x="6311070" y="2240662"/>
                        <a:ext cx="0" cy="1321907"/>
                      </a:xfrm>
                      <a:prstGeom prst="line">
                        <a:avLst/>
                      </a:prstGeom>
                      <a:noFill/>
                      <a:ln w="12700" cap="flat">
                        <a:solidFill>
                          <a:srgbClr val="001C7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algn="l" rtl="0" fontAlgn="base">
                          <a:spcBef>
                            <a:spcPct val="0"/>
                          </a:spcBef>
                          <a:spcAft>
                            <a:spcPct val="0"/>
                          </a:spcAft>
                        </a:pPr>
                        <a:endParaRPr lang="zh-CN" sz="1000" b="1">
                          <a:solidFill>
                            <a:srgbClr val="504C4C"/>
                          </a:solidFill>
                          <a:latin typeface="Arial" panose="020B0604020202020204" pitchFamily="34" charset="0"/>
                          <a:ea typeface="微软雅黑" panose="020B0503020204020204" pitchFamily="34" charset="-122"/>
                          <a:cs typeface="Arial" pitchFamily="34" charset="0"/>
                        </a:endParaRPr>
                      </a:p>
                    </p:txBody>
                  </p:sp>
                  <p:sp>
                    <p:nvSpPr>
                      <p:cNvPr id="602" name="Line 420">
                        <a:extLst>
                          <a:ext uri="{FF2B5EF4-FFF2-40B4-BE49-F238E27FC236}">
                            <a16:creationId xmlns:a16="http://schemas.microsoft.com/office/drawing/2014/main" id="{8361006D-9A2D-4A8D-8D57-F34D3E7859EC}"/>
                          </a:ext>
                        </a:extLst>
                      </p:cNvPr>
                      <p:cNvSpPr>
                        <a:spLocks noChangeShapeType="1"/>
                      </p:cNvSpPr>
                      <p:nvPr/>
                    </p:nvSpPr>
                    <p:spPr bwMode="auto">
                      <a:xfrm flipV="1">
                        <a:off x="5590030" y="2205156"/>
                        <a:ext cx="0" cy="1031034"/>
                      </a:xfrm>
                      <a:prstGeom prst="line">
                        <a:avLst/>
                      </a:prstGeom>
                      <a:noFill/>
                      <a:ln w="12700" cap="flat">
                        <a:solidFill>
                          <a:srgbClr val="001C7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algn="l" rtl="0" fontAlgn="base">
                          <a:spcBef>
                            <a:spcPct val="0"/>
                          </a:spcBef>
                          <a:spcAft>
                            <a:spcPct val="0"/>
                          </a:spcAft>
                        </a:pPr>
                        <a:endParaRPr lang="zh-CN" sz="1000" b="1">
                          <a:solidFill>
                            <a:srgbClr val="504C4C"/>
                          </a:solidFill>
                          <a:latin typeface="Arial" panose="020B0604020202020204" pitchFamily="34" charset="0"/>
                          <a:ea typeface="微软雅黑" panose="020B0503020204020204" pitchFamily="34" charset="-122"/>
                          <a:cs typeface="Arial" pitchFamily="34" charset="0"/>
                        </a:endParaRPr>
                      </a:p>
                    </p:txBody>
                  </p:sp>
                </p:grpSp>
                <p:sp>
                  <p:nvSpPr>
                    <p:cNvPr id="592" name="Line 422">
                      <a:extLst>
                        <a:ext uri="{FF2B5EF4-FFF2-40B4-BE49-F238E27FC236}">
                          <a16:creationId xmlns:a16="http://schemas.microsoft.com/office/drawing/2014/main" id="{9CC78F04-4C88-411A-B478-F76728DC647A}"/>
                        </a:ext>
                      </a:extLst>
                    </p:cNvPr>
                    <p:cNvSpPr>
                      <a:spLocks noChangeShapeType="1"/>
                    </p:cNvSpPr>
                    <p:nvPr/>
                  </p:nvSpPr>
                  <p:spPr bwMode="auto">
                    <a:xfrm>
                      <a:off x="5548822" y="2202425"/>
                      <a:ext cx="57355" cy="0"/>
                    </a:xfrm>
                    <a:prstGeom prst="line">
                      <a:avLst/>
                    </a:prstGeom>
                    <a:noFill/>
                    <a:ln w="12700" cap="flat">
                      <a:solidFill>
                        <a:srgbClr val="001C7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algn="l" rtl="0" fontAlgn="base">
                        <a:spcBef>
                          <a:spcPct val="0"/>
                        </a:spcBef>
                        <a:spcAft>
                          <a:spcPct val="0"/>
                        </a:spcAft>
                      </a:pPr>
                      <a:endParaRPr lang="zh-CN" sz="1000" b="1">
                        <a:solidFill>
                          <a:srgbClr val="504C4C"/>
                        </a:solidFill>
                        <a:latin typeface="Arial" panose="020B0604020202020204" pitchFamily="34" charset="0"/>
                        <a:ea typeface="微软雅黑" panose="020B0503020204020204" pitchFamily="34" charset="-122"/>
                        <a:cs typeface="Arial" pitchFamily="34" charset="0"/>
                      </a:endParaRPr>
                    </a:p>
                  </p:txBody>
                </p:sp>
                <p:sp>
                  <p:nvSpPr>
                    <p:cNvPr id="593" name="Line 424">
                      <a:extLst>
                        <a:ext uri="{FF2B5EF4-FFF2-40B4-BE49-F238E27FC236}">
                          <a16:creationId xmlns:a16="http://schemas.microsoft.com/office/drawing/2014/main" id="{75B681DD-2193-4864-B60D-15816853E5AD}"/>
                        </a:ext>
                      </a:extLst>
                    </p:cNvPr>
                    <p:cNvSpPr>
                      <a:spLocks noChangeShapeType="1"/>
                    </p:cNvSpPr>
                    <p:nvPr/>
                  </p:nvSpPr>
                  <p:spPr bwMode="auto">
                    <a:xfrm>
                      <a:off x="5548822" y="3233459"/>
                      <a:ext cx="57355" cy="0"/>
                    </a:xfrm>
                    <a:prstGeom prst="line">
                      <a:avLst/>
                    </a:prstGeom>
                    <a:noFill/>
                    <a:ln w="12700" cap="flat">
                      <a:solidFill>
                        <a:srgbClr val="001C7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algn="l" rtl="0" fontAlgn="base">
                        <a:spcBef>
                          <a:spcPct val="0"/>
                        </a:spcBef>
                        <a:spcAft>
                          <a:spcPct val="0"/>
                        </a:spcAft>
                      </a:pPr>
                      <a:endParaRPr lang="zh-CN" sz="1000" b="1">
                        <a:solidFill>
                          <a:srgbClr val="504C4C"/>
                        </a:solidFill>
                        <a:latin typeface="Arial" panose="020B0604020202020204" pitchFamily="34" charset="0"/>
                        <a:ea typeface="微软雅黑" panose="020B0503020204020204" pitchFamily="34" charset="-122"/>
                        <a:cs typeface="Arial" pitchFamily="34" charset="0"/>
                      </a:endParaRPr>
                    </a:p>
                  </p:txBody>
                </p:sp>
                <p:sp>
                  <p:nvSpPr>
                    <p:cNvPr id="594" name="Line 416">
                      <a:extLst>
                        <a:ext uri="{FF2B5EF4-FFF2-40B4-BE49-F238E27FC236}">
                          <a16:creationId xmlns:a16="http://schemas.microsoft.com/office/drawing/2014/main" id="{9E14C5B5-75C7-43CC-9FFE-D2606C120EC4}"/>
                        </a:ext>
                      </a:extLst>
                    </p:cNvPr>
                    <p:cNvSpPr>
                      <a:spLocks noChangeShapeType="1"/>
                    </p:cNvSpPr>
                    <p:nvPr/>
                  </p:nvSpPr>
                  <p:spPr bwMode="auto">
                    <a:xfrm>
                      <a:off x="6272593" y="2237931"/>
                      <a:ext cx="57355" cy="0"/>
                    </a:xfrm>
                    <a:prstGeom prst="line">
                      <a:avLst/>
                    </a:prstGeom>
                    <a:noFill/>
                    <a:ln w="12700" cap="flat">
                      <a:solidFill>
                        <a:srgbClr val="001C7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algn="l" rtl="0" fontAlgn="base">
                        <a:spcBef>
                          <a:spcPct val="0"/>
                        </a:spcBef>
                        <a:spcAft>
                          <a:spcPct val="0"/>
                        </a:spcAft>
                      </a:pPr>
                      <a:endParaRPr lang="zh-CN" sz="1000" b="1">
                        <a:solidFill>
                          <a:srgbClr val="504C4C"/>
                        </a:solidFill>
                        <a:latin typeface="Arial" panose="020B0604020202020204" pitchFamily="34" charset="0"/>
                        <a:ea typeface="微软雅黑" panose="020B0503020204020204" pitchFamily="34" charset="-122"/>
                        <a:cs typeface="Arial" pitchFamily="34" charset="0"/>
                      </a:endParaRPr>
                    </a:p>
                  </p:txBody>
                </p:sp>
              </p:grpSp>
            </p:grpSp>
            <p:grpSp>
              <p:nvGrpSpPr>
                <p:cNvPr id="555" name="Group 321">
                  <a:extLst>
                    <a:ext uri="{FF2B5EF4-FFF2-40B4-BE49-F238E27FC236}">
                      <a16:creationId xmlns:a16="http://schemas.microsoft.com/office/drawing/2014/main" id="{3F0B9803-1C72-4AFC-8914-F4AB8EB868EC}"/>
                    </a:ext>
                  </a:extLst>
                </p:cNvPr>
                <p:cNvGrpSpPr/>
                <p:nvPr/>
              </p:nvGrpSpPr>
              <p:grpSpPr>
                <a:xfrm>
                  <a:off x="1745848" y="1863874"/>
                  <a:ext cx="4603947" cy="1955429"/>
                  <a:chOff x="1745848" y="1863874"/>
                  <a:chExt cx="4603947" cy="1955429"/>
                </a:xfrm>
              </p:grpSpPr>
              <p:sp>
                <p:nvSpPr>
                  <p:cNvPr id="556" name="Line 164">
                    <a:extLst>
                      <a:ext uri="{FF2B5EF4-FFF2-40B4-BE49-F238E27FC236}">
                        <a16:creationId xmlns:a16="http://schemas.microsoft.com/office/drawing/2014/main" id="{F93DD2EE-6F2D-4F0C-A813-DA57136497FA}"/>
                      </a:ext>
                    </a:extLst>
                  </p:cNvPr>
                  <p:cNvSpPr>
                    <a:spLocks noChangeShapeType="1"/>
                  </p:cNvSpPr>
                  <p:nvPr/>
                </p:nvSpPr>
                <p:spPr bwMode="auto">
                  <a:xfrm>
                    <a:off x="1749945" y="3819303"/>
                    <a:ext cx="57355" cy="0"/>
                  </a:xfrm>
                  <a:prstGeom prst="line">
                    <a:avLst/>
                  </a:prstGeom>
                  <a:noFill/>
                  <a:ln w="12700" cap="flat">
                    <a:solidFill>
                      <a:srgbClr val="001C7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algn="l" rtl="0" fontAlgn="base">
                      <a:spcBef>
                        <a:spcPct val="0"/>
                      </a:spcBef>
                      <a:spcAft>
                        <a:spcPct val="0"/>
                      </a:spcAft>
                    </a:pPr>
                    <a:endParaRPr lang="zh-CN" sz="1000" b="1">
                      <a:solidFill>
                        <a:srgbClr val="504C4C"/>
                      </a:solidFill>
                      <a:latin typeface="Arial" panose="020B0604020202020204" pitchFamily="34" charset="0"/>
                      <a:ea typeface="微软雅黑" panose="020B0503020204020204" pitchFamily="34" charset="-122"/>
                      <a:cs typeface="Arial" pitchFamily="34" charset="0"/>
                    </a:endParaRPr>
                  </a:p>
                </p:txBody>
              </p:sp>
              <p:sp>
                <p:nvSpPr>
                  <p:cNvPr id="557" name="Rectangle 50">
                    <a:extLst>
                      <a:ext uri="{FF2B5EF4-FFF2-40B4-BE49-F238E27FC236}">
                        <a16:creationId xmlns:a16="http://schemas.microsoft.com/office/drawing/2014/main" id="{0B39D985-546A-406C-877B-3AF39C9F0E20}"/>
                      </a:ext>
                    </a:extLst>
                  </p:cNvPr>
                  <p:cNvSpPr>
                    <a:spLocks noChangeArrowheads="1"/>
                  </p:cNvSpPr>
                  <p:nvPr/>
                </p:nvSpPr>
                <p:spPr bwMode="auto">
                  <a:xfrm>
                    <a:off x="5552280" y="2681872"/>
                    <a:ext cx="73743" cy="76474"/>
                  </a:xfrm>
                  <a:prstGeom prst="rect">
                    <a:avLst/>
                  </a:prstGeom>
                  <a:solidFill>
                    <a:srgbClr val="001C71"/>
                  </a:solidFill>
                  <a:ln>
                    <a:solidFill>
                      <a:srgbClr val="001C71"/>
                    </a:solidFill>
                  </a:ln>
                </p:spPr>
                <p:txBody>
                  <a:bodyPr vert="horz" wrap="square" lIns="91440" tIns="45720" rIns="91440" bIns="45720" numCol="1" anchor="t" anchorCtr="0" compatLnSpc="1">
                    <a:prstTxWarp prst="textNoShape">
                      <a:avLst/>
                    </a:prstTxWarp>
                  </a:bodyPr>
                  <a:lstStyle/>
                  <a:p>
                    <a:pPr algn="l" rtl="0" fontAlgn="base">
                      <a:spcBef>
                        <a:spcPct val="0"/>
                      </a:spcBef>
                      <a:spcAft>
                        <a:spcPct val="0"/>
                      </a:spcAft>
                    </a:pPr>
                    <a:endParaRPr lang="zh-CN" sz="1000" b="1">
                      <a:solidFill>
                        <a:srgbClr val="504C4C"/>
                      </a:solidFill>
                      <a:latin typeface="Arial" panose="020B0604020202020204" pitchFamily="34" charset="0"/>
                      <a:ea typeface="微软雅黑" panose="020B0503020204020204" pitchFamily="34" charset="-122"/>
                      <a:cs typeface="Arial" pitchFamily="34" charset="0"/>
                    </a:endParaRPr>
                  </a:p>
                </p:txBody>
              </p:sp>
              <p:sp>
                <p:nvSpPr>
                  <p:cNvPr id="558" name="Rectangle 51">
                    <a:extLst>
                      <a:ext uri="{FF2B5EF4-FFF2-40B4-BE49-F238E27FC236}">
                        <a16:creationId xmlns:a16="http://schemas.microsoft.com/office/drawing/2014/main" id="{73F05663-0FE3-4833-84ED-CCF491A2F6EC}"/>
                      </a:ext>
                    </a:extLst>
                  </p:cNvPr>
                  <p:cNvSpPr>
                    <a:spLocks noChangeArrowheads="1"/>
                  </p:cNvSpPr>
                  <p:nvPr/>
                </p:nvSpPr>
                <p:spPr bwMode="auto">
                  <a:xfrm>
                    <a:off x="4820315" y="2531656"/>
                    <a:ext cx="76474" cy="73743"/>
                  </a:xfrm>
                  <a:prstGeom prst="rect">
                    <a:avLst/>
                  </a:prstGeom>
                  <a:solidFill>
                    <a:srgbClr val="001C71"/>
                  </a:solidFill>
                  <a:ln>
                    <a:solidFill>
                      <a:srgbClr val="001C71"/>
                    </a:solidFill>
                  </a:ln>
                </p:spPr>
                <p:txBody>
                  <a:bodyPr vert="horz" wrap="square" lIns="91440" tIns="45720" rIns="91440" bIns="45720" numCol="1" anchor="t" anchorCtr="0" compatLnSpc="1">
                    <a:prstTxWarp prst="textNoShape">
                      <a:avLst/>
                    </a:prstTxWarp>
                  </a:bodyPr>
                  <a:lstStyle/>
                  <a:p>
                    <a:pPr algn="l" rtl="0" fontAlgn="base">
                      <a:spcBef>
                        <a:spcPct val="0"/>
                      </a:spcBef>
                      <a:spcAft>
                        <a:spcPct val="0"/>
                      </a:spcAft>
                    </a:pPr>
                    <a:endParaRPr lang="zh-CN" sz="1000" b="1">
                      <a:solidFill>
                        <a:srgbClr val="504C4C"/>
                      </a:solidFill>
                      <a:latin typeface="Arial" panose="020B0604020202020204" pitchFamily="34" charset="0"/>
                      <a:ea typeface="微软雅黑" panose="020B0503020204020204" pitchFamily="34" charset="-122"/>
                      <a:cs typeface="Arial" pitchFamily="34" charset="0"/>
                    </a:endParaRPr>
                  </a:p>
                </p:txBody>
              </p:sp>
              <p:sp>
                <p:nvSpPr>
                  <p:cNvPr id="559" name="Rectangle 52">
                    <a:extLst>
                      <a:ext uri="{FF2B5EF4-FFF2-40B4-BE49-F238E27FC236}">
                        <a16:creationId xmlns:a16="http://schemas.microsoft.com/office/drawing/2014/main" id="{C309C20B-DA21-4DC9-BD00-355998F602BE}"/>
                      </a:ext>
                    </a:extLst>
                  </p:cNvPr>
                  <p:cNvSpPr>
                    <a:spLocks noChangeArrowheads="1"/>
                  </p:cNvSpPr>
                  <p:nvPr/>
                </p:nvSpPr>
                <p:spPr bwMode="auto">
                  <a:xfrm>
                    <a:off x="4096544" y="2728303"/>
                    <a:ext cx="73743" cy="76474"/>
                  </a:xfrm>
                  <a:prstGeom prst="rect">
                    <a:avLst/>
                  </a:prstGeom>
                  <a:solidFill>
                    <a:srgbClr val="001C71"/>
                  </a:solidFill>
                  <a:ln>
                    <a:solidFill>
                      <a:srgbClr val="001C71"/>
                    </a:solidFill>
                  </a:ln>
                </p:spPr>
                <p:txBody>
                  <a:bodyPr vert="horz" wrap="square" lIns="91440" tIns="45720" rIns="91440" bIns="45720" numCol="1" anchor="t" anchorCtr="0" compatLnSpc="1">
                    <a:prstTxWarp prst="textNoShape">
                      <a:avLst/>
                    </a:prstTxWarp>
                  </a:bodyPr>
                  <a:lstStyle/>
                  <a:p>
                    <a:pPr algn="l" rtl="0" fontAlgn="base">
                      <a:spcBef>
                        <a:spcPct val="0"/>
                      </a:spcBef>
                      <a:spcAft>
                        <a:spcPct val="0"/>
                      </a:spcAft>
                    </a:pPr>
                    <a:endParaRPr lang="zh-CN" sz="1000" b="1">
                      <a:solidFill>
                        <a:srgbClr val="504C4C"/>
                      </a:solidFill>
                      <a:latin typeface="Arial" panose="020B0604020202020204" pitchFamily="34" charset="0"/>
                      <a:ea typeface="微软雅黑" panose="020B0503020204020204" pitchFamily="34" charset="-122"/>
                      <a:cs typeface="Arial" pitchFamily="34" charset="0"/>
                    </a:endParaRPr>
                  </a:p>
                </p:txBody>
              </p:sp>
              <p:sp>
                <p:nvSpPr>
                  <p:cNvPr id="560" name="Rectangle 53">
                    <a:extLst>
                      <a:ext uri="{FF2B5EF4-FFF2-40B4-BE49-F238E27FC236}">
                        <a16:creationId xmlns:a16="http://schemas.microsoft.com/office/drawing/2014/main" id="{D5D3AED2-DEB3-4980-886D-B3FF24C9450E}"/>
                      </a:ext>
                    </a:extLst>
                  </p:cNvPr>
                  <p:cNvSpPr>
                    <a:spLocks noChangeArrowheads="1"/>
                  </p:cNvSpPr>
                  <p:nvPr/>
                </p:nvSpPr>
                <p:spPr bwMode="auto">
                  <a:xfrm>
                    <a:off x="3374138" y="2870326"/>
                    <a:ext cx="73743" cy="76474"/>
                  </a:xfrm>
                  <a:prstGeom prst="rect">
                    <a:avLst/>
                  </a:prstGeom>
                  <a:solidFill>
                    <a:srgbClr val="001C71"/>
                  </a:solidFill>
                  <a:ln>
                    <a:solidFill>
                      <a:srgbClr val="001C71"/>
                    </a:solidFill>
                  </a:ln>
                </p:spPr>
                <p:txBody>
                  <a:bodyPr vert="horz" wrap="square" lIns="91440" tIns="45720" rIns="91440" bIns="45720" numCol="1" anchor="t" anchorCtr="0" compatLnSpc="1">
                    <a:prstTxWarp prst="textNoShape">
                      <a:avLst/>
                    </a:prstTxWarp>
                  </a:bodyPr>
                  <a:lstStyle/>
                  <a:p>
                    <a:pPr algn="l" rtl="0" fontAlgn="base">
                      <a:spcBef>
                        <a:spcPct val="0"/>
                      </a:spcBef>
                      <a:spcAft>
                        <a:spcPct val="0"/>
                      </a:spcAft>
                    </a:pPr>
                    <a:endParaRPr lang="zh-CN" sz="1000" b="1">
                      <a:solidFill>
                        <a:srgbClr val="504C4C"/>
                      </a:solidFill>
                      <a:latin typeface="Arial" panose="020B0604020202020204" pitchFamily="34" charset="0"/>
                      <a:ea typeface="微软雅黑" panose="020B0503020204020204" pitchFamily="34" charset="-122"/>
                      <a:cs typeface="Arial" pitchFamily="34" charset="0"/>
                    </a:endParaRPr>
                  </a:p>
                </p:txBody>
              </p:sp>
              <p:sp>
                <p:nvSpPr>
                  <p:cNvPr id="561" name="Rectangle 54">
                    <a:extLst>
                      <a:ext uri="{FF2B5EF4-FFF2-40B4-BE49-F238E27FC236}">
                        <a16:creationId xmlns:a16="http://schemas.microsoft.com/office/drawing/2014/main" id="{8CBEFF8F-3E9A-4DB2-A01B-A9029585FC56}"/>
                      </a:ext>
                    </a:extLst>
                  </p:cNvPr>
                  <p:cNvSpPr>
                    <a:spLocks noChangeArrowheads="1"/>
                  </p:cNvSpPr>
                  <p:nvPr/>
                </p:nvSpPr>
                <p:spPr bwMode="auto">
                  <a:xfrm>
                    <a:off x="2647636" y="3004156"/>
                    <a:ext cx="73743" cy="76474"/>
                  </a:xfrm>
                  <a:prstGeom prst="rect">
                    <a:avLst/>
                  </a:prstGeom>
                  <a:solidFill>
                    <a:srgbClr val="001C71"/>
                  </a:solidFill>
                  <a:ln>
                    <a:solidFill>
                      <a:srgbClr val="001C71"/>
                    </a:solidFill>
                  </a:ln>
                </p:spPr>
                <p:txBody>
                  <a:bodyPr vert="horz" wrap="square" lIns="91440" tIns="45720" rIns="91440" bIns="45720" numCol="1" anchor="t" anchorCtr="0" compatLnSpc="1">
                    <a:prstTxWarp prst="textNoShape">
                      <a:avLst/>
                    </a:prstTxWarp>
                  </a:bodyPr>
                  <a:lstStyle/>
                  <a:p>
                    <a:pPr algn="l" rtl="0" fontAlgn="base">
                      <a:spcBef>
                        <a:spcPct val="0"/>
                      </a:spcBef>
                      <a:spcAft>
                        <a:spcPct val="0"/>
                      </a:spcAft>
                    </a:pPr>
                    <a:endParaRPr lang="zh-CN" sz="1000" b="1">
                      <a:solidFill>
                        <a:srgbClr val="504C4C"/>
                      </a:solidFill>
                      <a:latin typeface="Arial" panose="020B0604020202020204" pitchFamily="34" charset="0"/>
                      <a:ea typeface="微软雅黑" panose="020B0503020204020204" pitchFamily="34" charset="-122"/>
                      <a:cs typeface="Arial" pitchFamily="34" charset="0"/>
                    </a:endParaRPr>
                  </a:p>
                </p:txBody>
              </p:sp>
              <p:sp>
                <p:nvSpPr>
                  <p:cNvPr id="562" name="Rectangle 55">
                    <a:extLst>
                      <a:ext uri="{FF2B5EF4-FFF2-40B4-BE49-F238E27FC236}">
                        <a16:creationId xmlns:a16="http://schemas.microsoft.com/office/drawing/2014/main" id="{9154D7AA-BB19-4F24-A65C-D0A3BA7919F9}"/>
                      </a:ext>
                    </a:extLst>
                  </p:cNvPr>
                  <p:cNvSpPr>
                    <a:spLocks noChangeArrowheads="1"/>
                  </p:cNvSpPr>
                  <p:nvPr/>
                </p:nvSpPr>
                <p:spPr bwMode="auto">
                  <a:xfrm>
                    <a:off x="1921133" y="3217190"/>
                    <a:ext cx="73743" cy="77840"/>
                  </a:xfrm>
                  <a:prstGeom prst="rect">
                    <a:avLst/>
                  </a:prstGeom>
                  <a:solidFill>
                    <a:srgbClr val="001C71"/>
                  </a:solidFill>
                  <a:ln>
                    <a:solidFill>
                      <a:srgbClr val="001C71"/>
                    </a:solidFill>
                  </a:ln>
                </p:spPr>
                <p:txBody>
                  <a:bodyPr vert="horz" wrap="square" lIns="91440" tIns="45720" rIns="91440" bIns="45720" numCol="1" anchor="t" anchorCtr="0" compatLnSpc="1">
                    <a:prstTxWarp prst="textNoShape">
                      <a:avLst/>
                    </a:prstTxWarp>
                  </a:bodyPr>
                  <a:lstStyle/>
                  <a:p>
                    <a:pPr algn="l" rtl="0" fontAlgn="base">
                      <a:spcBef>
                        <a:spcPct val="0"/>
                      </a:spcBef>
                      <a:spcAft>
                        <a:spcPct val="0"/>
                      </a:spcAft>
                    </a:pPr>
                    <a:endParaRPr lang="zh-CN" sz="1000" b="1">
                      <a:solidFill>
                        <a:srgbClr val="504C4C"/>
                      </a:solidFill>
                      <a:latin typeface="Arial" panose="020B0604020202020204" pitchFamily="34" charset="0"/>
                      <a:ea typeface="微软雅黑" panose="020B0503020204020204" pitchFamily="34" charset="-122"/>
                      <a:cs typeface="Arial" pitchFamily="34" charset="0"/>
                    </a:endParaRPr>
                  </a:p>
                </p:txBody>
              </p:sp>
              <p:sp>
                <p:nvSpPr>
                  <p:cNvPr id="563" name="Rectangle 57">
                    <a:extLst>
                      <a:ext uri="{FF2B5EF4-FFF2-40B4-BE49-F238E27FC236}">
                        <a16:creationId xmlns:a16="http://schemas.microsoft.com/office/drawing/2014/main" id="{F2D378E0-9167-47E1-9332-42130D3CF6E6}"/>
                      </a:ext>
                    </a:extLst>
                  </p:cNvPr>
                  <p:cNvSpPr>
                    <a:spLocks noChangeArrowheads="1"/>
                  </p:cNvSpPr>
                  <p:nvPr/>
                </p:nvSpPr>
                <p:spPr bwMode="auto">
                  <a:xfrm>
                    <a:off x="6276052" y="2862133"/>
                    <a:ext cx="73743" cy="73743"/>
                  </a:xfrm>
                  <a:prstGeom prst="rect">
                    <a:avLst/>
                  </a:prstGeom>
                  <a:solidFill>
                    <a:srgbClr val="001C71"/>
                  </a:solidFill>
                  <a:ln>
                    <a:solidFill>
                      <a:srgbClr val="001C71"/>
                    </a:solidFill>
                  </a:ln>
                </p:spPr>
                <p:txBody>
                  <a:bodyPr vert="horz" wrap="square" lIns="91440" tIns="45720" rIns="91440" bIns="45720" numCol="1" anchor="t" anchorCtr="0" compatLnSpc="1">
                    <a:prstTxWarp prst="textNoShape">
                      <a:avLst/>
                    </a:prstTxWarp>
                  </a:bodyPr>
                  <a:lstStyle/>
                  <a:p>
                    <a:pPr algn="l" rtl="0" fontAlgn="base">
                      <a:spcBef>
                        <a:spcPct val="0"/>
                      </a:spcBef>
                      <a:spcAft>
                        <a:spcPct val="0"/>
                      </a:spcAft>
                    </a:pPr>
                    <a:endParaRPr lang="zh-CN" sz="1000" b="1">
                      <a:solidFill>
                        <a:srgbClr val="504C4C"/>
                      </a:solidFill>
                      <a:latin typeface="Arial" panose="020B0604020202020204" pitchFamily="34" charset="0"/>
                      <a:ea typeface="微软雅黑" panose="020B0503020204020204" pitchFamily="34" charset="-122"/>
                      <a:cs typeface="Arial" pitchFamily="34" charset="0"/>
                    </a:endParaRPr>
                  </a:p>
                </p:txBody>
              </p:sp>
              <p:sp>
                <p:nvSpPr>
                  <p:cNvPr id="564" name="Line 132">
                    <a:extLst>
                      <a:ext uri="{FF2B5EF4-FFF2-40B4-BE49-F238E27FC236}">
                        <a16:creationId xmlns:a16="http://schemas.microsoft.com/office/drawing/2014/main" id="{6EBA471F-1AEA-495A-8275-3F9D566AE5F0}"/>
                      </a:ext>
                    </a:extLst>
                  </p:cNvPr>
                  <p:cNvSpPr>
                    <a:spLocks noChangeShapeType="1"/>
                  </p:cNvSpPr>
                  <p:nvPr/>
                </p:nvSpPr>
                <p:spPr bwMode="auto">
                  <a:xfrm>
                    <a:off x="4828509" y="1863874"/>
                    <a:ext cx="57355" cy="0"/>
                  </a:xfrm>
                  <a:prstGeom prst="line">
                    <a:avLst/>
                  </a:prstGeom>
                  <a:noFill/>
                  <a:ln w="12700" cap="flat">
                    <a:solidFill>
                      <a:srgbClr val="001C7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algn="l" rtl="0" fontAlgn="base">
                      <a:spcBef>
                        <a:spcPct val="0"/>
                      </a:spcBef>
                      <a:spcAft>
                        <a:spcPct val="0"/>
                      </a:spcAft>
                    </a:pPr>
                    <a:endParaRPr lang="zh-CN" sz="1000" b="1">
                      <a:solidFill>
                        <a:srgbClr val="504C4C"/>
                      </a:solidFill>
                      <a:latin typeface="Arial" panose="020B0604020202020204" pitchFamily="34" charset="0"/>
                      <a:ea typeface="微软雅黑" panose="020B0503020204020204" pitchFamily="34" charset="-122"/>
                      <a:cs typeface="Arial" pitchFamily="34" charset="0"/>
                    </a:endParaRPr>
                  </a:p>
                </p:txBody>
              </p:sp>
              <p:sp>
                <p:nvSpPr>
                  <p:cNvPr id="565" name="Line 138">
                    <a:extLst>
                      <a:ext uri="{FF2B5EF4-FFF2-40B4-BE49-F238E27FC236}">
                        <a16:creationId xmlns:a16="http://schemas.microsoft.com/office/drawing/2014/main" id="{31156EC9-379F-43C6-8481-250F2F826F34}"/>
                      </a:ext>
                    </a:extLst>
                  </p:cNvPr>
                  <p:cNvSpPr>
                    <a:spLocks noChangeShapeType="1"/>
                  </p:cNvSpPr>
                  <p:nvPr/>
                </p:nvSpPr>
                <p:spPr bwMode="auto">
                  <a:xfrm>
                    <a:off x="4104737" y="2356858"/>
                    <a:ext cx="57355" cy="0"/>
                  </a:xfrm>
                  <a:prstGeom prst="line">
                    <a:avLst/>
                  </a:prstGeom>
                  <a:noFill/>
                  <a:ln w="12700" cap="flat">
                    <a:solidFill>
                      <a:srgbClr val="001C7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algn="l" rtl="0" fontAlgn="base">
                      <a:spcBef>
                        <a:spcPct val="0"/>
                      </a:spcBef>
                      <a:spcAft>
                        <a:spcPct val="0"/>
                      </a:spcAft>
                    </a:pPr>
                    <a:endParaRPr lang="zh-CN" sz="1000" b="1">
                      <a:solidFill>
                        <a:srgbClr val="504C4C"/>
                      </a:solidFill>
                      <a:latin typeface="Arial" panose="020B0604020202020204" pitchFamily="34" charset="0"/>
                      <a:ea typeface="微软雅黑" panose="020B0503020204020204" pitchFamily="34" charset="-122"/>
                      <a:cs typeface="Arial" pitchFamily="34" charset="0"/>
                    </a:endParaRPr>
                  </a:p>
                </p:txBody>
              </p:sp>
              <p:sp>
                <p:nvSpPr>
                  <p:cNvPr id="566" name="Line 140">
                    <a:extLst>
                      <a:ext uri="{FF2B5EF4-FFF2-40B4-BE49-F238E27FC236}">
                        <a16:creationId xmlns:a16="http://schemas.microsoft.com/office/drawing/2014/main" id="{ACDA5AAE-AA54-4DBC-86FB-4D7EE13C75D5}"/>
                      </a:ext>
                    </a:extLst>
                  </p:cNvPr>
                  <p:cNvSpPr>
                    <a:spLocks noChangeShapeType="1"/>
                  </p:cNvSpPr>
                  <p:nvPr/>
                </p:nvSpPr>
                <p:spPr bwMode="auto">
                  <a:xfrm>
                    <a:off x="4104737" y="3162566"/>
                    <a:ext cx="57355" cy="0"/>
                  </a:xfrm>
                  <a:prstGeom prst="line">
                    <a:avLst/>
                  </a:prstGeom>
                  <a:noFill/>
                  <a:ln w="12700" cap="flat">
                    <a:solidFill>
                      <a:srgbClr val="001C7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algn="l" rtl="0" fontAlgn="base">
                      <a:spcBef>
                        <a:spcPct val="0"/>
                      </a:spcBef>
                      <a:spcAft>
                        <a:spcPct val="0"/>
                      </a:spcAft>
                    </a:pPr>
                    <a:endParaRPr lang="zh-CN" sz="1000" b="1">
                      <a:solidFill>
                        <a:srgbClr val="504C4C"/>
                      </a:solidFill>
                      <a:latin typeface="Arial" panose="020B0604020202020204" pitchFamily="34" charset="0"/>
                      <a:ea typeface="微软雅黑" panose="020B0503020204020204" pitchFamily="34" charset="-122"/>
                      <a:cs typeface="Arial" pitchFamily="34" charset="0"/>
                    </a:endParaRPr>
                  </a:p>
                </p:txBody>
              </p:sp>
              <p:sp>
                <p:nvSpPr>
                  <p:cNvPr id="567" name="Line 144">
                    <a:extLst>
                      <a:ext uri="{FF2B5EF4-FFF2-40B4-BE49-F238E27FC236}">
                        <a16:creationId xmlns:a16="http://schemas.microsoft.com/office/drawing/2014/main" id="{09CB9B02-A661-4BAB-8B3C-7796C943BD69}"/>
                      </a:ext>
                    </a:extLst>
                  </p:cNvPr>
                  <p:cNvSpPr>
                    <a:spLocks noChangeShapeType="1"/>
                  </p:cNvSpPr>
                  <p:nvPr/>
                </p:nvSpPr>
                <p:spPr bwMode="auto">
                  <a:xfrm>
                    <a:off x="3379601" y="2569893"/>
                    <a:ext cx="60087" cy="0"/>
                  </a:xfrm>
                  <a:prstGeom prst="line">
                    <a:avLst/>
                  </a:prstGeom>
                  <a:noFill/>
                  <a:ln w="12700" cap="flat">
                    <a:solidFill>
                      <a:srgbClr val="001C7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algn="l" rtl="0" fontAlgn="base">
                      <a:spcBef>
                        <a:spcPct val="0"/>
                      </a:spcBef>
                      <a:spcAft>
                        <a:spcPct val="0"/>
                      </a:spcAft>
                    </a:pPr>
                    <a:endParaRPr lang="zh-CN" sz="1000" b="1">
                      <a:solidFill>
                        <a:srgbClr val="504C4C"/>
                      </a:solidFill>
                      <a:latin typeface="Arial" panose="020B0604020202020204" pitchFamily="34" charset="0"/>
                      <a:ea typeface="微软雅黑" panose="020B0503020204020204" pitchFamily="34" charset="-122"/>
                      <a:cs typeface="Arial" pitchFamily="34" charset="0"/>
                    </a:endParaRPr>
                  </a:p>
                </p:txBody>
              </p:sp>
              <p:sp>
                <p:nvSpPr>
                  <p:cNvPr id="568" name="Line 146">
                    <a:extLst>
                      <a:ext uri="{FF2B5EF4-FFF2-40B4-BE49-F238E27FC236}">
                        <a16:creationId xmlns:a16="http://schemas.microsoft.com/office/drawing/2014/main" id="{60EBA305-852E-4669-9015-14446C87EFFE}"/>
                      </a:ext>
                    </a:extLst>
                  </p:cNvPr>
                  <p:cNvSpPr>
                    <a:spLocks noChangeShapeType="1"/>
                  </p:cNvSpPr>
                  <p:nvPr/>
                </p:nvSpPr>
                <p:spPr bwMode="auto">
                  <a:xfrm>
                    <a:off x="3379601" y="3247234"/>
                    <a:ext cx="60087" cy="0"/>
                  </a:xfrm>
                  <a:prstGeom prst="line">
                    <a:avLst/>
                  </a:prstGeom>
                  <a:noFill/>
                  <a:ln w="12700" cap="flat">
                    <a:solidFill>
                      <a:srgbClr val="001C7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algn="l" rtl="0" fontAlgn="base">
                      <a:spcBef>
                        <a:spcPct val="0"/>
                      </a:spcBef>
                      <a:spcAft>
                        <a:spcPct val="0"/>
                      </a:spcAft>
                    </a:pPr>
                    <a:endParaRPr lang="zh-CN" sz="1000" b="1">
                      <a:solidFill>
                        <a:srgbClr val="504C4C"/>
                      </a:solidFill>
                      <a:latin typeface="Arial" panose="020B0604020202020204" pitchFamily="34" charset="0"/>
                      <a:ea typeface="微软雅黑" panose="020B0503020204020204" pitchFamily="34" charset="-122"/>
                      <a:cs typeface="Arial" pitchFamily="34" charset="0"/>
                    </a:endParaRPr>
                  </a:p>
                </p:txBody>
              </p:sp>
              <p:sp>
                <p:nvSpPr>
                  <p:cNvPr id="569" name="Line 150">
                    <a:extLst>
                      <a:ext uri="{FF2B5EF4-FFF2-40B4-BE49-F238E27FC236}">
                        <a16:creationId xmlns:a16="http://schemas.microsoft.com/office/drawing/2014/main" id="{79E28F11-11A8-4591-99DC-A859539C0583}"/>
                      </a:ext>
                    </a:extLst>
                  </p:cNvPr>
                  <p:cNvSpPr>
                    <a:spLocks noChangeShapeType="1"/>
                  </p:cNvSpPr>
                  <p:nvPr/>
                </p:nvSpPr>
                <p:spPr bwMode="auto">
                  <a:xfrm>
                    <a:off x="2655829" y="2657292"/>
                    <a:ext cx="57355" cy="0"/>
                  </a:xfrm>
                  <a:prstGeom prst="line">
                    <a:avLst/>
                  </a:prstGeom>
                  <a:noFill/>
                  <a:ln w="12700" cap="flat">
                    <a:solidFill>
                      <a:srgbClr val="001C7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algn="l" rtl="0" fontAlgn="base">
                      <a:spcBef>
                        <a:spcPct val="0"/>
                      </a:spcBef>
                      <a:spcAft>
                        <a:spcPct val="0"/>
                      </a:spcAft>
                    </a:pPr>
                    <a:endParaRPr lang="zh-CN" sz="1000" b="1">
                      <a:solidFill>
                        <a:srgbClr val="504C4C"/>
                      </a:solidFill>
                      <a:latin typeface="Arial" panose="020B0604020202020204" pitchFamily="34" charset="0"/>
                      <a:ea typeface="微软雅黑" panose="020B0503020204020204" pitchFamily="34" charset="-122"/>
                      <a:cs typeface="Arial" pitchFamily="34" charset="0"/>
                    </a:endParaRPr>
                  </a:p>
                </p:txBody>
              </p:sp>
              <p:sp>
                <p:nvSpPr>
                  <p:cNvPr id="570" name="Line 152">
                    <a:extLst>
                      <a:ext uri="{FF2B5EF4-FFF2-40B4-BE49-F238E27FC236}">
                        <a16:creationId xmlns:a16="http://schemas.microsoft.com/office/drawing/2014/main" id="{004A6FEB-FFBC-4577-BEF7-F77DAF436531}"/>
                      </a:ext>
                    </a:extLst>
                  </p:cNvPr>
                  <p:cNvSpPr>
                    <a:spLocks noChangeShapeType="1"/>
                  </p:cNvSpPr>
                  <p:nvPr/>
                </p:nvSpPr>
                <p:spPr bwMode="auto">
                  <a:xfrm>
                    <a:off x="2655829" y="3428859"/>
                    <a:ext cx="57355" cy="0"/>
                  </a:xfrm>
                  <a:prstGeom prst="line">
                    <a:avLst/>
                  </a:prstGeom>
                  <a:noFill/>
                  <a:ln w="12700" cap="flat">
                    <a:solidFill>
                      <a:srgbClr val="001C7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algn="l" rtl="0" fontAlgn="base">
                      <a:spcBef>
                        <a:spcPct val="0"/>
                      </a:spcBef>
                      <a:spcAft>
                        <a:spcPct val="0"/>
                      </a:spcAft>
                    </a:pPr>
                    <a:endParaRPr lang="zh-CN" sz="1000" b="1">
                      <a:solidFill>
                        <a:srgbClr val="504C4C"/>
                      </a:solidFill>
                      <a:latin typeface="Arial" panose="020B0604020202020204" pitchFamily="34" charset="0"/>
                      <a:ea typeface="微软雅黑" panose="020B0503020204020204" pitchFamily="34" charset="-122"/>
                      <a:cs typeface="Arial" pitchFamily="34" charset="0"/>
                    </a:endParaRPr>
                  </a:p>
                </p:txBody>
              </p:sp>
              <p:sp>
                <p:nvSpPr>
                  <p:cNvPr id="571" name="Line 156">
                    <a:extLst>
                      <a:ext uri="{FF2B5EF4-FFF2-40B4-BE49-F238E27FC236}">
                        <a16:creationId xmlns:a16="http://schemas.microsoft.com/office/drawing/2014/main" id="{312FB994-107F-431F-B749-E4C7294C29C2}"/>
                      </a:ext>
                    </a:extLst>
                  </p:cNvPr>
                  <p:cNvSpPr>
                    <a:spLocks noChangeShapeType="1"/>
                  </p:cNvSpPr>
                  <p:nvPr/>
                </p:nvSpPr>
                <p:spPr bwMode="auto">
                  <a:xfrm>
                    <a:off x="1929327" y="2862133"/>
                    <a:ext cx="57355" cy="0"/>
                  </a:xfrm>
                  <a:prstGeom prst="line">
                    <a:avLst/>
                  </a:prstGeom>
                  <a:noFill/>
                  <a:ln w="12700" cap="flat">
                    <a:solidFill>
                      <a:srgbClr val="001C7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algn="l" rtl="0" fontAlgn="base">
                      <a:spcBef>
                        <a:spcPct val="0"/>
                      </a:spcBef>
                      <a:spcAft>
                        <a:spcPct val="0"/>
                      </a:spcAft>
                    </a:pPr>
                    <a:endParaRPr lang="zh-CN" sz="1000" b="1">
                      <a:solidFill>
                        <a:srgbClr val="504C4C"/>
                      </a:solidFill>
                      <a:latin typeface="Arial" panose="020B0604020202020204" pitchFamily="34" charset="0"/>
                      <a:ea typeface="微软雅黑" panose="020B0503020204020204" pitchFamily="34" charset="-122"/>
                      <a:cs typeface="Arial" pitchFamily="34" charset="0"/>
                    </a:endParaRPr>
                  </a:p>
                </p:txBody>
              </p:sp>
              <p:sp>
                <p:nvSpPr>
                  <p:cNvPr id="572" name="Line 158">
                    <a:extLst>
                      <a:ext uri="{FF2B5EF4-FFF2-40B4-BE49-F238E27FC236}">
                        <a16:creationId xmlns:a16="http://schemas.microsoft.com/office/drawing/2014/main" id="{057E4F7B-91B4-4EB6-A353-3E7BD61FBDB5}"/>
                      </a:ext>
                    </a:extLst>
                  </p:cNvPr>
                  <p:cNvSpPr>
                    <a:spLocks noChangeShapeType="1"/>
                  </p:cNvSpPr>
                  <p:nvPr/>
                </p:nvSpPr>
                <p:spPr bwMode="auto">
                  <a:xfrm>
                    <a:off x="1929327" y="3641894"/>
                    <a:ext cx="57355" cy="0"/>
                  </a:xfrm>
                  <a:prstGeom prst="line">
                    <a:avLst/>
                  </a:prstGeom>
                  <a:noFill/>
                  <a:ln w="12700" cap="flat">
                    <a:solidFill>
                      <a:srgbClr val="001C7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algn="l" rtl="0" fontAlgn="base">
                      <a:spcBef>
                        <a:spcPct val="0"/>
                      </a:spcBef>
                      <a:spcAft>
                        <a:spcPct val="0"/>
                      </a:spcAft>
                    </a:pPr>
                    <a:endParaRPr lang="zh-CN" sz="1000" b="1">
                      <a:solidFill>
                        <a:srgbClr val="504C4C"/>
                      </a:solidFill>
                      <a:latin typeface="Arial" panose="020B0604020202020204" pitchFamily="34" charset="0"/>
                      <a:ea typeface="微软雅黑" panose="020B0503020204020204" pitchFamily="34" charset="-122"/>
                      <a:cs typeface="Arial" pitchFamily="34" charset="0"/>
                    </a:endParaRPr>
                  </a:p>
                </p:txBody>
              </p:sp>
              <p:sp>
                <p:nvSpPr>
                  <p:cNvPr id="573" name="Line 418">
                    <a:extLst>
                      <a:ext uri="{FF2B5EF4-FFF2-40B4-BE49-F238E27FC236}">
                        <a16:creationId xmlns:a16="http://schemas.microsoft.com/office/drawing/2014/main" id="{9585D230-7DAD-4841-8CFA-CB3D23D2EE0B}"/>
                      </a:ext>
                    </a:extLst>
                  </p:cNvPr>
                  <p:cNvSpPr>
                    <a:spLocks noChangeShapeType="1"/>
                  </p:cNvSpPr>
                  <p:nvPr/>
                </p:nvSpPr>
                <p:spPr bwMode="auto">
                  <a:xfrm>
                    <a:off x="6284245" y="3559957"/>
                    <a:ext cx="57355" cy="0"/>
                  </a:xfrm>
                  <a:prstGeom prst="line">
                    <a:avLst/>
                  </a:prstGeom>
                  <a:noFill/>
                  <a:ln w="12700" cap="flat">
                    <a:solidFill>
                      <a:srgbClr val="001C7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algn="l" rtl="0" fontAlgn="base">
                      <a:spcBef>
                        <a:spcPct val="0"/>
                      </a:spcBef>
                      <a:spcAft>
                        <a:spcPct val="0"/>
                      </a:spcAft>
                    </a:pPr>
                    <a:endParaRPr lang="zh-CN" sz="1000" b="1">
                      <a:solidFill>
                        <a:srgbClr val="504C4C"/>
                      </a:solidFill>
                      <a:latin typeface="Arial" panose="020B0604020202020204" pitchFamily="34" charset="0"/>
                      <a:ea typeface="微软雅黑" panose="020B0503020204020204" pitchFamily="34" charset="-122"/>
                      <a:cs typeface="Arial" pitchFamily="34" charset="0"/>
                    </a:endParaRPr>
                  </a:p>
                </p:txBody>
              </p:sp>
              <p:sp>
                <p:nvSpPr>
                  <p:cNvPr id="574" name="Line 422">
                    <a:extLst>
                      <a:ext uri="{FF2B5EF4-FFF2-40B4-BE49-F238E27FC236}">
                        <a16:creationId xmlns:a16="http://schemas.microsoft.com/office/drawing/2014/main" id="{0CD47750-77EF-47D5-9FE0-F6F981B20E9B}"/>
                      </a:ext>
                    </a:extLst>
                  </p:cNvPr>
                  <p:cNvSpPr>
                    <a:spLocks noChangeShapeType="1"/>
                  </p:cNvSpPr>
                  <p:nvPr/>
                </p:nvSpPr>
                <p:spPr bwMode="auto">
                  <a:xfrm>
                    <a:off x="5560474" y="2202544"/>
                    <a:ext cx="57355" cy="0"/>
                  </a:xfrm>
                  <a:prstGeom prst="line">
                    <a:avLst/>
                  </a:prstGeom>
                  <a:noFill/>
                  <a:ln w="12700" cap="flat">
                    <a:solidFill>
                      <a:srgbClr val="001C7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algn="l" rtl="0" fontAlgn="base">
                      <a:spcBef>
                        <a:spcPct val="0"/>
                      </a:spcBef>
                      <a:spcAft>
                        <a:spcPct val="0"/>
                      </a:spcAft>
                    </a:pPr>
                    <a:endParaRPr lang="zh-CN" sz="1000" b="1">
                      <a:solidFill>
                        <a:srgbClr val="504C4C"/>
                      </a:solidFill>
                      <a:latin typeface="Arial" panose="020B0604020202020204" pitchFamily="34" charset="0"/>
                      <a:ea typeface="微软雅黑" panose="020B0503020204020204" pitchFamily="34" charset="-122"/>
                      <a:cs typeface="Arial" pitchFamily="34" charset="0"/>
                    </a:endParaRPr>
                  </a:p>
                </p:txBody>
              </p:sp>
              <p:sp>
                <p:nvSpPr>
                  <p:cNvPr id="575" name="Line 424">
                    <a:extLst>
                      <a:ext uri="{FF2B5EF4-FFF2-40B4-BE49-F238E27FC236}">
                        <a16:creationId xmlns:a16="http://schemas.microsoft.com/office/drawing/2014/main" id="{966E75FD-E446-4B94-9D0B-B58FC65AF610}"/>
                      </a:ext>
                    </a:extLst>
                  </p:cNvPr>
                  <p:cNvSpPr>
                    <a:spLocks noChangeShapeType="1"/>
                  </p:cNvSpPr>
                  <p:nvPr/>
                </p:nvSpPr>
                <p:spPr bwMode="auto">
                  <a:xfrm>
                    <a:off x="5560474" y="3233578"/>
                    <a:ext cx="57355" cy="0"/>
                  </a:xfrm>
                  <a:prstGeom prst="line">
                    <a:avLst/>
                  </a:prstGeom>
                  <a:noFill/>
                  <a:ln w="12700" cap="flat">
                    <a:solidFill>
                      <a:srgbClr val="001C7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algn="l" rtl="0" fontAlgn="base">
                      <a:spcBef>
                        <a:spcPct val="0"/>
                      </a:spcBef>
                      <a:spcAft>
                        <a:spcPct val="0"/>
                      </a:spcAft>
                    </a:pPr>
                    <a:endParaRPr lang="zh-CN" sz="1000" b="1">
                      <a:solidFill>
                        <a:srgbClr val="504C4C"/>
                      </a:solidFill>
                      <a:latin typeface="Arial" panose="020B0604020202020204" pitchFamily="34" charset="0"/>
                      <a:ea typeface="微软雅黑" panose="020B0503020204020204" pitchFamily="34" charset="-122"/>
                      <a:cs typeface="Arial" pitchFamily="34" charset="0"/>
                    </a:endParaRPr>
                  </a:p>
                </p:txBody>
              </p:sp>
              <p:sp>
                <p:nvSpPr>
                  <p:cNvPr id="576" name="Line 416">
                    <a:extLst>
                      <a:ext uri="{FF2B5EF4-FFF2-40B4-BE49-F238E27FC236}">
                        <a16:creationId xmlns:a16="http://schemas.microsoft.com/office/drawing/2014/main" id="{4C952123-59C5-42F7-8423-17B446EAB6C0}"/>
                      </a:ext>
                    </a:extLst>
                  </p:cNvPr>
                  <p:cNvSpPr>
                    <a:spLocks noChangeShapeType="1"/>
                  </p:cNvSpPr>
                  <p:nvPr/>
                </p:nvSpPr>
                <p:spPr bwMode="auto">
                  <a:xfrm>
                    <a:off x="6284245" y="2238050"/>
                    <a:ext cx="57355" cy="0"/>
                  </a:xfrm>
                  <a:prstGeom prst="line">
                    <a:avLst/>
                  </a:prstGeom>
                  <a:noFill/>
                  <a:ln w="12700" cap="flat">
                    <a:solidFill>
                      <a:srgbClr val="001C7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algn="l" rtl="0" fontAlgn="base">
                      <a:spcBef>
                        <a:spcPct val="0"/>
                      </a:spcBef>
                      <a:spcAft>
                        <a:spcPct val="0"/>
                      </a:spcAft>
                    </a:pPr>
                    <a:endParaRPr lang="zh-CN" sz="1000" b="1">
                      <a:solidFill>
                        <a:srgbClr val="504C4C"/>
                      </a:solidFill>
                      <a:latin typeface="Arial" panose="020B0604020202020204" pitchFamily="34" charset="0"/>
                      <a:ea typeface="微软雅黑" panose="020B0503020204020204" pitchFamily="34" charset="-122"/>
                      <a:cs typeface="Arial" pitchFamily="34" charset="0"/>
                    </a:endParaRPr>
                  </a:p>
                </p:txBody>
              </p:sp>
              <p:sp>
                <p:nvSpPr>
                  <p:cNvPr id="577" name="Line 158">
                    <a:extLst>
                      <a:ext uri="{FF2B5EF4-FFF2-40B4-BE49-F238E27FC236}">
                        <a16:creationId xmlns:a16="http://schemas.microsoft.com/office/drawing/2014/main" id="{B6FE59AF-4C76-4FE5-A68F-15EB633712D7}"/>
                      </a:ext>
                    </a:extLst>
                  </p:cNvPr>
                  <p:cNvSpPr>
                    <a:spLocks noChangeShapeType="1"/>
                  </p:cNvSpPr>
                  <p:nvPr/>
                </p:nvSpPr>
                <p:spPr bwMode="auto">
                  <a:xfrm>
                    <a:off x="1745848" y="3206265"/>
                    <a:ext cx="63091" cy="0"/>
                  </a:xfrm>
                  <a:prstGeom prst="line">
                    <a:avLst/>
                  </a:prstGeom>
                  <a:noFill/>
                  <a:ln w="12700" cap="flat">
                    <a:solidFill>
                      <a:srgbClr val="001C7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algn="l" rtl="0" fontAlgn="base">
                      <a:spcBef>
                        <a:spcPct val="0"/>
                      </a:spcBef>
                      <a:spcAft>
                        <a:spcPct val="0"/>
                      </a:spcAft>
                    </a:pPr>
                    <a:endParaRPr lang="zh-CN" sz="1000" b="1">
                      <a:solidFill>
                        <a:srgbClr val="504C4C"/>
                      </a:solidFill>
                      <a:latin typeface="Arial" panose="020B0604020202020204" pitchFamily="34" charset="0"/>
                      <a:ea typeface="微软雅黑" panose="020B0503020204020204" pitchFamily="34" charset="-122"/>
                      <a:cs typeface="Arial" pitchFamily="34" charset="0"/>
                    </a:endParaRPr>
                  </a:p>
                </p:txBody>
              </p:sp>
            </p:grpSp>
          </p:grpSp>
          <p:sp>
            <p:nvSpPr>
              <p:cNvPr id="553" name="Rectangle 56">
                <a:extLst>
                  <a:ext uri="{FF2B5EF4-FFF2-40B4-BE49-F238E27FC236}">
                    <a16:creationId xmlns:a16="http://schemas.microsoft.com/office/drawing/2014/main" id="{38C235C4-BF7E-4347-BAC6-FFAB99B9EFC1}"/>
                  </a:ext>
                </a:extLst>
              </p:cNvPr>
              <p:cNvSpPr>
                <a:spLocks noChangeArrowheads="1"/>
              </p:cNvSpPr>
              <p:nvPr/>
            </p:nvSpPr>
            <p:spPr bwMode="auto">
              <a:xfrm>
                <a:off x="1741752" y="3475170"/>
                <a:ext cx="73743" cy="73743"/>
              </a:xfrm>
              <a:prstGeom prst="rect">
                <a:avLst/>
              </a:prstGeom>
              <a:solidFill>
                <a:srgbClr val="001C71"/>
              </a:solidFill>
              <a:ln>
                <a:solidFill>
                  <a:srgbClr val="001C71"/>
                </a:solidFill>
              </a:ln>
            </p:spPr>
            <p:txBody>
              <a:bodyPr vert="horz" wrap="square" lIns="91440" tIns="45720" rIns="91440" bIns="45720" numCol="1" anchor="t" anchorCtr="0" compatLnSpc="1">
                <a:prstTxWarp prst="textNoShape">
                  <a:avLst/>
                </a:prstTxWarp>
              </a:bodyPr>
              <a:lstStyle/>
              <a:p>
                <a:pPr algn="l" rtl="0" fontAlgn="base">
                  <a:spcBef>
                    <a:spcPct val="0"/>
                  </a:spcBef>
                  <a:spcAft>
                    <a:spcPct val="0"/>
                  </a:spcAft>
                </a:pPr>
                <a:endParaRPr lang="zh-CN" sz="1000" b="1">
                  <a:solidFill>
                    <a:srgbClr val="504C4C"/>
                  </a:solidFill>
                  <a:latin typeface="Arial" panose="020B0604020202020204" pitchFamily="34" charset="0"/>
                  <a:ea typeface="微软雅黑" panose="020B0503020204020204" pitchFamily="34" charset="-122"/>
                  <a:cs typeface="Arial" pitchFamily="34" charset="0"/>
                </a:endParaRPr>
              </a:p>
            </p:txBody>
          </p:sp>
        </p:grpSp>
        <p:sp>
          <p:nvSpPr>
            <p:cNvPr id="603" name="Line 38">
              <a:extLst>
                <a:ext uri="{FF2B5EF4-FFF2-40B4-BE49-F238E27FC236}">
                  <a16:creationId xmlns:a16="http://schemas.microsoft.com/office/drawing/2014/main" id="{48E8A346-2085-4B53-96A4-FEB0FA9C9DE5}"/>
                </a:ext>
              </a:extLst>
            </p:cNvPr>
            <p:cNvSpPr>
              <a:spLocks noChangeShapeType="1"/>
            </p:cNvSpPr>
            <p:nvPr/>
          </p:nvSpPr>
          <p:spPr bwMode="auto">
            <a:xfrm>
              <a:off x="7413203" y="5617414"/>
              <a:ext cx="4419238" cy="0"/>
            </a:xfrm>
            <a:prstGeom prst="line">
              <a:avLst/>
            </a:prstGeom>
            <a:noFill/>
            <a:ln w="19050" cap="flat">
              <a:solidFill>
                <a:schemeClr val="tx1">
                  <a:lumMod val="75000"/>
                  <a:lumOff val="25000"/>
                </a:schemeClr>
              </a:solidFill>
              <a:prstDash val="sysDash"/>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algn="l" rtl="0" fontAlgn="base">
                <a:spcBef>
                  <a:spcPct val="0"/>
                </a:spcBef>
                <a:spcAft>
                  <a:spcPct val="0"/>
                </a:spcAft>
              </a:pPr>
              <a:endParaRPr lang="zh-CN" sz="1000" b="1">
                <a:solidFill>
                  <a:srgbClr val="504C4C"/>
                </a:solidFill>
                <a:latin typeface="Arial" panose="020B0604020202020204" pitchFamily="34" charset="0"/>
                <a:ea typeface="微软雅黑" panose="020B0503020204020204" pitchFamily="34" charset="-122"/>
                <a:cs typeface="Arial" pitchFamily="34" charset="0"/>
              </a:endParaRPr>
            </a:p>
          </p:txBody>
        </p:sp>
        <p:grpSp>
          <p:nvGrpSpPr>
            <p:cNvPr id="604" name="Group 83">
              <a:extLst>
                <a:ext uri="{FF2B5EF4-FFF2-40B4-BE49-F238E27FC236}">
                  <a16:creationId xmlns:a16="http://schemas.microsoft.com/office/drawing/2014/main" id="{997385C1-6DE3-4C3F-9FDA-998BB27CB975}"/>
                </a:ext>
              </a:extLst>
            </p:cNvPr>
            <p:cNvGrpSpPr/>
            <p:nvPr/>
          </p:nvGrpSpPr>
          <p:grpSpPr>
            <a:xfrm>
              <a:off x="7420936" y="5496281"/>
              <a:ext cx="4438251" cy="117732"/>
              <a:chOff x="1254230" y="3680131"/>
              <a:chExt cx="5100540" cy="237496"/>
            </a:xfrm>
          </p:grpSpPr>
          <p:sp>
            <p:nvSpPr>
              <p:cNvPr id="605" name="Freeform 45">
                <a:extLst>
                  <a:ext uri="{FF2B5EF4-FFF2-40B4-BE49-F238E27FC236}">
                    <a16:creationId xmlns:a16="http://schemas.microsoft.com/office/drawing/2014/main" id="{3D7BD638-C4C1-495C-921F-B1701B3CCB62}"/>
                  </a:ext>
                </a:extLst>
              </p:cNvPr>
              <p:cNvSpPr>
                <a:spLocks/>
              </p:cNvSpPr>
              <p:nvPr/>
            </p:nvSpPr>
            <p:spPr bwMode="auto">
              <a:xfrm>
                <a:off x="1254230" y="3729173"/>
                <a:ext cx="5062303" cy="188454"/>
              </a:xfrm>
              <a:custGeom>
                <a:avLst/>
                <a:gdLst>
                  <a:gd name="T0" fmla="*/ 0 w 3707"/>
                  <a:gd name="T1" fmla="*/ 138 h 138"/>
                  <a:gd name="T2" fmla="*/ 386 w 3707"/>
                  <a:gd name="T3" fmla="*/ 0 h 138"/>
                  <a:gd name="T4" fmla="*/ 518 w 3707"/>
                  <a:gd name="T5" fmla="*/ 0 h 138"/>
                  <a:gd name="T6" fmla="*/ 1048 w 3707"/>
                  <a:gd name="T7" fmla="*/ 6 h 138"/>
                  <a:gd name="T8" fmla="*/ 1578 w 3707"/>
                  <a:gd name="T9" fmla="*/ 12 h 138"/>
                  <a:gd name="T10" fmla="*/ 2109 w 3707"/>
                  <a:gd name="T11" fmla="*/ 16 h 138"/>
                  <a:gd name="T12" fmla="*/ 2639 w 3707"/>
                  <a:gd name="T13" fmla="*/ 30 h 138"/>
                  <a:gd name="T14" fmla="*/ 3169 w 3707"/>
                  <a:gd name="T15" fmla="*/ 26 h 138"/>
                  <a:gd name="T16" fmla="*/ 3707 w 3707"/>
                  <a:gd name="T17" fmla="*/ 28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707" h="138">
                    <a:moveTo>
                      <a:pt x="0" y="138"/>
                    </a:moveTo>
                    <a:lnTo>
                      <a:pt x="386" y="0"/>
                    </a:lnTo>
                    <a:lnTo>
                      <a:pt x="518" y="0"/>
                    </a:lnTo>
                    <a:lnTo>
                      <a:pt x="1048" y="6"/>
                    </a:lnTo>
                    <a:lnTo>
                      <a:pt x="1578" y="12"/>
                    </a:lnTo>
                    <a:lnTo>
                      <a:pt x="2109" y="16"/>
                    </a:lnTo>
                    <a:lnTo>
                      <a:pt x="2639" y="30"/>
                    </a:lnTo>
                    <a:lnTo>
                      <a:pt x="3169" y="26"/>
                    </a:lnTo>
                    <a:lnTo>
                      <a:pt x="3707" y="28"/>
                    </a:lnTo>
                  </a:path>
                </a:pathLst>
              </a:custGeom>
              <a:noFill/>
              <a:ln w="28575" cap="flat">
                <a:solidFill>
                  <a:srgbClr val="C3D6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algn="l" rtl="0" fontAlgn="base">
                  <a:spcBef>
                    <a:spcPct val="0"/>
                  </a:spcBef>
                  <a:spcAft>
                    <a:spcPct val="0"/>
                  </a:spcAft>
                </a:pPr>
                <a:endParaRPr lang="zh-CN" sz="1000" b="1">
                  <a:solidFill>
                    <a:srgbClr val="504C4C"/>
                  </a:solidFill>
                  <a:latin typeface="Arial" panose="020B0604020202020204" pitchFamily="34" charset="0"/>
                  <a:ea typeface="微软雅黑" panose="020B0503020204020204" pitchFamily="34" charset="-122"/>
                  <a:cs typeface="Arial" pitchFamily="34" charset="0"/>
                </a:endParaRPr>
              </a:p>
            </p:txBody>
          </p:sp>
          <p:sp>
            <p:nvSpPr>
              <p:cNvPr id="606" name="Oval 58">
                <a:extLst>
                  <a:ext uri="{FF2B5EF4-FFF2-40B4-BE49-F238E27FC236}">
                    <a16:creationId xmlns:a16="http://schemas.microsoft.com/office/drawing/2014/main" id="{A2118657-FCAB-430D-959A-4574FAB778FA}"/>
                  </a:ext>
                </a:extLst>
              </p:cNvPr>
              <p:cNvSpPr>
                <a:spLocks noChangeArrowheads="1"/>
              </p:cNvSpPr>
              <p:nvPr/>
            </p:nvSpPr>
            <p:spPr bwMode="auto">
              <a:xfrm>
                <a:off x="4828022" y="3737367"/>
                <a:ext cx="73743" cy="73743"/>
              </a:xfrm>
              <a:prstGeom prst="ellipse">
                <a:avLst/>
              </a:prstGeom>
              <a:solidFill>
                <a:srgbClr val="C3D600"/>
              </a:solidFill>
              <a:ln>
                <a:solidFill>
                  <a:srgbClr val="C3D600"/>
                </a:solidFill>
              </a:ln>
            </p:spPr>
            <p:txBody>
              <a:bodyPr vert="horz" wrap="square" lIns="91440" tIns="45720" rIns="91440" bIns="45720" numCol="1" anchor="t" anchorCtr="0" compatLnSpc="1">
                <a:prstTxWarp prst="textNoShape">
                  <a:avLst/>
                </a:prstTxWarp>
              </a:bodyPr>
              <a:lstStyle/>
              <a:p>
                <a:pPr algn="l" rtl="0" fontAlgn="base">
                  <a:spcBef>
                    <a:spcPct val="0"/>
                  </a:spcBef>
                  <a:spcAft>
                    <a:spcPct val="0"/>
                  </a:spcAft>
                </a:pPr>
                <a:endParaRPr lang="zh-CN" sz="1000" b="1">
                  <a:solidFill>
                    <a:srgbClr val="504C4C"/>
                  </a:solidFill>
                  <a:latin typeface="Arial" panose="020B0604020202020204" pitchFamily="34" charset="0"/>
                  <a:ea typeface="微软雅黑" panose="020B0503020204020204" pitchFamily="34" charset="-122"/>
                  <a:cs typeface="Arial" pitchFamily="34" charset="0"/>
                </a:endParaRPr>
              </a:p>
            </p:txBody>
          </p:sp>
          <p:sp>
            <p:nvSpPr>
              <p:cNvPr id="607" name="Oval 59">
                <a:extLst>
                  <a:ext uri="{FF2B5EF4-FFF2-40B4-BE49-F238E27FC236}">
                    <a16:creationId xmlns:a16="http://schemas.microsoft.com/office/drawing/2014/main" id="{AB3A419A-5507-42A3-9E62-DF4070722E9C}"/>
                  </a:ext>
                </a:extLst>
              </p:cNvPr>
              <p:cNvSpPr>
                <a:spLocks noChangeArrowheads="1"/>
              </p:cNvSpPr>
              <p:nvPr/>
            </p:nvSpPr>
            <p:spPr bwMode="auto">
              <a:xfrm>
                <a:off x="4098788" y="3718248"/>
                <a:ext cx="71012" cy="71012"/>
              </a:xfrm>
              <a:prstGeom prst="ellipse">
                <a:avLst/>
              </a:prstGeom>
              <a:solidFill>
                <a:srgbClr val="C3D600"/>
              </a:solidFill>
              <a:ln>
                <a:solidFill>
                  <a:srgbClr val="C3D600"/>
                </a:solidFill>
              </a:ln>
            </p:spPr>
            <p:txBody>
              <a:bodyPr vert="horz" wrap="square" lIns="91440" tIns="45720" rIns="91440" bIns="45720" numCol="1" anchor="t" anchorCtr="0" compatLnSpc="1">
                <a:prstTxWarp prst="textNoShape">
                  <a:avLst/>
                </a:prstTxWarp>
              </a:bodyPr>
              <a:lstStyle/>
              <a:p>
                <a:pPr algn="l" rtl="0" fontAlgn="base">
                  <a:spcBef>
                    <a:spcPct val="0"/>
                  </a:spcBef>
                  <a:spcAft>
                    <a:spcPct val="0"/>
                  </a:spcAft>
                </a:pPr>
                <a:endParaRPr lang="zh-CN" sz="1000" b="1">
                  <a:solidFill>
                    <a:srgbClr val="504C4C"/>
                  </a:solidFill>
                  <a:latin typeface="Arial" panose="020B0604020202020204" pitchFamily="34" charset="0"/>
                  <a:ea typeface="微软雅黑" panose="020B0503020204020204" pitchFamily="34" charset="-122"/>
                  <a:cs typeface="Arial" pitchFamily="34" charset="0"/>
                </a:endParaRPr>
              </a:p>
            </p:txBody>
          </p:sp>
          <p:sp>
            <p:nvSpPr>
              <p:cNvPr id="608" name="Oval 60">
                <a:extLst>
                  <a:ext uri="{FF2B5EF4-FFF2-40B4-BE49-F238E27FC236}">
                    <a16:creationId xmlns:a16="http://schemas.microsoft.com/office/drawing/2014/main" id="{1F8130A0-B0C7-4E5C-B4AD-7665DA99F2A6}"/>
                  </a:ext>
                </a:extLst>
              </p:cNvPr>
              <p:cNvSpPr>
                <a:spLocks noChangeArrowheads="1"/>
              </p:cNvSpPr>
              <p:nvPr/>
            </p:nvSpPr>
            <p:spPr bwMode="auto">
              <a:xfrm>
                <a:off x="3373651" y="3707323"/>
                <a:ext cx="71012" cy="73743"/>
              </a:xfrm>
              <a:prstGeom prst="ellipse">
                <a:avLst/>
              </a:prstGeom>
              <a:solidFill>
                <a:srgbClr val="C3D600"/>
              </a:solidFill>
              <a:ln>
                <a:solidFill>
                  <a:srgbClr val="C3D600"/>
                </a:solidFill>
              </a:ln>
            </p:spPr>
            <p:txBody>
              <a:bodyPr vert="horz" wrap="square" lIns="91440" tIns="45720" rIns="91440" bIns="45720" numCol="1" anchor="t" anchorCtr="0" compatLnSpc="1">
                <a:prstTxWarp prst="textNoShape">
                  <a:avLst/>
                </a:prstTxWarp>
              </a:bodyPr>
              <a:lstStyle/>
              <a:p>
                <a:pPr algn="l" rtl="0" fontAlgn="base">
                  <a:spcBef>
                    <a:spcPct val="0"/>
                  </a:spcBef>
                  <a:spcAft>
                    <a:spcPct val="0"/>
                  </a:spcAft>
                </a:pPr>
                <a:endParaRPr lang="zh-CN" sz="1000" b="1">
                  <a:solidFill>
                    <a:srgbClr val="504C4C"/>
                  </a:solidFill>
                  <a:latin typeface="Arial" panose="020B0604020202020204" pitchFamily="34" charset="0"/>
                  <a:ea typeface="微软雅黑" panose="020B0503020204020204" pitchFamily="34" charset="-122"/>
                  <a:cs typeface="Arial" pitchFamily="34" charset="0"/>
                </a:endParaRPr>
              </a:p>
            </p:txBody>
          </p:sp>
          <p:sp>
            <p:nvSpPr>
              <p:cNvPr id="609" name="Oval 61">
                <a:extLst>
                  <a:ext uri="{FF2B5EF4-FFF2-40B4-BE49-F238E27FC236}">
                    <a16:creationId xmlns:a16="http://schemas.microsoft.com/office/drawing/2014/main" id="{6DF63987-51F4-44DF-908E-96A8CEFCA94C}"/>
                  </a:ext>
                </a:extLst>
              </p:cNvPr>
              <p:cNvSpPr>
                <a:spLocks noChangeArrowheads="1"/>
              </p:cNvSpPr>
              <p:nvPr/>
            </p:nvSpPr>
            <p:spPr bwMode="auto">
              <a:xfrm>
                <a:off x="2649880" y="3701861"/>
                <a:ext cx="71012" cy="71012"/>
              </a:xfrm>
              <a:prstGeom prst="ellipse">
                <a:avLst/>
              </a:prstGeom>
              <a:solidFill>
                <a:srgbClr val="C3D600"/>
              </a:solidFill>
              <a:ln>
                <a:solidFill>
                  <a:srgbClr val="C3D600"/>
                </a:solidFill>
              </a:ln>
            </p:spPr>
            <p:txBody>
              <a:bodyPr vert="horz" wrap="square" lIns="91440" tIns="45720" rIns="91440" bIns="45720" numCol="1" anchor="t" anchorCtr="0" compatLnSpc="1">
                <a:prstTxWarp prst="textNoShape">
                  <a:avLst/>
                </a:prstTxWarp>
              </a:bodyPr>
              <a:lstStyle/>
              <a:p>
                <a:pPr algn="l" rtl="0" fontAlgn="base">
                  <a:spcBef>
                    <a:spcPct val="0"/>
                  </a:spcBef>
                  <a:spcAft>
                    <a:spcPct val="0"/>
                  </a:spcAft>
                </a:pPr>
                <a:endParaRPr lang="zh-CN" sz="1000" b="1">
                  <a:solidFill>
                    <a:srgbClr val="504C4C"/>
                  </a:solidFill>
                  <a:latin typeface="Arial" panose="020B0604020202020204" pitchFamily="34" charset="0"/>
                  <a:ea typeface="微软雅黑" panose="020B0503020204020204" pitchFamily="34" charset="-122"/>
                  <a:cs typeface="Arial" pitchFamily="34" charset="0"/>
                </a:endParaRPr>
              </a:p>
            </p:txBody>
          </p:sp>
          <p:sp>
            <p:nvSpPr>
              <p:cNvPr id="610" name="Oval 62">
                <a:extLst>
                  <a:ext uri="{FF2B5EF4-FFF2-40B4-BE49-F238E27FC236}">
                    <a16:creationId xmlns:a16="http://schemas.microsoft.com/office/drawing/2014/main" id="{ECD7321E-A83C-4C36-A37B-A5AFE62E6A89}"/>
                  </a:ext>
                </a:extLst>
              </p:cNvPr>
              <p:cNvSpPr>
                <a:spLocks noChangeArrowheads="1"/>
              </p:cNvSpPr>
              <p:nvPr/>
            </p:nvSpPr>
            <p:spPr bwMode="auto">
              <a:xfrm>
                <a:off x="1926108" y="3693667"/>
                <a:ext cx="73743" cy="73743"/>
              </a:xfrm>
              <a:prstGeom prst="ellipse">
                <a:avLst/>
              </a:prstGeom>
              <a:solidFill>
                <a:srgbClr val="C3D600"/>
              </a:solidFill>
              <a:ln>
                <a:solidFill>
                  <a:srgbClr val="C3D600"/>
                </a:solidFill>
              </a:ln>
            </p:spPr>
            <p:txBody>
              <a:bodyPr vert="horz" wrap="square" lIns="91440" tIns="45720" rIns="91440" bIns="45720" numCol="1" anchor="t" anchorCtr="0" compatLnSpc="1">
                <a:prstTxWarp prst="textNoShape">
                  <a:avLst/>
                </a:prstTxWarp>
              </a:bodyPr>
              <a:lstStyle/>
              <a:p>
                <a:pPr algn="l" rtl="0" fontAlgn="base">
                  <a:spcBef>
                    <a:spcPct val="0"/>
                  </a:spcBef>
                  <a:spcAft>
                    <a:spcPct val="0"/>
                  </a:spcAft>
                </a:pPr>
                <a:endParaRPr lang="zh-CN" sz="1000" b="1">
                  <a:solidFill>
                    <a:srgbClr val="504C4C"/>
                  </a:solidFill>
                  <a:latin typeface="Arial" panose="020B0604020202020204" pitchFamily="34" charset="0"/>
                  <a:ea typeface="微软雅黑" panose="020B0503020204020204" pitchFamily="34" charset="-122"/>
                  <a:cs typeface="Arial" pitchFamily="34" charset="0"/>
                </a:endParaRPr>
              </a:p>
            </p:txBody>
          </p:sp>
          <p:sp>
            <p:nvSpPr>
              <p:cNvPr id="611" name="Oval 71">
                <a:extLst>
                  <a:ext uri="{FF2B5EF4-FFF2-40B4-BE49-F238E27FC236}">
                    <a16:creationId xmlns:a16="http://schemas.microsoft.com/office/drawing/2014/main" id="{944390D1-449D-4B8E-9221-E0EF9C48327C}"/>
                  </a:ext>
                </a:extLst>
              </p:cNvPr>
              <p:cNvSpPr>
                <a:spLocks noChangeArrowheads="1"/>
              </p:cNvSpPr>
              <p:nvPr/>
            </p:nvSpPr>
            <p:spPr bwMode="auto">
              <a:xfrm>
                <a:off x="5551793" y="3729173"/>
                <a:ext cx="73743" cy="73743"/>
              </a:xfrm>
              <a:prstGeom prst="ellipse">
                <a:avLst/>
              </a:prstGeom>
              <a:solidFill>
                <a:srgbClr val="C3D600"/>
              </a:solidFill>
              <a:ln>
                <a:solidFill>
                  <a:srgbClr val="C3D600"/>
                </a:solidFill>
              </a:ln>
            </p:spPr>
            <p:txBody>
              <a:bodyPr vert="horz" wrap="square" lIns="91440" tIns="45720" rIns="91440" bIns="45720" numCol="1" anchor="t" anchorCtr="0" compatLnSpc="1">
                <a:prstTxWarp prst="textNoShape">
                  <a:avLst/>
                </a:prstTxWarp>
              </a:bodyPr>
              <a:lstStyle/>
              <a:p>
                <a:pPr algn="l" rtl="0" fontAlgn="base">
                  <a:spcBef>
                    <a:spcPct val="0"/>
                  </a:spcBef>
                  <a:spcAft>
                    <a:spcPct val="0"/>
                  </a:spcAft>
                </a:pPr>
                <a:endParaRPr lang="zh-CN" sz="1000" b="1">
                  <a:solidFill>
                    <a:srgbClr val="504C4C"/>
                  </a:solidFill>
                  <a:latin typeface="Arial" panose="020B0604020202020204" pitchFamily="34" charset="0"/>
                  <a:ea typeface="微软雅黑" panose="020B0503020204020204" pitchFamily="34" charset="-122"/>
                  <a:cs typeface="Arial" pitchFamily="34" charset="0"/>
                </a:endParaRPr>
              </a:p>
            </p:txBody>
          </p:sp>
          <p:sp>
            <p:nvSpPr>
              <p:cNvPr id="612" name="Oval 72">
                <a:extLst>
                  <a:ext uri="{FF2B5EF4-FFF2-40B4-BE49-F238E27FC236}">
                    <a16:creationId xmlns:a16="http://schemas.microsoft.com/office/drawing/2014/main" id="{41B9E758-3E9D-4A31-837F-97ED8315C477}"/>
                  </a:ext>
                </a:extLst>
              </p:cNvPr>
              <p:cNvSpPr>
                <a:spLocks noChangeArrowheads="1"/>
              </p:cNvSpPr>
              <p:nvPr/>
            </p:nvSpPr>
            <p:spPr bwMode="auto">
              <a:xfrm>
                <a:off x="6281027" y="3729173"/>
                <a:ext cx="73743" cy="73743"/>
              </a:xfrm>
              <a:prstGeom prst="ellipse">
                <a:avLst/>
              </a:prstGeom>
              <a:solidFill>
                <a:srgbClr val="C3D600"/>
              </a:solidFill>
              <a:ln>
                <a:solidFill>
                  <a:srgbClr val="C3D600"/>
                </a:solidFill>
              </a:ln>
            </p:spPr>
            <p:txBody>
              <a:bodyPr vert="horz" wrap="square" lIns="91440" tIns="45720" rIns="91440" bIns="45720" numCol="1" anchor="t" anchorCtr="0" compatLnSpc="1">
                <a:prstTxWarp prst="textNoShape">
                  <a:avLst/>
                </a:prstTxWarp>
              </a:bodyPr>
              <a:lstStyle/>
              <a:p>
                <a:pPr algn="l" rtl="0" fontAlgn="base">
                  <a:spcBef>
                    <a:spcPct val="0"/>
                  </a:spcBef>
                  <a:spcAft>
                    <a:spcPct val="0"/>
                  </a:spcAft>
                </a:pPr>
                <a:endParaRPr lang="zh-CN" sz="1000" b="1">
                  <a:solidFill>
                    <a:srgbClr val="504C4C"/>
                  </a:solidFill>
                  <a:latin typeface="Arial" panose="020B0604020202020204" pitchFamily="34" charset="0"/>
                  <a:ea typeface="微软雅黑" panose="020B0503020204020204" pitchFamily="34" charset="-122"/>
                  <a:cs typeface="Arial" pitchFamily="34" charset="0"/>
                </a:endParaRPr>
              </a:p>
            </p:txBody>
          </p:sp>
          <p:sp>
            <p:nvSpPr>
              <p:cNvPr id="613" name="Freeform 201">
                <a:extLst>
                  <a:ext uri="{FF2B5EF4-FFF2-40B4-BE49-F238E27FC236}">
                    <a16:creationId xmlns:a16="http://schemas.microsoft.com/office/drawing/2014/main" id="{7704360D-C07B-495F-AF94-B315C411BA17}"/>
                  </a:ext>
                </a:extLst>
              </p:cNvPr>
              <p:cNvSpPr>
                <a:spLocks/>
              </p:cNvSpPr>
              <p:nvPr/>
            </p:nvSpPr>
            <p:spPr bwMode="auto">
              <a:xfrm>
                <a:off x="6319264" y="3685474"/>
                <a:ext cx="0" cy="163873"/>
              </a:xfrm>
              <a:custGeom>
                <a:avLst/>
                <a:gdLst>
                  <a:gd name="T0" fmla="*/ 120 h 120"/>
                  <a:gd name="T1" fmla="*/ 0 h 120"/>
                  <a:gd name="T2" fmla="*/ 120 h 120"/>
                </a:gdLst>
                <a:ahLst/>
                <a:cxnLst>
                  <a:cxn ang="0">
                    <a:pos x="0" y="T0"/>
                  </a:cxn>
                  <a:cxn ang="0">
                    <a:pos x="0" y="T1"/>
                  </a:cxn>
                  <a:cxn ang="0">
                    <a:pos x="0" y="T2"/>
                  </a:cxn>
                </a:cxnLst>
                <a:rect l="0" t="0" r="r" b="b"/>
                <a:pathLst>
                  <a:path h="120">
                    <a:moveTo>
                      <a:pt x="0" y="120"/>
                    </a:moveTo>
                    <a:lnTo>
                      <a:pt x="0" y="0"/>
                    </a:lnTo>
                    <a:lnTo>
                      <a:pt x="0" y="120"/>
                    </a:lnTo>
                    <a:close/>
                  </a:path>
                </a:pathLst>
              </a:custGeom>
              <a:solidFill>
                <a:srgbClr val="00983A"/>
              </a:solidFill>
              <a:ln w="9525">
                <a:solidFill>
                  <a:srgbClr val="C3D600"/>
                </a:solidFill>
                <a:round/>
                <a:headEnd/>
                <a:tailEnd/>
              </a:ln>
            </p:spPr>
            <p:txBody>
              <a:bodyPr vert="horz" wrap="square" lIns="91440" tIns="45720" rIns="91440" bIns="45720" numCol="1" anchor="t" anchorCtr="0" compatLnSpc="1">
                <a:prstTxWarp prst="textNoShape">
                  <a:avLst/>
                </a:prstTxWarp>
              </a:bodyPr>
              <a:lstStyle/>
              <a:p>
                <a:pPr algn="l" rtl="0" fontAlgn="base">
                  <a:spcBef>
                    <a:spcPct val="0"/>
                  </a:spcBef>
                  <a:spcAft>
                    <a:spcPct val="0"/>
                  </a:spcAft>
                </a:pPr>
                <a:endParaRPr lang="zh-CN" sz="1000" b="1">
                  <a:solidFill>
                    <a:srgbClr val="504C4C"/>
                  </a:solidFill>
                  <a:latin typeface="Arial" panose="020B0604020202020204" pitchFamily="34" charset="0"/>
                  <a:ea typeface="微软雅黑" panose="020B0503020204020204" pitchFamily="34" charset="-122"/>
                  <a:cs typeface="Arial" pitchFamily="34" charset="0"/>
                </a:endParaRPr>
              </a:p>
            </p:txBody>
          </p:sp>
          <p:sp>
            <p:nvSpPr>
              <p:cNvPr id="614" name="Line 202">
                <a:extLst>
                  <a:ext uri="{FF2B5EF4-FFF2-40B4-BE49-F238E27FC236}">
                    <a16:creationId xmlns:a16="http://schemas.microsoft.com/office/drawing/2014/main" id="{4E212592-0B97-4B5B-A8E3-18D8334C5EF9}"/>
                  </a:ext>
                </a:extLst>
              </p:cNvPr>
              <p:cNvSpPr>
                <a:spLocks noChangeShapeType="1"/>
              </p:cNvSpPr>
              <p:nvPr/>
            </p:nvSpPr>
            <p:spPr bwMode="auto">
              <a:xfrm flipV="1">
                <a:off x="6319264" y="3685474"/>
                <a:ext cx="0" cy="163873"/>
              </a:xfrm>
              <a:prstGeom prst="line">
                <a:avLst/>
              </a:prstGeom>
              <a:noFill/>
              <a:ln w="12700" cap="flat">
                <a:solidFill>
                  <a:srgbClr val="C3D6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algn="l" rtl="0" fontAlgn="base">
                  <a:spcBef>
                    <a:spcPct val="0"/>
                  </a:spcBef>
                  <a:spcAft>
                    <a:spcPct val="0"/>
                  </a:spcAft>
                </a:pPr>
                <a:endParaRPr lang="zh-CN" sz="1000" b="1">
                  <a:solidFill>
                    <a:srgbClr val="504C4C"/>
                  </a:solidFill>
                  <a:latin typeface="Arial" panose="020B0604020202020204" pitchFamily="34" charset="0"/>
                  <a:ea typeface="微软雅黑" panose="020B0503020204020204" pitchFamily="34" charset="-122"/>
                  <a:cs typeface="Arial" pitchFamily="34" charset="0"/>
                </a:endParaRPr>
              </a:p>
            </p:txBody>
          </p:sp>
          <p:sp>
            <p:nvSpPr>
              <p:cNvPr id="615" name="Freeform 203">
                <a:extLst>
                  <a:ext uri="{FF2B5EF4-FFF2-40B4-BE49-F238E27FC236}">
                    <a16:creationId xmlns:a16="http://schemas.microsoft.com/office/drawing/2014/main" id="{B9C29411-B897-4925-9A8A-5CCC825E2E61}"/>
                  </a:ext>
                </a:extLst>
              </p:cNvPr>
              <p:cNvSpPr>
                <a:spLocks/>
              </p:cNvSpPr>
              <p:nvPr/>
            </p:nvSpPr>
            <p:spPr bwMode="auto">
              <a:xfrm>
                <a:off x="6289221" y="3685474"/>
                <a:ext cx="57355" cy="0"/>
              </a:xfrm>
              <a:custGeom>
                <a:avLst/>
                <a:gdLst>
                  <a:gd name="T0" fmla="*/ 0 w 42"/>
                  <a:gd name="T1" fmla="*/ 42 w 42"/>
                  <a:gd name="T2" fmla="*/ 0 w 42"/>
                </a:gdLst>
                <a:ahLst/>
                <a:cxnLst>
                  <a:cxn ang="0">
                    <a:pos x="T0" y="0"/>
                  </a:cxn>
                  <a:cxn ang="0">
                    <a:pos x="T1" y="0"/>
                  </a:cxn>
                  <a:cxn ang="0">
                    <a:pos x="T2" y="0"/>
                  </a:cxn>
                </a:cxnLst>
                <a:rect l="0" t="0" r="r" b="b"/>
                <a:pathLst>
                  <a:path w="42">
                    <a:moveTo>
                      <a:pt x="0" y="0"/>
                    </a:moveTo>
                    <a:lnTo>
                      <a:pt x="42" y="0"/>
                    </a:lnTo>
                    <a:lnTo>
                      <a:pt x="0" y="0"/>
                    </a:lnTo>
                    <a:close/>
                  </a:path>
                </a:pathLst>
              </a:custGeom>
              <a:solidFill>
                <a:srgbClr val="00983A"/>
              </a:solidFill>
              <a:ln w="9525">
                <a:solidFill>
                  <a:srgbClr val="C3D600"/>
                </a:solidFill>
                <a:round/>
                <a:headEnd/>
                <a:tailEnd/>
              </a:ln>
            </p:spPr>
            <p:txBody>
              <a:bodyPr vert="horz" wrap="square" lIns="91440" tIns="45720" rIns="91440" bIns="45720" numCol="1" anchor="t" anchorCtr="0" compatLnSpc="1">
                <a:prstTxWarp prst="textNoShape">
                  <a:avLst/>
                </a:prstTxWarp>
              </a:bodyPr>
              <a:lstStyle/>
              <a:p>
                <a:pPr algn="l" rtl="0" fontAlgn="base">
                  <a:spcBef>
                    <a:spcPct val="0"/>
                  </a:spcBef>
                  <a:spcAft>
                    <a:spcPct val="0"/>
                  </a:spcAft>
                </a:pPr>
                <a:endParaRPr lang="zh-CN" sz="1000" b="1">
                  <a:solidFill>
                    <a:srgbClr val="504C4C"/>
                  </a:solidFill>
                  <a:latin typeface="Arial" panose="020B0604020202020204" pitchFamily="34" charset="0"/>
                  <a:ea typeface="微软雅黑" panose="020B0503020204020204" pitchFamily="34" charset="-122"/>
                  <a:cs typeface="Arial" pitchFamily="34" charset="0"/>
                </a:endParaRPr>
              </a:p>
            </p:txBody>
          </p:sp>
          <p:sp>
            <p:nvSpPr>
              <p:cNvPr id="616" name="Freeform 206">
                <a:extLst>
                  <a:ext uri="{FF2B5EF4-FFF2-40B4-BE49-F238E27FC236}">
                    <a16:creationId xmlns:a16="http://schemas.microsoft.com/office/drawing/2014/main" id="{944051B7-7A97-4E99-BDE7-FFA6955E82DF}"/>
                  </a:ext>
                </a:extLst>
              </p:cNvPr>
              <p:cNvSpPr>
                <a:spLocks/>
              </p:cNvSpPr>
              <p:nvPr/>
            </p:nvSpPr>
            <p:spPr bwMode="auto">
              <a:xfrm>
                <a:off x="6289221" y="3849347"/>
                <a:ext cx="57355" cy="0"/>
              </a:xfrm>
              <a:custGeom>
                <a:avLst/>
                <a:gdLst>
                  <a:gd name="T0" fmla="*/ 0 w 42"/>
                  <a:gd name="T1" fmla="*/ 42 w 42"/>
                  <a:gd name="T2" fmla="*/ 0 w 42"/>
                </a:gdLst>
                <a:ahLst/>
                <a:cxnLst>
                  <a:cxn ang="0">
                    <a:pos x="T0" y="0"/>
                  </a:cxn>
                  <a:cxn ang="0">
                    <a:pos x="T1" y="0"/>
                  </a:cxn>
                  <a:cxn ang="0">
                    <a:pos x="T2" y="0"/>
                  </a:cxn>
                </a:cxnLst>
                <a:rect l="0" t="0" r="r" b="b"/>
                <a:pathLst>
                  <a:path w="42">
                    <a:moveTo>
                      <a:pt x="0" y="0"/>
                    </a:moveTo>
                    <a:lnTo>
                      <a:pt x="42" y="0"/>
                    </a:lnTo>
                    <a:lnTo>
                      <a:pt x="0" y="0"/>
                    </a:lnTo>
                    <a:close/>
                  </a:path>
                </a:pathLst>
              </a:custGeom>
              <a:solidFill>
                <a:srgbClr val="00983A"/>
              </a:solidFill>
              <a:ln w="9525">
                <a:solidFill>
                  <a:srgbClr val="C3D600"/>
                </a:solidFill>
                <a:round/>
                <a:headEnd/>
                <a:tailEnd/>
              </a:ln>
            </p:spPr>
            <p:txBody>
              <a:bodyPr vert="horz" wrap="square" lIns="91440" tIns="45720" rIns="91440" bIns="45720" numCol="1" anchor="t" anchorCtr="0" compatLnSpc="1">
                <a:prstTxWarp prst="textNoShape">
                  <a:avLst/>
                </a:prstTxWarp>
              </a:bodyPr>
              <a:lstStyle/>
              <a:p>
                <a:pPr algn="l" rtl="0" fontAlgn="base">
                  <a:spcBef>
                    <a:spcPct val="0"/>
                  </a:spcBef>
                  <a:spcAft>
                    <a:spcPct val="0"/>
                  </a:spcAft>
                </a:pPr>
                <a:endParaRPr lang="zh-CN" sz="1000" b="1">
                  <a:solidFill>
                    <a:srgbClr val="504C4C"/>
                  </a:solidFill>
                  <a:latin typeface="Arial" panose="020B0604020202020204" pitchFamily="34" charset="0"/>
                  <a:ea typeface="微软雅黑" panose="020B0503020204020204" pitchFamily="34" charset="-122"/>
                  <a:cs typeface="Arial" pitchFamily="34" charset="0"/>
                </a:endParaRPr>
              </a:p>
            </p:txBody>
          </p:sp>
          <p:sp>
            <p:nvSpPr>
              <p:cNvPr id="617" name="Freeform 208">
                <a:extLst>
                  <a:ext uri="{FF2B5EF4-FFF2-40B4-BE49-F238E27FC236}">
                    <a16:creationId xmlns:a16="http://schemas.microsoft.com/office/drawing/2014/main" id="{72DB59ED-1A7A-4BE1-ACC0-7121BA10B7A8}"/>
                  </a:ext>
                </a:extLst>
              </p:cNvPr>
              <p:cNvSpPr>
                <a:spLocks/>
              </p:cNvSpPr>
              <p:nvPr/>
            </p:nvSpPr>
            <p:spPr bwMode="auto">
              <a:xfrm>
                <a:off x="5590030" y="3707323"/>
                <a:ext cx="0" cy="111980"/>
              </a:xfrm>
              <a:custGeom>
                <a:avLst/>
                <a:gdLst>
                  <a:gd name="T0" fmla="*/ 82 h 82"/>
                  <a:gd name="T1" fmla="*/ 0 h 82"/>
                  <a:gd name="T2" fmla="*/ 82 h 82"/>
                </a:gdLst>
                <a:ahLst/>
                <a:cxnLst>
                  <a:cxn ang="0">
                    <a:pos x="0" y="T0"/>
                  </a:cxn>
                  <a:cxn ang="0">
                    <a:pos x="0" y="T1"/>
                  </a:cxn>
                  <a:cxn ang="0">
                    <a:pos x="0" y="T2"/>
                  </a:cxn>
                </a:cxnLst>
                <a:rect l="0" t="0" r="r" b="b"/>
                <a:pathLst>
                  <a:path h="82">
                    <a:moveTo>
                      <a:pt x="0" y="82"/>
                    </a:moveTo>
                    <a:lnTo>
                      <a:pt x="0" y="0"/>
                    </a:lnTo>
                    <a:lnTo>
                      <a:pt x="0" y="82"/>
                    </a:lnTo>
                    <a:close/>
                  </a:path>
                </a:pathLst>
              </a:custGeom>
              <a:solidFill>
                <a:srgbClr val="00983A"/>
              </a:solidFill>
              <a:ln w="9525">
                <a:solidFill>
                  <a:srgbClr val="C3D600"/>
                </a:solidFill>
                <a:round/>
                <a:headEnd/>
                <a:tailEnd/>
              </a:ln>
            </p:spPr>
            <p:txBody>
              <a:bodyPr vert="horz" wrap="square" lIns="91440" tIns="45720" rIns="91440" bIns="45720" numCol="1" anchor="t" anchorCtr="0" compatLnSpc="1">
                <a:prstTxWarp prst="textNoShape">
                  <a:avLst/>
                </a:prstTxWarp>
              </a:bodyPr>
              <a:lstStyle/>
              <a:p>
                <a:pPr algn="l" rtl="0" fontAlgn="base">
                  <a:spcBef>
                    <a:spcPct val="0"/>
                  </a:spcBef>
                  <a:spcAft>
                    <a:spcPct val="0"/>
                  </a:spcAft>
                </a:pPr>
                <a:endParaRPr lang="zh-CN" sz="1000" b="1">
                  <a:solidFill>
                    <a:srgbClr val="504C4C"/>
                  </a:solidFill>
                  <a:latin typeface="Arial" panose="020B0604020202020204" pitchFamily="34" charset="0"/>
                  <a:ea typeface="微软雅黑" panose="020B0503020204020204" pitchFamily="34" charset="-122"/>
                  <a:cs typeface="Arial" pitchFamily="34" charset="0"/>
                </a:endParaRPr>
              </a:p>
            </p:txBody>
          </p:sp>
          <p:sp>
            <p:nvSpPr>
              <p:cNvPr id="618" name="Line 209">
                <a:extLst>
                  <a:ext uri="{FF2B5EF4-FFF2-40B4-BE49-F238E27FC236}">
                    <a16:creationId xmlns:a16="http://schemas.microsoft.com/office/drawing/2014/main" id="{193F31D6-DC3B-4155-9356-46386CA51BA4}"/>
                  </a:ext>
                </a:extLst>
              </p:cNvPr>
              <p:cNvSpPr>
                <a:spLocks noChangeShapeType="1"/>
              </p:cNvSpPr>
              <p:nvPr/>
            </p:nvSpPr>
            <p:spPr bwMode="auto">
              <a:xfrm flipV="1">
                <a:off x="5590030" y="3707323"/>
                <a:ext cx="0" cy="111980"/>
              </a:xfrm>
              <a:prstGeom prst="line">
                <a:avLst/>
              </a:prstGeom>
              <a:noFill/>
              <a:ln w="12700" cap="flat">
                <a:solidFill>
                  <a:srgbClr val="C3D6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algn="l" rtl="0" fontAlgn="base">
                  <a:spcBef>
                    <a:spcPct val="0"/>
                  </a:spcBef>
                  <a:spcAft>
                    <a:spcPct val="0"/>
                  </a:spcAft>
                </a:pPr>
                <a:endParaRPr lang="zh-CN" sz="1000" b="1">
                  <a:solidFill>
                    <a:srgbClr val="504C4C"/>
                  </a:solidFill>
                  <a:latin typeface="Arial" panose="020B0604020202020204" pitchFamily="34" charset="0"/>
                  <a:ea typeface="微软雅黑" panose="020B0503020204020204" pitchFamily="34" charset="-122"/>
                  <a:cs typeface="Arial" pitchFamily="34" charset="0"/>
                </a:endParaRPr>
              </a:p>
            </p:txBody>
          </p:sp>
          <p:sp>
            <p:nvSpPr>
              <p:cNvPr id="619" name="Freeform 210">
                <a:extLst>
                  <a:ext uri="{FF2B5EF4-FFF2-40B4-BE49-F238E27FC236}">
                    <a16:creationId xmlns:a16="http://schemas.microsoft.com/office/drawing/2014/main" id="{A7585CE1-A984-4B52-B04C-0CB0992C4BBE}"/>
                  </a:ext>
                </a:extLst>
              </p:cNvPr>
              <p:cNvSpPr>
                <a:spLocks/>
              </p:cNvSpPr>
              <p:nvPr/>
            </p:nvSpPr>
            <p:spPr bwMode="auto">
              <a:xfrm>
                <a:off x="5559987" y="3707323"/>
                <a:ext cx="57355" cy="0"/>
              </a:xfrm>
              <a:custGeom>
                <a:avLst/>
                <a:gdLst>
                  <a:gd name="T0" fmla="*/ 0 w 42"/>
                  <a:gd name="T1" fmla="*/ 42 w 42"/>
                  <a:gd name="T2" fmla="*/ 0 w 42"/>
                </a:gdLst>
                <a:ahLst/>
                <a:cxnLst>
                  <a:cxn ang="0">
                    <a:pos x="T0" y="0"/>
                  </a:cxn>
                  <a:cxn ang="0">
                    <a:pos x="T1" y="0"/>
                  </a:cxn>
                  <a:cxn ang="0">
                    <a:pos x="T2" y="0"/>
                  </a:cxn>
                </a:cxnLst>
                <a:rect l="0" t="0" r="r" b="b"/>
                <a:pathLst>
                  <a:path w="42">
                    <a:moveTo>
                      <a:pt x="0" y="0"/>
                    </a:moveTo>
                    <a:lnTo>
                      <a:pt x="42" y="0"/>
                    </a:lnTo>
                    <a:lnTo>
                      <a:pt x="0" y="0"/>
                    </a:lnTo>
                    <a:close/>
                  </a:path>
                </a:pathLst>
              </a:custGeom>
              <a:solidFill>
                <a:srgbClr val="00983A"/>
              </a:solidFill>
              <a:ln w="9525">
                <a:solidFill>
                  <a:srgbClr val="C3D600"/>
                </a:solidFill>
                <a:round/>
                <a:headEnd/>
                <a:tailEnd/>
              </a:ln>
            </p:spPr>
            <p:txBody>
              <a:bodyPr vert="horz" wrap="square" lIns="91440" tIns="45720" rIns="91440" bIns="45720" numCol="1" anchor="t" anchorCtr="0" compatLnSpc="1">
                <a:prstTxWarp prst="textNoShape">
                  <a:avLst/>
                </a:prstTxWarp>
              </a:bodyPr>
              <a:lstStyle/>
              <a:p>
                <a:pPr algn="l" rtl="0" fontAlgn="base">
                  <a:spcBef>
                    <a:spcPct val="0"/>
                  </a:spcBef>
                  <a:spcAft>
                    <a:spcPct val="0"/>
                  </a:spcAft>
                </a:pPr>
                <a:endParaRPr lang="zh-CN" sz="1000" b="1">
                  <a:solidFill>
                    <a:srgbClr val="504C4C"/>
                  </a:solidFill>
                  <a:latin typeface="Arial" panose="020B0604020202020204" pitchFamily="34" charset="0"/>
                  <a:ea typeface="微软雅黑" panose="020B0503020204020204" pitchFamily="34" charset="-122"/>
                  <a:cs typeface="Arial" pitchFamily="34" charset="0"/>
                </a:endParaRPr>
              </a:p>
            </p:txBody>
          </p:sp>
          <p:sp>
            <p:nvSpPr>
              <p:cNvPr id="620" name="Freeform 212">
                <a:extLst>
                  <a:ext uri="{FF2B5EF4-FFF2-40B4-BE49-F238E27FC236}">
                    <a16:creationId xmlns:a16="http://schemas.microsoft.com/office/drawing/2014/main" id="{3ABD4FEF-8337-4A8F-BD39-2626D66DD16E}"/>
                  </a:ext>
                </a:extLst>
              </p:cNvPr>
              <p:cNvSpPr>
                <a:spLocks/>
              </p:cNvSpPr>
              <p:nvPr/>
            </p:nvSpPr>
            <p:spPr bwMode="auto">
              <a:xfrm>
                <a:off x="5559987" y="3819303"/>
                <a:ext cx="57355" cy="0"/>
              </a:xfrm>
              <a:custGeom>
                <a:avLst/>
                <a:gdLst>
                  <a:gd name="T0" fmla="*/ 0 w 42"/>
                  <a:gd name="T1" fmla="*/ 42 w 42"/>
                  <a:gd name="T2" fmla="*/ 0 w 42"/>
                </a:gdLst>
                <a:ahLst/>
                <a:cxnLst>
                  <a:cxn ang="0">
                    <a:pos x="T0" y="0"/>
                  </a:cxn>
                  <a:cxn ang="0">
                    <a:pos x="T1" y="0"/>
                  </a:cxn>
                  <a:cxn ang="0">
                    <a:pos x="T2" y="0"/>
                  </a:cxn>
                </a:cxnLst>
                <a:rect l="0" t="0" r="r" b="b"/>
                <a:pathLst>
                  <a:path w="42">
                    <a:moveTo>
                      <a:pt x="0" y="0"/>
                    </a:moveTo>
                    <a:lnTo>
                      <a:pt x="42" y="0"/>
                    </a:lnTo>
                    <a:lnTo>
                      <a:pt x="0" y="0"/>
                    </a:lnTo>
                    <a:close/>
                  </a:path>
                </a:pathLst>
              </a:custGeom>
              <a:solidFill>
                <a:srgbClr val="00983A"/>
              </a:solidFill>
              <a:ln w="9525">
                <a:solidFill>
                  <a:srgbClr val="C3D600"/>
                </a:solidFill>
                <a:round/>
                <a:headEnd/>
                <a:tailEnd/>
              </a:ln>
            </p:spPr>
            <p:txBody>
              <a:bodyPr vert="horz" wrap="square" lIns="91440" tIns="45720" rIns="91440" bIns="45720" numCol="1" anchor="t" anchorCtr="0" compatLnSpc="1">
                <a:prstTxWarp prst="textNoShape">
                  <a:avLst/>
                </a:prstTxWarp>
              </a:bodyPr>
              <a:lstStyle/>
              <a:p>
                <a:pPr algn="l" rtl="0" fontAlgn="base">
                  <a:spcBef>
                    <a:spcPct val="0"/>
                  </a:spcBef>
                  <a:spcAft>
                    <a:spcPct val="0"/>
                  </a:spcAft>
                </a:pPr>
                <a:endParaRPr lang="zh-CN" sz="1000" b="1">
                  <a:solidFill>
                    <a:srgbClr val="504C4C"/>
                  </a:solidFill>
                  <a:latin typeface="Arial" panose="020B0604020202020204" pitchFamily="34" charset="0"/>
                  <a:ea typeface="微软雅黑" panose="020B0503020204020204" pitchFamily="34" charset="-122"/>
                  <a:cs typeface="Arial" pitchFamily="34" charset="0"/>
                </a:endParaRPr>
              </a:p>
            </p:txBody>
          </p:sp>
          <p:sp>
            <p:nvSpPr>
              <p:cNvPr id="621" name="Freeform 214">
                <a:extLst>
                  <a:ext uri="{FF2B5EF4-FFF2-40B4-BE49-F238E27FC236}">
                    <a16:creationId xmlns:a16="http://schemas.microsoft.com/office/drawing/2014/main" id="{21EAAFEA-02BE-4D45-B395-D07444432839}"/>
                  </a:ext>
                </a:extLst>
              </p:cNvPr>
              <p:cNvSpPr>
                <a:spLocks/>
              </p:cNvSpPr>
              <p:nvPr/>
            </p:nvSpPr>
            <p:spPr bwMode="auto">
              <a:xfrm>
                <a:off x="4866259" y="3712786"/>
                <a:ext cx="0" cy="111980"/>
              </a:xfrm>
              <a:custGeom>
                <a:avLst/>
                <a:gdLst>
                  <a:gd name="T0" fmla="*/ 82 h 82"/>
                  <a:gd name="T1" fmla="*/ 0 h 82"/>
                  <a:gd name="T2" fmla="*/ 82 h 82"/>
                </a:gdLst>
                <a:ahLst/>
                <a:cxnLst>
                  <a:cxn ang="0">
                    <a:pos x="0" y="T0"/>
                  </a:cxn>
                  <a:cxn ang="0">
                    <a:pos x="0" y="T1"/>
                  </a:cxn>
                  <a:cxn ang="0">
                    <a:pos x="0" y="T2"/>
                  </a:cxn>
                </a:cxnLst>
                <a:rect l="0" t="0" r="r" b="b"/>
                <a:pathLst>
                  <a:path h="82">
                    <a:moveTo>
                      <a:pt x="0" y="82"/>
                    </a:moveTo>
                    <a:lnTo>
                      <a:pt x="0" y="0"/>
                    </a:lnTo>
                    <a:lnTo>
                      <a:pt x="0" y="82"/>
                    </a:lnTo>
                    <a:close/>
                  </a:path>
                </a:pathLst>
              </a:custGeom>
              <a:solidFill>
                <a:srgbClr val="00983A"/>
              </a:solidFill>
              <a:ln w="9525">
                <a:solidFill>
                  <a:srgbClr val="C3D600"/>
                </a:solidFill>
                <a:round/>
                <a:headEnd/>
                <a:tailEnd/>
              </a:ln>
            </p:spPr>
            <p:txBody>
              <a:bodyPr vert="horz" wrap="square" lIns="91440" tIns="45720" rIns="91440" bIns="45720" numCol="1" anchor="t" anchorCtr="0" compatLnSpc="1">
                <a:prstTxWarp prst="textNoShape">
                  <a:avLst/>
                </a:prstTxWarp>
              </a:bodyPr>
              <a:lstStyle/>
              <a:p>
                <a:pPr algn="l" rtl="0" fontAlgn="base">
                  <a:spcBef>
                    <a:spcPct val="0"/>
                  </a:spcBef>
                  <a:spcAft>
                    <a:spcPct val="0"/>
                  </a:spcAft>
                </a:pPr>
                <a:endParaRPr lang="zh-CN" sz="1000" b="1">
                  <a:solidFill>
                    <a:srgbClr val="504C4C"/>
                  </a:solidFill>
                  <a:latin typeface="Arial" panose="020B0604020202020204" pitchFamily="34" charset="0"/>
                  <a:ea typeface="微软雅黑" panose="020B0503020204020204" pitchFamily="34" charset="-122"/>
                  <a:cs typeface="Arial" pitchFamily="34" charset="0"/>
                </a:endParaRPr>
              </a:p>
            </p:txBody>
          </p:sp>
          <p:sp>
            <p:nvSpPr>
              <p:cNvPr id="622" name="Line 215">
                <a:extLst>
                  <a:ext uri="{FF2B5EF4-FFF2-40B4-BE49-F238E27FC236}">
                    <a16:creationId xmlns:a16="http://schemas.microsoft.com/office/drawing/2014/main" id="{33134A9B-B685-4845-A3B5-0FE2C28776C1}"/>
                  </a:ext>
                </a:extLst>
              </p:cNvPr>
              <p:cNvSpPr>
                <a:spLocks noChangeShapeType="1"/>
              </p:cNvSpPr>
              <p:nvPr/>
            </p:nvSpPr>
            <p:spPr bwMode="auto">
              <a:xfrm flipV="1">
                <a:off x="4866259" y="3712786"/>
                <a:ext cx="0" cy="111980"/>
              </a:xfrm>
              <a:prstGeom prst="line">
                <a:avLst/>
              </a:prstGeom>
              <a:noFill/>
              <a:ln w="12700" cap="flat">
                <a:solidFill>
                  <a:srgbClr val="C3D6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algn="l" rtl="0" fontAlgn="base">
                  <a:spcBef>
                    <a:spcPct val="0"/>
                  </a:spcBef>
                  <a:spcAft>
                    <a:spcPct val="0"/>
                  </a:spcAft>
                </a:pPr>
                <a:endParaRPr lang="zh-CN" sz="1000" b="1">
                  <a:solidFill>
                    <a:srgbClr val="504C4C"/>
                  </a:solidFill>
                  <a:latin typeface="Arial" panose="020B0604020202020204" pitchFamily="34" charset="0"/>
                  <a:ea typeface="微软雅黑" panose="020B0503020204020204" pitchFamily="34" charset="-122"/>
                  <a:cs typeface="Arial" pitchFamily="34" charset="0"/>
                </a:endParaRPr>
              </a:p>
            </p:txBody>
          </p:sp>
          <p:sp>
            <p:nvSpPr>
              <p:cNvPr id="623" name="Freeform 216">
                <a:extLst>
                  <a:ext uri="{FF2B5EF4-FFF2-40B4-BE49-F238E27FC236}">
                    <a16:creationId xmlns:a16="http://schemas.microsoft.com/office/drawing/2014/main" id="{6CE44D96-B78B-4515-8644-A90F52539A22}"/>
                  </a:ext>
                </a:extLst>
              </p:cNvPr>
              <p:cNvSpPr>
                <a:spLocks/>
              </p:cNvSpPr>
              <p:nvPr/>
            </p:nvSpPr>
            <p:spPr bwMode="auto">
              <a:xfrm>
                <a:off x="4836215" y="3712786"/>
                <a:ext cx="57355" cy="0"/>
              </a:xfrm>
              <a:custGeom>
                <a:avLst/>
                <a:gdLst>
                  <a:gd name="T0" fmla="*/ 0 w 42"/>
                  <a:gd name="T1" fmla="*/ 42 w 42"/>
                  <a:gd name="T2" fmla="*/ 0 w 42"/>
                </a:gdLst>
                <a:ahLst/>
                <a:cxnLst>
                  <a:cxn ang="0">
                    <a:pos x="T0" y="0"/>
                  </a:cxn>
                  <a:cxn ang="0">
                    <a:pos x="T1" y="0"/>
                  </a:cxn>
                  <a:cxn ang="0">
                    <a:pos x="T2" y="0"/>
                  </a:cxn>
                </a:cxnLst>
                <a:rect l="0" t="0" r="r" b="b"/>
                <a:pathLst>
                  <a:path w="42">
                    <a:moveTo>
                      <a:pt x="0" y="0"/>
                    </a:moveTo>
                    <a:lnTo>
                      <a:pt x="42" y="0"/>
                    </a:lnTo>
                    <a:lnTo>
                      <a:pt x="0" y="0"/>
                    </a:lnTo>
                    <a:close/>
                  </a:path>
                </a:pathLst>
              </a:custGeom>
              <a:solidFill>
                <a:srgbClr val="00983A"/>
              </a:solidFill>
              <a:ln w="9525">
                <a:solidFill>
                  <a:srgbClr val="C3D600"/>
                </a:solidFill>
                <a:round/>
                <a:headEnd/>
                <a:tailEnd/>
              </a:ln>
            </p:spPr>
            <p:txBody>
              <a:bodyPr vert="horz" wrap="square" lIns="91440" tIns="45720" rIns="91440" bIns="45720" numCol="1" anchor="t" anchorCtr="0" compatLnSpc="1">
                <a:prstTxWarp prst="textNoShape">
                  <a:avLst/>
                </a:prstTxWarp>
              </a:bodyPr>
              <a:lstStyle/>
              <a:p>
                <a:pPr algn="l" rtl="0" fontAlgn="base">
                  <a:spcBef>
                    <a:spcPct val="0"/>
                  </a:spcBef>
                  <a:spcAft>
                    <a:spcPct val="0"/>
                  </a:spcAft>
                </a:pPr>
                <a:endParaRPr lang="zh-CN" sz="1000" b="1">
                  <a:solidFill>
                    <a:srgbClr val="504C4C"/>
                  </a:solidFill>
                  <a:latin typeface="Arial" panose="020B0604020202020204" pitchFamily="34" charset="0"/>
                  <a:ea typeface="微软雅黑" panose="020B0503020204020204" pitchFamily="34" charset="-122"/>
                  <a:cs typeface="Arial" pitchFamily="34" charset="0"/>
                </a:endParaRPr>
              </a:p>
            </p:txBody>
          </p:sp>
          <p:sp>
            <p:nvSpPr>
              <p:cNvPr id="624" name="Freeform 218">
                <a:extLst>
                  <a:ext uri="{FF2B5EF4-FFF2-40B4-BE49-F238E27FC236}">
                    <a16:creationId xmlns:a16="http://schemas.microsoft.com/office/drawing/2014/main" id="{F24A6014-BCC4-49A3-A07B-DF5A6C0B1C2F}"/>
                  </a:ext>
                </a:extLst>
              </p:cNvPr>
              <p:cNvSpPr>
                <a:spLocks/>
              </p:cNvSpPr>
              <p:nvPr/>
            </p:nvSpPr>
            <p:spPr bwMode="auto">
              <a:xfrm>
                <a:off x="4836215" y="3824766"/>
                <a:ext cx="57355" cy="0"/>
              </a:xfrm>
              <a:custGeom>
                <a:avLst/>
                <a:gdLst>
                  <a:gd name="T0" fmla="*/ 0 w 42"/>
                  <a:gd name="T1" fmla="*/ 42 w 42"/>
                  <a:gd name="T2" fmla="*/ 0 w 42"/>
                </a:gdLst>
                <a:ahLst/>
                <a:cxnLst>
                  <a:cxn ang="0">
                    <a:pos x="T0" y="0"/>
                  </a:cxn>
                  <a:cxn ang="0">
                    <a:pos x="T1" y="0"/>
                  </a:cxn>
                  <a:cxn ang="0">
                    <a:pos x="T2" y="0"/>
                  </a:cxn>
                </a:cxnLst>
                <a:rect l="0" t="0" r="r" b="b"/>
                <a:pathLst>
                  <a:path w="42">
                    <a:moveTo>
                      <a:pt x="0" y="0"/>
                    </a:moveTo>
                    <a:lnTo>
                      <a:pt x="42" y="0"/>
                    </a:lnTo>
                    <a:lnTo>
                      <a:pt x="0" y="0"/>
                    </a:lnTo>
                    <a:close/>
                  </a:path>
                </a:pathLst>
              </a:custGeom>
              <a:solidFill>
                <a:srgbClr val="00983A"/>
              </a:solidFill>
              <a:ln w="9525">
                <a:solidFill>
                  <a:srgbClr val="C3D600"/>
                </a:solidFill>
                <a:round/>
                <a:headEnd/>
                <a:tailEnd/>
              </a:ln>
            </p:spPr>
            <p:txBody>
              <a:bodyPr vert="horz" wrap="square" lIns="91440" tIns="45720" rIns="91440" bIns="45720" numCol="1" anchor="t" anchorCtr="0" compatLnSpc="1">
                <a:prstTxWarp prst="textNoShape">
                  <a:avLst/>
                </a:prstTxWarp>
              </a:bodyPr>
              <a:lstStyle/>
              <a:p>
                <a:pPr algn="l" rtl="0" fontAlgn="base">
                  <a:spcBef>
                    <a:spcPct val="0"/>
                  </a:spcBef>
                  <a:spcAft>
                    <a:spcPct val="0"/>
                  </a:spcAft>
                </a:pPr>
                <a:endParaRPr lang="zh-CN" sz="1000" b="1">
                  <a:solidFill>
                    <a:srgbClr val="504C4C"/>
                  </a:solidFill>
                  <a:latin typeface="Arial" panose="020B0604020202020204" pitchFamily="34" charset="0"/>
                  <a:ea typeface="微软雅黑" panose="020B0503020204020204" pitchFamily="34" charset="-122"/>
                  <a:cs typeface="Arial" pitchFamily="34" charset="0"/>
                </a:endParaRPr>
              </a:p>
            </p:txBody>
          </p:sp>
          <p:sp>
            <p:nvSpPr>
              <p:cNvPr id="625" name="Freeform 220">
                <a:extLst>
                  <a:ext uri="{FF2B5EF4-FFF2-40B4-BE49-F238E27FC236}">
                    <a16:creationId xmlns:a16="http://schemas.microsoft.com/office/drawing/2014/main" id="{DD60E664-E64D-467F-9378-91FA4FD5D817}"/>
                  </a:ext>
                </a:extLst>
              </p:cNvPr>
              <p:cNvSpPr>
                <a:spLocks/>
              </p:cNvSpPr>
              <p:nvPr/>
            </p:nvSpPr>
            <p:spPr bwMode="auto">
              <a:xfrm>
                <a:off x="3409157" y="3690936"/>
                <a:ext cx="0" cy="111980"/>
              </a:xfrm>
              <a:custGeom>
                <a:avLst/>
                <a:gdLst>
                  <a:gd name="T0" fmla="*/ 82 h 82"/>
                  <a:gd name="T1" fmla="*/ 0 h 82"/>
                  <a:gd name="T2" fmla="*/ 82 h 82"/>
                </a:gdLst>
                <a:ahLst/>
                <a:cxnLst>
                  <a:cxn ang="0">
                    <a:pos x="0" y="T0"/>
                  </a:cxn>
                  <a:cxn ang="0">
                    <a:pos x="0" y="T1"/>
                  </a:cxn>
                  <a:cxn ang="0">
                    <a:pos x="0" y="T2"/>
                  </a:cxn>
                </a:cxnLst>
                <a:rect l="0" t="0" r="r" b="b"/>
                <a:pathLst>
                  <a:path h="82">
                    <a:moveTo>
                      <a:pt x="0" y="82"/>
                    </a:moveTo>
                    <a:lnTo>
                      <a:pt x="0" y="0"/>
                    </a:lnTo>
                    <a:lnTo>
                      <a:pt x="0" y="82"/>
                    </a:lnTo>
                    <a:close/>
                  </a:path>
                </a:pathLst>
              </a:custGeom>
              <a:solidFill>
                <a:srgbClr val="00983A"/>
              </a:solidFill>
              <a:ln w="9525">
                <a:solidFill>
                  <a:srgbClr val="C3D600"/>
                </a:solidFill>
                <a:round/>
                <a:headEnd/>
                <a:tailEnd/>
              </a:ln>
            </p:spPr>
            <p:txBody>
              <a:bodyPr vert="horz" wrap="square" lIns="91440" tIns="45720" rIns="91440" bIns="45720" numCol="1" anchor="t" anchorCtr="0" compatLnSpc="1">
                <a:prstTxWarp prst="textNoShape">
                  <a:avLst/>
                </a:prstTxWarp>
              </a:bodyPr>
              <a:lstStyle/>
              <a:p>
                <a:pPr algn="l" rtl="0" fontAlgn="base">
                  <a:spcBef>
                    <a:spcPct val="0"/>
                  </a:spcBef>
                  <a:spcAft>
                    <a:spcPct val="0"/>
                  </a:spcAft>
                </a:pPr>
                <a:endParaRPr lang="zh-CN" sz="1000" b="1">
                  <a:solidFill>
                    <a:srgbClr val="504C4C"/>
                  </a:solidFill>
                  <a:latin typeface="Arial" panose="020B0604020202020204" pitchFamily="34" charset="0"/>
                  <a:ea typeface="微软雅黑" panose="020B0503020204020204" pitchFamily="34" charset="-122"/>
                  <a:cs typeface="Arial" pitchFamily="34" charset="0"/>
                </a:endParaRPr>
              </a:p>
            </p:txBody>
          </p:sp>
          <p:sp>
            <p:nvSpPr>
              <p:cNvPr id="626" name="Line 221">
                <a:extLst>
                  <a:ext uri="{FF2B5EF4-FFF2-40B4-BE49-F238E27FC236}">
                    <a16:creationId xmlns:a16="http://schemas.microsoft.com/office/drawing/2014/main" id="{3F8B75CB-0052-431E-9891-ED8BBCEF72FC}"/>
                  </a:ext>
                </a:extLst>
              </p:cNvPr>
              <p:cNvSpPr>
                <a:spLocks noChangeShapeType="1"/>
              </p:cNvSpPr>
              <p:nvPr/>
            </p:nvSpPr>
            <p:spPr bwMode="auto">
              <a:xfrm flipV="1">
                <a:off x="3409157" y="3690936"/>
                <a:ext cx="0" cy="111980"/>
              </a:xfrm>
              <a:prstGeom prst="line">
                <a:avLst/>
              </a:prstGeom>
              <a:noFill/>
              <a:ln w="12700" cap="flat">
                <a:solidFill>
                  <a:srgbClr val="C3D6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algn="l" rtl="0" fontAlgn="base">
                  <a:spcBef>
                    <a:spcPct val="0"/>
                  </a:spcBef>
                  <a:spcAft>
                    <a:spcPct val="0"/>
                  </a:spcAft>
                </a:pPr>
                <a:endParaRPr lang="zh-CN" sz="1000" b="1">
                  <a:solidFill>
                    <a:srgbClr val="504C4C"/>
                  </a:solidFill>
                  <a:latin typeface="Arial" panose="020B0604020202020204" pitchFamily="34" charset="0"/>
                  <a:ea typeface="微软雅黑" panose="020B0503020204020204" pitchFamily="34" charset="-122"/>
                  <a:cs typeface="Arial" pitchFamily="34" charset="0"/>
                </a:endParaRPr>
              </a:p>
            </p:txBody>
          </p:sp>
          <p:sp>
            <p:nvSpPr>
              <p:cNvPr id="627" name="Freeform 222">
                <a:extLst>
                  <a:ext uri="{FF2B5EF4-FFF2-40B4-BE49-F238E27FC236}">
                    <a16:creationId xmlns:a16="http://schemas.microsoft.com/office/drawing/2014/main" id="{3DDED50D-885B-4CD3-8A65-71D466FAA79F}"/>
                  </a:ext>
                </a:extLst>
              </p:cNvPr>
              <p:cNvSpPr>
                <a:spLocks/>
              </p:cNvSpPr>
              <p:nvPr/>
            </p:nvSpPr>
            <p:spPr bwMode="auto">
              <a:xfrm>
                <a:off x="3379114" y="3690936"/>
                <a:ext cx="60087" cy="0"/>
              </a:xfrm>
              <a:custGeom>
                <a:avLst/>
                <a:gdLst>
                  <a:gd name="T0" fmla="*/ 0 w 44"/>
                  <a:gd name="T1" fmla="*/ 44 w 44"/>
                  <a:gd name="T2" fmla="*/ 0 w 44"/>
                </a:gdLst>
                <a:ahLst/>
                <a:cxnLst>
                  <a:cxn ang="0">
                    <a:pos x="T0" y="0"/>
                  </a:cxn>
                  <a:cxn ang="0">
                    <a:pos x="T1" y="0"/>
                  </a:cxn>
                  <a:cxn ang="0">
                    <a:pos x="T2" y="0"/>
                  </a:cxn>
                </a:cxnLst>
                <a:rect l="0" t="0" r="r" b="b"/>
                <a:pathLst>
                  <a:path w="44">
                    <a:moveTo>
                      <a:pt x="0" y="0"/>
                    </a:moveTo>
                    <a:lnTo>
                      <a:pt x="44" y="0"/>
                    </a:lnTo>
                    <a:lnTo>
                      <a:pt x="0" y="0"/>
                    </a:lnTo>
                    <a:close/>
                  </a:path>
                </a:pathLst>
              </a:custGeom>
              <a:solidFill>
                <a:srgbClr val="00983A"/>
              </a:solidFill>
              <a:ln w="9525">
                <a:solidFill>
                  <a:srgbClr val="C3D600"/>
                </a:solidFill>
                <a:round/>
                <a:headEnd/>
                <a:tailEnd/>
              </a:ln>
            </p:spPr>
            <p:txBody>
              <a:bodyPr vert="horz" wrap="square" lIns="91440" tIns="45720" rIns="91440" bIns="45720" numCol="1" anchor="t" anchorCtr="0" compatLnSpc="1">
                <a:prstTxWarp prst="textNoShape">
                  <a:avLst/>
                </a:prstTxWarp>
              </a:bodyPr>
              <a:lstStyle/>
              <a:p>
                <a:pPr algn="l" rtl="0" fontAlgn="base">
                  <a:spcBef>
                    <a:spcPct val="0"/>
                  </a:spcBef>
                  <a:spcAft>
                    <a:spcPct val="0"/>
                  </a:spcAft>
                </a:pPr>
                <a:endParaRPr lang="zh-CN" sz="1000" b="1">
                  <a:solidFill>
                    <a:srgbClr val="504C4C"/>
                  </a:solidFill>
                  <a:latin typeface="Arial" panose="020B0604020202020204" pitchFamily="34" charset="0"/>
                  <a:ea typeface="微软雅黑" panose="020B0503020204020204" pitchFamily="34" charset="-122"/>
                  <a:cs typeface="Arial" pitchFamily="34" charset="0"/>
                </a:endParaRPr>
              </a:p>
            </p:txBody>
          </p:sp>
          <p:sp>
            <p:nvSpPr>
              <p:cNvPr id="628" name="Freeform 224">
                <a:extLst>
                  <a:ext uri="{FF2B5EF4-FFF2-40B4-BE49-F238E27FC236}">
                    <a16:creationId xmlns:a16="http://schemas.microsoft.com/office/drawing/2014/main" id="{985C598D-CB94-4C5A-A27D-344A5DDEA0D6}"/>
                  </a:ext>
                </a:extLst>
              </p:cNvPr>
              <p:cNvSpPr>
                <a:spLocks/>
              </p:cNvSpPr>
              <p:nvPr/>
            </p:nvSpPr>
            <p:spPr bwMode="auto">
              <a:xfrm>
                <a:off x="3379114" y="3802916"/>
                <a:ext cx="60087" cy="0"/>
              </a:xfrm>
              <a:custGeom>
                <a:avLst/>
                <a:gdLst>
                  <a:gd name="T0" fmla="*/ 0 w 44"/>
                  <a:gd name="T1" fmla="*/ 44 w 44"/>
                  <a:gd name="T2" fmla="*/ 0 w 44"/>
                </a:gdLst>
                <a:ahLst/>
                <a:cxnLst>
                  <a:cxn ang="0">
                    <a:pos x="T0" y="0"/>
                  </a:cxn>
                  <a:cxn ang="0">
                    <a:pos x="T1" y="0"/>
                  </a:cxn>
                  <a:cxn ang="0">
                    <a:pos x="T2" y="0"/>
                  </a:cxn>
                </a:cxnLst>
                <a:rect l="0" t="0" r="r" b="b"/>
                <a:pathLst>
                  <a:path w="44">
                    <a:moveTo>
                      <a:pt x="0" y="0"/>
                    </a:moveTo>
                    <a:lnTo>
                      <a:pt x="44" y="0"/>
                    </a:lnTo>
                    <a:lnTo>
                      <a:pt x="0" y="0"/>
                    </a:lnTo>
                    <a:close/>
                  </a:path>
                </a:pathLst>
              </a:custGeom>
              <a:solidFill>
                <a:srgbClr val="00983A"/>
              </a:solidFill>
              <a:ln w="9525">
                <a:solidFill>
                  <a:srgbClr val="C3D600"/>
                </a:solidFill>
                <a:round/>
                <a:headEnd/>
                <a:tailEnd/>
              </a:ln>
            </p:spPr>
            <p:txBody>
              <a:bodyPr vert="horz" wrap="square" lIns="91440" tIns="45720" rIns="91440" bIns="45720" numCol="1" anchor="t" anchorCtr="0" compatLnSpc="1">
                <a:prstTxWarp prst="textNoShape">
                  <a:avLst/>
                </a:prstTxWarp>
              </a:bodyPr>
              <a:lstStyle/>
              <a:p>
                <a:pPr algn="l" rtl="0" fontAlgn="base">
                  <a:spcBef>
                    <a:spcPct val="0"/>
                  </a:spcBef>
                  <a:spcAft>
                    <a:spcPct val="0"/>
                  </a:spcAft>
                </a:pPr>
                <a:endParaRPr lang="zh-CN" sz="1000" b="1">
                  <a:solidFill>
                    <a:srgbClr val="504C4C"/>
                  </a:solidFill>
                  <a:latin typeface="Arial" panose="020B0604020202020204" pitchFamily="34" charset="0"/>
                  <a:ea typeface="微软雅黑" panose="020B0503020204020204" pitchFamily="34" charset="-122"/>
                  <a:cs typeface="Arial" pitchFamily="34" charset="0"/>
                </a:endParaRPr>
              </a:p>
            </p:txBody>
          </p:sp>
          <p:sp>
            <p:nvSpPr>
              <p:cNvPr id="629" name="Freeform 226">
                <a:extLst>
                  <a:ext uri="{FF2B5EF4-FFF2-40B4-BE49-F238E27FC236}">
                    <a16:creationId xmlns:a16="http://schemas.microsoft.com/office/drawing/2014/main" id="{D67BFB44-657C-4214-9D11-430BA10ACB59}"/>
                  </a:ext>
                </a:extLst>
              </p:cNvPr>
              <p:cNvSpPr>
                <a:spLocks/>
              </p:cNvSpPr>
              <p:nvPr/>
            </p:nvSpPr>
            <p:spPr bwMode="auto">
              <a:xfrm>
                <a:off x="2688117" y="3690936"/>
                <a:ext cx="0" cy="92861"/>
              </a:xfrm>
              <a:custGeom>
                <a:avLst/>
                <a:gdLst>
                  <a:gd name="T0" fmla="*/ 68 h 68"/>
                  <a:gd name="T1" fmla="*/ 0 h 68"/>
                  <a:gd name="T2" fmla="*/ 68 h 68"/>
                </a:gdLst>
                <a:ahLst/>
                <a:cxnLst>
                  <a:cxn ang="0">
                    <a:pos x="0" y="T0"/>
                  </a:cxn>
                  <a:cxn ang="0">
                    <a:pos x="0" y="T1"/>
                  </a:cxn>
                  <a:cxn ang="0">
                    <a:pos x="0" y="T2"/>
                  </a:cxn>
                </a:cxnLst>
                <a:rect l="0" t="0" r="r" b="b"/>
                <a:pathLst>
                  <a:path h="68">
                    <a:moveTo>
                      <a:pt x="0" y="68"/>
                    </a:moveTo>
                    <a:lnTo>
                      <a:pt x="0" y="0"/>
                    </a:lnTo>
                    <a:lnTo>
                      <a:pt x="0" y="68"/>
                    </a:lnTo>
                    <a:close/>
                  </a:path>
                </a:pathLst>
              </a:custGeom>
              <a:solidFill>
                <a:srgbClr val="00983A"/>
              </a:solidFill>
              <a:ln w="9525">
                <a:solidFill>
                  <a:srgbClr val="C3D600"/>
                </a:solidFill>
                <a:round/>
                <a:headEnd/>
                <a:tailEnd/>
              </a:ln>
            </p:spPr>
            <p:txBody>
              <a:bodyPr vert="horz" wrap="square" lIns="91440" tIns="45720" rIns="91440" bIns="45720" numCol="1" anchor="t" anchorCtr="0" compatLnSpc="1">
                <a:prstTxWarp prst="textNoShape">
                  <a:avLst/>
                </a:prstTxWarp>
              </a:bodyPr>
              <a:lstStyle/>
              <a:p>
                <a:pPr algn="l" rtl="0" fontAlgn="base">
                  <a:spcBef>
                    <a:spcPct val="0"/>
                  </a:spcBef>
                  <a:spcAft>
                    <a:spcPct val="0"/>
                  </a:spcAft>
                </a:pPr>
                <a:endParaRPr lang="zh-CN" sz="1000" b="1">
                  <a:solidFill>
                    <a:srgbClr val="504C4C"/>
                  </a:solidFill>
                  <a:latin typeface="Arial" panose="020B0604020202020204" pitchFamily="34" charset="0"/>
                  <a:ea typeface="微软雅黑" panose="020B0503020204020204" pitchFamily="34" charset="-122"/>
                  <a:cs typeface="Arial" pitchFamily="34" charset="0"/>
                </a:endParaRPr>
              </a:p>
            </p:txBody>
          </p:sp>
          <p:sp>
            <p:nvSpPr>
              <p:cNvPr id="630" name="Line 227">
                <a:extLst>
                  <a:ext uri="{FF2B5EF4-FFF2-40B4-BE49-F238E27FC236}">
                    <a16:creationId xmlns:a16="http://schemas.microsoft.com/office/drawing/2014/main" id="{0E8B86BE-6059-4684-B669-B746FFED2EF3}"/>
                  </a:ext>
                </a:extLst>
              </p:cNvPr>
              <p:cNvSpPr>
                <a:spLocks noChangeShapeType="1"/>
              </p:cNvSpPr>
              <p:nvPr/>
            </p:nvSpPr>
            <p:spPr bwMode="auto">
              <a:xfrm flipV="1">
                <a:off x="2688117" y="3690936"/>
                <a:ext cx="0" cy="92861"/>
              </a:xfrm>
              <a:prstGeom prst="line">
                <a:avLst/>
              </a:prstGeom>
              <a:noFill/>
              <a:ln w="12700" cap="flat">
                <a:solidFill>
                  <a:srgbClr val="C3D6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algn="l" rtl="0" fontAlgn="base">
                  <a:spcBef>
                    <a:spcPct val="0"/>
                  </a:spcBef>
                  <a:spcAft>
                    <a:spcPct val="0"/>
                  </a:spcAft>
                </a:pPr>
                <a:endParaRPr lang="zh-CN" sz="1000" b="1">
                  <a:solidFill>
                    <a:srgbClr val="504C4C"/>
                  </a:solidFill>
                  <a:latin typeface="Arial" panose="020B0604020202020204" pitchFamily="34" charset="0"/>
                  <a:ea typeface="微软雅黑" panose="020B0503020204020204" pitchFamily="34" charset="-122"/>
                  <a:cs typeface="Arial" pitchFamily="34" charset="0"/>
                </a:endParaRPr>
              </a:p>
            </p:txBody>
          </p:sp>
          <p:sp>
            <p:nvSpPr>
              <p:cNvPr id="631" name="Freeform 228">
                <a:extLst>
                  <a:ext uri="{FF2B5EF4-FFF2-40B4-BE49-F238E27FC236}">
                    <a16:creationId xmlns:a16="http://schemas.microsoft.com/office/drawing/2014/main" id="{F9E7BFB7-F58F-4236-8565-6B5389AA06C8}"/>
                  </a:ext>
                </a:extLst>
              </p:cNvPr>
              <p:cNvSpPr>
                <a:spLocks/>
              </p:cNvSpPr>
              <p:nvPr/>
            </p:nvSpPr>
            <p:spPr bwMode="auto">
              <a:xfrm>
                <a:off x="2658073" y="3690936"/>
                <a:ext cx="57355" cy="0"/>
              </a:xfrm>
              <a:custGeom>
                <a:avLst/>
                <a:gdLst>
                  <a:gd name="T0" fmla="*/ 0 w 42"/>
                  <a:gd name="T1" fmla="*/ 42 w 42"/>
                  <a:gd name="T2" fmla="*/ 0 w 42"/>
                </a:gdLst>
                <a:ahLst/>
                <a:cxnLst>
                  <a:cxn ang="0">
                    <a:pos x="T0" y="0"/>
                  </a:cxn>
                  <a:cxn ang="0">
                    <a:pos x="T1" y="0"/>
                  </a:cxn>
                  <a:cxn ang="0">
                    <a:pos x="T2" y="0"/>
                  </a:cxn>
                </a:cxnLst>
                <a:rect l="0" t="0" r="r" b="b"/>
                <a:pathLst>
                  <a:path w="42">
                    <a:moveTo>
                      <a:pt x="0" y="0"/>
                    </a:moveTo>
                    <a:lnTo>
                      <a:pt x="42" y="0"/>
                    </a:lnTo>
                    <a:lnTo>
                      <a:pt x="0" y="0"/>
                    </a:lnTo>
                    <a:close/>
                  </a:path>
                </a:pathLst>
              </a:custGeom>
              <a:solidFill>
                <a:srgbClr val="00983A"/>
              </a:solidFill>
              <a:ln w="9525">
                <a:solidFill>
                  <a:srgbClr val="C3D600"/>
                </a:solidFill>
                <a:round/>
                <a:headEnd/>
                <a:tailEnd/>
              </a:ln>
            </p:spPr>
            <p:txBody>
              <a:bodyPr vert="horz" wrap="square" lIns="91440" tIns="45720" rIns="91440" bIns="45720" numCol="1" anchor="t" anchorCtr="0" compatLnSpc="1">
                <a:prstTxWarp prst="textNoShape">
                  <a:avLst/>
                </a:prstTxWarp>
              </a:bodyPr>
              <a:lstStyle/>
              <a:p>
                <a:pPr algn="l" rtl="0" fontAlgn="base">
                  <a:spcBef>
                    <a:spcPct val="0"/>
                  </a:spcBef>
                  <a:spcAft>
                    <a:spcPct val="0"/>
                  </a:spcAft>
                </a:pPr>
                <a:endParaRPr lang="zh-CN" sz="1000" b="1">
                  <a:solidFill>
                    <a:srgbClr val="504C4C"/>
                  </a:solidFill>
                  <a:latin typeface="Arial" panose="020B0604020202020204" pitchFamily="34" charset="0"/>
                  <a:ea typeface="微软雅黑" panose="020B0503020204020204" pitchFamily="34" charset="-122"/>
                  <a:cs typeface="Arial" pitchFamily="34" charset="0"/>
                </a:endParaRPr>
              </a:p>
            </p:txBody>
          </p:sp>
          <p:sp>
            <p:nvSpPr>
              <p:cNvPr id="632" name="Freeform 230">
                <a:extLst>
                  <a:ext uri="{FF2B5EF4-FFF2-40B4-BE49-F238E27FC236}">
                    <a16:creationId xmlns:a16="http://schemas.microsoft.com/office/drawing/2014/main" id="{A906D699-C22D-46B5-B029-7223CB75D009}"/>
                  </a:ext>
                </a:extLst>
              </p:cNvPr>
              <p:cNvSpPr>
                <a:spLocks/>
              </p:cNvSpPr>
              <p:nvPr/>
            </p:nvSpPr>
            <p:spPr bwMode="auto">
              <a:xfrm>
                <a:off x="2658073" y="3783797"/>
                <a:ext cx="57355" cy="0"/>
              </a:xfrm>
              <a:custGeom>
                <a:avLst/>
                <a:gdLst>
                  <a:gd name="T0" fmla="*/ 0 w 42"/>
                  <a:gd name="T1" fmla="*/ 42 w 42"/>
                  <a:gd name="T2" fmla="*/ 0 w 42"/>
                </a:gdLst>
                <a:ahLst/>
                <a:cxnLst>
                  <a:cxn ang="0">
                    <a:pos x="T0" y="0"/>
                  </a:cxn>
                  <a:cxn ang="0">
                    <a:pos x="T1" y="0"/>
                  </a:cxn>
                  <a:cxn ang="0">
                    <a:pos x="T2" y="0"/>
                  </a:cxn>
                </a:cxnLst>
                <a:rect l="0" t="0" r="r" b="b"/>
                <a:pathLst>
                  <a:path w="42">
                    <a:moveTo>
                      <a:pt x="0" y="0"/>
                    </a:moveTo>
                    <a:lnTo>
                      <a:pt x="42" y="0"/>
                    </a:lnTo>
                    <a:lnTo>
                      <a:pt x="0" y="0"/>
                    </a:lnTo>
                    <a:close/>
                  </a:path>
                </a:pathLst>
              </a:custGeom>
              <a:solidFill>
                <a:srgbClr val="00983A"/>
              </a:solidFill>
              <a:ln w="9525">
                <a:solidFill>
                  <a:srgbClr val="C3D600"/>
                </a:solidFill>
                <a:round/>
                <a:headEnd/>
                <a:tailEnd/>
              </a:ln>
            </p:spPr>
            <p:txBody>
              <a:bodyPr vert="horz" wrap="square" lIns="91440" tIns="45720" rIns="91440" bIns="45720" numCol="1" anchor="t" anchorCtr="0" compatLnSpc="1">
                <a:prstTxWarp prst="textNoShape">
                  <a:avLst/>
                </a:prstTxWarp>
              </a:bodyPr>
              <a:lstStyle/>
              <a:p>
                <a:pPr algn="l" rtl="0" fontAlgn="base">
                  <a:spcBef>
                    <a:spcPct val="0"/>
                  </a:spcBef>
                  <a:spcAft>
                    <a:spcPct val="0"/>
                  </a:spcAft>
                </a:pPr>
                <a:endParaRPr lang="zh-CN" sz="1000" b="1">
                  <a:solidFill>
                    <a:srgbClr val="504C4C"/>
                  </a:solidFill>
                  <a:latin typeface="Arial" panose="020B0604020202020204" pitchFamily="34" charset="0"/>
                  <a:ea typeface="微软雅黑" panose="020B0503020204020204" pitchFamily="34" charset="-122"/>
                  <a:cs typeface="Arial" pitchFamily="34" charset="0"/>
                </a:endParaRPr>
              </a:p>
            </p:txBody>
          </p:sp>
          <p:sp>
            <p:nvSpPr>
              <p:cNvPr id="633" name="Freeform 232">
                <a:extLst>
                  <a:ext uri="{FF2B5EF4-FFF2-40B4-BE49-F238E27FC236}">
                    <a16:creationId xmlns:a16="http://schemas.microsoft.com/office/drawing/2014/main" id="{284718B7-FD30-40F6-AA1B-59097FB1CC0E}"/>
                  </a:ext>
                </a:extLst>
              </p:cNvPr>
              <p:cNvSpPr>
                <a:spLocks/>
              </p:cNvSpPr>
              <p:nvPr/>
            </p:nvSpPr>
            <p:spPr bwMode="auto">
              <a:xfrm>
                <a:off x="1961614" y="3690936"/>
                <a:ext cx="0" cy="84668"/>
              </a:xfrm>
              <a:custGeom>
                <a:avLst/>
                <a:gdLst>
                  <a:gd name="T0" fmla="*/ 62 h 62"/>
                  <a:gd name="T1" fmla="*/ 0 h 62"/>
                  <a:gd name="T2" fmla="*/ 62 h 62"/>
                </a:gdLst>
                <a:ahLst/>
                <a:cxnLst>
                  <a:cxn ang="0">
                    <a:pos x="0" y="T0"/>
                  </a:cxn>
                  <a:cxn ang="0">
                    <a:pos x="0" y="T1"/>
                  </a:cxn>
                  <a:cxn ang="0">
                    <a:pos x="0" y="T2"/>
                  </a:cxn>
                </a:cxnLst>
                <a:rect l="0" t="0" r="r" b="b"/>
                <a:pathLst>
                  <a:path h="62">
                    <a:moveTo>
                      <a:pt x="0" y="62"/>
                    </a:moveTo>
                    <a:lnTo>
                      <a:pt x="0" y="0"/>
                    </a:lnTo>
                    <a:lnTo>
                      <a:pt x="0" y="62"/>
                    </a:lnTo>
                    <a:close/>
                  </a:path>
                </a:pathLst>
              </a:custGeom>
              <a:solidFill>
                <a:srgbClr val="00983A"/>
              </a:solidFill>
              <a:ln w="9525">
                <a:solidFill>
                  <a:srgbClr val="C3D600"/>
                </a:solidFill>
                <a:round/>
                <a:headEnd/>
                <a:tailEnd/>
              </a:ln>
            </p:spPr>
            <p:txBody>
              <a:bodyPr vert="horz" wrap="square" lIns="91440" tIns="45720" rIns="91440" bIns="45720" numCol="1" anchor="t" anchorCtr="0" compatLnSpc="1">
                <a:prstTxWarp prst="textNoShape">
                  <a:avLst/>
                </a:prstTxWarp>
              </a:bodyPr>
              <a:lstStyle/>
              <a:p>
                <a:pPr algn="l" rtl="0" fontAlgn="base">
                  <a:spcBef>
                    <a:spcPct val="0"/>
                  </a:spcBef>
                  <a:spcAft>
                    <a:spcPct val="0"/>
                  </a:spcAft>
                </a:pPr>
                <a:endParaRPr lang="zh-CN" sz="1000" b="1">
                  <a:solidFill>
                    <a:srgbClr val="504C4C"/>
                  </a:solidFill>
                  <a:latin typeface="Arial" panose="020B0604020202020204" pitchFamily="34" charset="0"/>
                  <a:ea typeface="微软雅黑" panose="020B0503020204020204" pitchFamily="34" charset="-122"/>
                  <a:cs typeface="Arial" pitchFamily="34" charset="0"/>
                </a:endParaRPr>
              </a:p>
            </p:txBody>
          </p:sp>
          <p:sp>
            <p:nvSpPr>
              <p:cNvPr id="634" name="Line 233">
                <a:extLst>
                  <a:ext uri="{FF2B5EF4-FFF2-40B4-BE49-F238E27FC236}">
                    <a16:creationId xmlns:a16="http://schemas.microsoft.com/office/drawing/2014/main" id="{C8FD1635-DD6D-47E4-8A89-22D11691FD16}"/>
                  </a:ext>
                </a:extLst>
              </p:cNvPr>
              <p:cNvSpPr>
                <a:spLocks noChangeShapeType="1"/>
              </p:cNvSpPr>
              <p:nvPr/>
            </p:nvSpPr>
            <p:spPr bwMode="auto">
              <a:xfrm flipV="1">
                <a:off x="1961614" y="3690936"/>
                <a:ext cx="0" cy="84668"/>
              </a:xfrm>
              <a:prstGeom prst="line">
                <a:avLst/>
              </a:prstGeom>
              <a:noFill/>
              <a:ln w="12700" cap="flat">
                <a:solidFill>
                  <a:srgbClr val="C3D6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algn="l" rtl="0" fontAlgn="base">
                  <a:spcBef>
                    <a:spcPct val="0"/>
                  </a:spcBef>
                  <a:spcAft>
                    <a:spcPct val="0"/>
                  </a:spcAft>
                </a:pPr>
                <a:endParaRPr lang="zh-CN" sz="1000" b="1">
                  <a:solidFill>
                    <a:srgbClr val="504C4C"/>
                  </a:solidFill>
                  <a:latin typeface="Arial" panose="020B0604020202020204" pitchFamily="34" charset="0"/>
                  <a:ea typeface="微软雅黑" panose="020B0503020204020204" pitchFamily="34" charset="-122"/>
                  <a:cs typeface="Arial" pitchFamily="34" charset="0"/>
                </a:endParaRPr>
              </a:p>
            </p:txBody>
          </p:sp>
          <p:sp>
            <p:nvSpPr>
              <p:cNvPr id="635" name="Freeform 234">
                <a:extLst>
                  <a:ext uri="{FF2B5EF4-FFF2-40B4-BE49-F238E27FC236}">
                    <a16:creationId xmlns:a16="http://schemas.microsoft.com/office/drawing/2014/main" id="{19CF8345-34BE-49B5-AA43-E36458E8C3CE}"/>
                  </a:ext>
                </a:extLst>
              </p:cNvPr>
              <p:cNvSpPr>
                <a:spLocks/>
              </p:cNvSpPr>
              <p:nvPr/>
            </p:nvSpPr>
            <p:spPr bwMode="auto">
              <a:xfrm>
                <a:off x="1934302" y="3690936"/>
                <a:ext cx="57355" cy="0"/>
              </a:xfrm>
              <a:custGeom>
                <a:avLst/>
                <a:gdLst>
                  <a:gd name="T0" fmla="*/ 0 w 42"/>
                  <a:gd name="T1" fmla="*/ 42 w 42"/>
                  <a:gd name="T2" fmla="*/ 0 w 42"/>
                </a:gdLst>
                <a:ahLst/>
                <a:cxnLst>
                  <a:cxn ang="0">
                    <a:pos x="T0" y="0"/>
                  </a:cxn>
                  <a:cxn ang="0">
                    <a:pos x="T1" y="0"/>
                  </a:cxn>
                  <a:cxn ang="0">
                    <a:pos x="T2" y="0"/>
                  </a:cxn>
                </a:cxnLst>
                <a:rect l="0" t="0" r="r" b="b"/>
                <a:pathLst>
                  <a:path w="42">
                    <a:moveTo>
                      <a:pt x="0" y="0"/>
                    </a:moveTo>
                    <a:lnTo>
                      <a:pt x="42" y="0"/>
                    </a:lnTo>
                    <a:lnTo>
                      <a:pt x="0" y="0"/>
                    </a:lnTo>
                    <a:close/>
                  </a:path>
                </a:pathLst>
              </a:custGeom>
              <a:solidFill>
                <a:srgbClr val="00983A"/>
              </a:solidFill>
              <a:ln w="9525">
                <a:solidFill>
                  <a:srgbClr val="C3D600"/>
                </a:solidFill>
                <a:round/>
                <a:headEnd/>
                <a:tailEnd/>
              </a:ln>
            </p:spPr>
            <p:txBody>
              <a:bodyPr vert="horz" wrap="square" lIns="91440" tIns="45720" rIns="91440" bIns="45720" numCol="1" anchor="t" anchorCtr="0" compatLnSpc="1">
                <a:prstTxWarp prst="textNoShape">
                  <a:avLst/>
                </a:prstTxWarp>
              </a:bodyPr>
              <a:lstStyle/>
              <a:p>
                <a:pPr algn="l" rtl="0" fontAlgn="base">
                  <a:spcBef>
                    <a:spcPct val="0"/>
                  </a:spcBef>
                  <a:spcAft>
                    <a:spcPct val="0"/>
                  </a:spcAft>
                </a:pPr>
                <a:endParaRPr lang="zh-CN" sz="1000" b="1">
                  <a:solidFill>
                    <a:srgbClr val="504C4C"/>
                  </a:solidFill>
                  <a:latin typeface="Arial" panose="020B0604020202020204" pitchFamily="34" charset="0"/>
                  <a:ea typeface="微软雅黑" panose="020B0503020204020204" pitchFamily="34" charset="-122"/>
                  <a:cs typeface="Arial" pitchFamily="34" charset="0"/>
                </a:endParaRPr>
              </a:p>
            </p:txBody>
          </p:sp>
          <p:sp>
            <p:nvSpPr>
              <p:cNvPr id="636" name="Freeform 236">
                <a:extLst>
                  <a:ext uri="{FF2B5EF4-FFF2-40B4-BE49-F238E27FC236}">
                    <a16:creationId xmlns:a16="http://schemas.microsoft.com/office/drawing/2014/main" id="{0DF5C624-3D55-4ED5-87A3-A17F6F63F159}"/>
                  </a:ext>
                </a:extLst>
              </p:cNvPr>
              <p:cNvSpPr>
                <a:spLocks/>
              </p:cNvSpPr>
              <p:nvPr/>
            </p:nvSpPr>
            <p:spPr bwMode="auto">
              <a:xfrm>
                <a:off x="1934302" y="3775604"/>
                <a:ext cx="57355" cy="0"/>
              </a:xfrm>
              <a:custGeom>
                <a:avLst/>
                <a:gdLst>
                  <a:gd name="T0" fmla="*/ 0 w 42"/>
                  <a:gd name="T1" fmla="*/ 42 w 42"/>
                  <a:gd name="T2" fmla="*/ 0 w 42"/>
                </a:gdLst>
                <a:ahLst/>
                <a:cxnLst>
                  <a:cxn ang="0">
                    <a:pos x="T0" y="0"/>
                  </a:cxn>
                  <a:cxn ang="0">
                    <a:pos x="T1" y="0"/>
                  </a:cxn>
                  <a:cxn ang="0">
                    <a:pos x="T2" y="0"/>
                  </a:cxn>
                </a:cxnLst>
                <a:rect l="0" t="0" r="r" b="b"/>
                <a:pathLst>
                  <a:path w="42">
                    <a:moveTo>
                      <a:pt x="0" y="0"/>
                    </a:moveTo>
                    <a:lnTo>
                      <a:pt x="42" y="0"/>
                    </a:lnTo>
                    <a:lnTo>
                      <a:pt x="0" y="0"/>
                    </a:lnTo>
                    <a:close/>
                  </a:path>
                </a:pathLst>
              </a:custGeom>
              <a:solidFill>
                <a:srgbClr val="00983A"/>
              </a:solidFill>
              <a:ln w="9525">
                <a:solidFill>
                  <a:srgbClr val="C3D600"/>
                </a:solidFill>
                <a:round/>
                <a:headEnd/>
                <a:tailEnd/>
              </a:ln>
            </p:spPr>
            <p:txBody>
              <a:bodyPr vert="horz" wrap="square" lIns="91440" tIns="45720" rIns="91440" bIns="45720" numCol="1" anchor="t" anchorCtr="0" compatLnSpc="1">
                <a:prstTxWarp prst="textNoShape">
                  <a:avLst/>
                </a:prstTxWarp>
              </a:bodyPr>
              <a:lstStyle/>
              <a:p>
                <a:pPr algn="l" rtl="0" fontAlgn="base">
                  <a:spcBef>
                    <a:spcPct val="0"/>
                  </a:spcBef>
                  <a:spcAft>
                    <a:spcPct val="0"/>
                  </a:spcAft>
                </a:pPr>
                <a:endParaRPr lang="zh-CN" sz="1000" b="1">
                  <a:solidFill>
                    <a:srgbClr val="504C4C"/>
                  </a:solidFill>
                  <a:latin typeface="Arial" panose="020B0604020202020204" pitchFamily="34" charset="0"/>
                  <a:ea typeface="微软雅黑" panose="020B0503020204020204" pitchFamily="34" charset="-122"/>
                  <a:cs typeface="Arial" pitchFamily="34" charset="0"/>
                </a:endParaRPr>
              </a:p>
            </p:txBody>
          </p:sp>
          <p:sp>
            <p:nvSpPr>
              <p:cNvPr id="637" name="Freeform 238">
                <a:extLst>
                  <a:ext uri="{FF2B5EF4-FFF2-40B4-BE49-F238E27FC236}">
                    <a16:creationId xmlns:a16="http://schemas.microsoft.com/office/drawing/2014/main" id="{20FE18ED-2DD3-494E-B866-F01B335928AD}"/>
                  </a:ext>
                </a:extLst>
              </p:cNvPr>
              <p:cNvSpPr>
                <a:spLocks/>
              </p:cNvSpPr>
              <p:nvPr/>
            </p:nvSpPr>
            <p:spPr bwMode="auto">
              <a:xfrm>
                <a:off x="1778623" y="3682743"/>
                <a:ext cx="0" cy="84668"/>
              </a:xfrm>
              <a:custGeom>
                <a:avLst/>
                <a:gdLst>
                  <a:gd name="T0" fmla="*/ 62 h 62"/>
                  <a:gd name="T1" fmla="*/ 0 h 62"/>
                  <a:gd name="T2" fmla="*/ 62 h 62"/>
                </a:gdLst>
                <a:ahLst/>
                <a:cxnLst>
                  <a:cxn ang="0">
                    <a:pos x="0" y="T0"/>
                  </a:cxn>
                  <a:cxn ang="0">
                    <a:pos x="0" y="T1"/>
                  </a:cxn>
                  <a:cxn ang="0">
                    <a:pos x="0" y="T2"/>
                  </a:cxn>
                </a:cxnLst>
                <a:rect l="0" t="0" r="r" b="b"/>
                <a:pathLst>
                  <a:path h="62">
                    <a:moveTo>
                      <a:pt x="0" y="62"/>
                    </a:moveTo>
                    <a:lnTo>
                      <a:pt x="0" y="0"/>
                    </a:lnTo>
                    <a:lnTo>
                      <a:pt x="0" y="62"/>
                    </a:lnTo>
                    <a:close/>
                  </a:path>
                </a:pathLst>
              </a:custGeom>
              <a:solidFill>
                <a:srgbClr val="00983A"/>
              </a:solidFill>
              <a:ln w="9525">
                <a:solidFill>
                  <a:srgbClr val="C3D600"/>
                </a:solidFill>
                <a:round/>
                <a:headEnd/>
                <a:tailEnd/>
              </a:ln>
            </p:spPr>
            <p:txBody>
              <a:bodyPr vert="horz" wrap="square" lIns="91440" tIns="45720" rIns="91440" bIns="45720" numCol="1" anchor="t" anchorCtr="0" compatLnSpc="1">
                <a:prstTxWarp prst="textNoShape">
                  <a:avLst/>
                </a:prstTxWarp>
              </a:bodyPr>
              <a:lstStyle/>
              <a:p>
                <a:pPr algn="l" rtl="0" fontAlgn="base">
                  <a:spcBef>
                    <a:spcPct val="0"/>
                  </a:spcBef>
                  <a:spcAft>
                    <a:spcPct val="0"/>
                  </a:spcAft>
                </a:pPr>
                <a:endParaRPr lang="zh-CN" sz="1000" b="1">
                  <a:solidFill>
                    <a:srgbClr val="504C4C"/>
                  </a:solidFill>
                  <a:latin typeface="Arial" panose="020B0604020202020204" pitchFamily="34" charset="0"/>
                  <a:ea typeface="微软雅黑" panose="020B0503020204020204" pitchFamily="34" charset="-122"/>
                  <a:cs typeface="Arial" pitchFamily="34" charset="0"/>
                </a:endParaRPr>
              </a:p>
            </p:txBody>
          </p:sp>
          <p:sp>
            <p:nvSpPr>
              <p:cNvPr id="638" name="Line 239">
                <a:extLst>
                  <a:ext uri="{FF2B5EF4-FFF2-40B4-BE49-F238E27FC236}">
                    <a16:creationId xmlns:a16="http://schemas.microsoft.com/office/drawing/2014/main" id="{A4288ACB-48DA-43E7-B1BC-134E8949A3FF}"/>
                  </a:ext>
                </a:extLst>
              </p:cNvPr>
              <p:cNvSpPr>
                <a:spLocks noChangeShapeType="1"/>
              </p:cNvSpPr>
              <p:nvPr/>
            </p:nvSpPr>
            <p:spPr bwMode="auto">
              <a:xfrm flipV="1">
                <a:off x="1778623" y="3682743"/>
                <a:ext cx="0" cy="84668"/>
              </a:xfrm>
              <a:prstGeom prst="line">
                <a:avLst/>
              </a:prstGeom>
              <a:noFill/>
              <a:ln w="12700" cap="flat">
                <a:solidFill>
                  <a:srgbClr val="C3D6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algn="l" rtl="0" fontAlgn="base">
                  <a:spcBef>
                    <a:spcPct val="0"/>
                  </a:spcBef>
                  <a:spcAft>
                    <a:spcPct val="0"/>
                  </a:spcAft>
                </a:pPr>
                <a:endParaRPr lang="zh-CN" sz="1000" b="1">
                  <a:solidFill>
                    <a:srgbClr val="504C4C"/>
                  </a:solidFill>
                  <a:latin typeface="Arial" panose="020B0604020202020204" pitchFamily="34" charset="0"/>
                  <a:ea typeface="微软雅黑" panose="020B0503020204020204" pitchFamily="34" charset="-122"/>
                  <a:cs typeface="Arial" pitchFamily="34" charset="0"/>
                </a:endParaRPr>
              </a:p>
            </p:txBody>
          </p:sp>
          <p:sp>
            <p:nvSpPr>
              <p:cNvPr id="639" name="Freeform 240">
                <a:extLst>
                  <a:ext uri="{FF2B5EF4-FFF2-40B4-BE49-F238E27FC236}">
                    <a16:creationId xmlns:a16="http://schemas.microsoft.com/office/drawing/2014/main" id="{A7304CB2-092F-4C48-8F05-7FC4D21B49AD}"/>
                  </a:ext>
                </a:extLst>
              </p:cNvPr>
              <p:cNvSpPr>
                <a:spLocks/>
              </p:cNvSpPr>
              <p:nvPr/>
            </p:nvSpPr>
            <p:spPr bwMode="auto">
              <a:xfrm>
                <a:off x="1749945" y="3682743"/>
                <a:ext cx="57355" cy="0"/>
              </a:xfrm>
              <a:custGeom>
                <a:avLst/>
                <a:gdLst>
                  <a:gd name="T0" fmla="*/ 0 w 42"/>
                  <a:gd name="T1" fmla="*/ 42 w 42"/>
                  <a:gd name="T2" fmla="*/ 0 w 42"/>
                </a:gdLst>
                <a:ahLst/>
                <a:cxnLst>
                  <a:cxn ang="0">
                    <a:pos x="T0" y="0"/>
                  </a:cxn>
                  <a:cxn ang="0">
                    <a:pos x="T1" y="0"/>
                  </a:cxn>
                  <a:cxn ang="0">
                    <a:pos x="T2" y="0"/>
                  </a:cxn>
                </a:cxnLst>
                <a:rect l="0" t="0" r="r" b="b"/>
                <a:pathLst>
                  <a:path w="42">
                    <a:moveTo>
                      <a:pt x="0" y="0"/>
                    </a:moveTo>
                    <a:lnTo>
                      <a:pt x="42" y="0"/>
                    </a:lnTo>
                    <a:lnTo>
                      <a:pt x="0" y="0"/>
                    </a:lnTo>
                    <a:close/>
                  </a:path>
                </a:pathLst>
              </a:custGeom>
              <a:solidFill>
                <a:srgbClr val="00983A"/>
              </a:solidFill>
              <a:ln w="9525">
                <a:solidFill>
                  <a:srgbClr val="C3D600"/>
                </a:solidFill>
                <a:round/>
                <a:headEnd/>
                <a:tailEnd/>
              </a:ln>
            </p:spPr>
            <p:txBody>
              <a:bodyPr vert="horz" wrap="square" lIns="91440" tIns="45720" rIns="91440" bIns="45720" numCol="1" anchor="t" anchorCtr="0" compatLnSpc="1">
                <a:prstTxWarp prst="textNoShape">
                  <a:avLst/>
                </a:prstTxWarp>
              </a:bodyPr>
              <a:lstStyle/>
              <a:p>
                <a:pPr algn="l" rtl="0" fontAlgn="base">
                  <a:spcBef>
                    <a:spcPct val="0"/>
                  </a:spcBef>
                  <a:spcAft>
                    <a:spcPct val="0"/>
                  </a:spcAft>
                </a:pPr>
                <a:endParaRPr lang="zh-CN" sz="1000" b="1">
                  <a:solidFill>
                    <a:srgbClr val="504C4C"/>
                  </a:solidFill>
                  <a:latin typeface="Arial" panose="020B0604020202020204" pitchFamily="34" charset="0"/>
                  <a:ea typeface="微软雅黑" panose="020B0503020204020204" pitchFamily="34" charset="-122"/>
                  <a:cs typeface="Arial" pitchFamily="34" charset="0"/>
                </a:endParaRPr>
              </a:p>
            </p:txBody>
          </p:sp>
          <p:sp>
            <p:nvSpPr>
              <p:cNvPr id="640" name="Freeform 242">
                <a:extLst>
                  <a:ext uri="{FF2B5EF4-FFF2-40B4-BE49-F238E27FC236}">
                    <a16:creationId xmlns:a16="http://schemas.microsoft.com/office/drawing/2014/main" id="{69732B57-8285-418E-94B9-56247CED89D2}"/>
                  </a:ext>
                </a:extLst>
              </p:cNvPr>
              <p:cNvSpPr>
                <a:spLocks/>
              </p:cNvSpPr>
              <p:nvPr/>
            </p:nvSpPr>
            <p:spPr bwMode="auto">
              <a:xfrm>
                <a:off x="1749945" y="3767410"/>
                <a:ext cx="57355" cy="0"/>
              </a:xfrm>
              <a:custGeom>
                <a:avLst/>
                <a:gdLst>
                  <a:gd name="T0" fmla="*/ 0 w 42"/>
                  <a:gd name="T1" fmla="*/ 42 w 42"/>
                  <a:gd name="T2" fmla="*/ 0 w 42"/>
                </a:gdLst>
                <a:ahLst/>
                <a:cxnLst>
                  <a:cxn ang="0">
                    <a:pos x="T0" y="0"/>
                  </a:cxn>
                  <a:cxn ang="0">
                    <a:pos x="T1" y="0"/>
                  </a:cxn>
                  <a:cxn ang="0">
                    <a:pos x="T2" y="0"/>
                  </a:cxn>
                </a:cxnLst>
                <a:rect l="0" t="0" r="r" b="b"/>
                <a:pathLst>
                  <a:path w="42">
                    <a:moveTo>
                      <a:pt x="0" y="0"/>
                    </a:moveTo>
                    <a:lnTo>
                      <a:pt x="42" y="0"/>
                    </a:lnTo>
                    <a:lnTo>
                      <a:pt x="0" y="0"/>
                    </a:lnTo>
                    <a:close/>
                  </a:path>
                </a:pathLst>
              </a:custGeom>
              <a:solidFill>
                <a:srgbClr val="00983A"/>
              </a:solidFill>
              <a:ln w="9525">
                <a:solidFill>
                  <a:srgbClr val="C3D600"/>
                </a:solidFill>
                <a:round/>
                <a:headEnd/>
                <a:tailEnd/>
              </a:ln>
            </p:spPr>
            <p:txBody>
              <a:bodyPr vert="horz" wrap="square" lIns="91440" tIns="45720" rIns="91440" bIns="45720" numCol="1" anchor="t" anchorCtr="0" compatLnSpc="1">
                <a:prstTxWarp prst="textNoShape">
                  <a:avLst/>
                </a:prstTxWarp>
              </a:bodyPr>
              <a:lstStyle/>
              <a:p>
                <a:pPr algn="l" rtl="0" fontAlgn="base">
                  <a:spcBef>
                    <a:spcPct val="0"/>
                  </a:spcBef>
                  <a:spcAft>
                    <a:spcPct val="0"/>
                  </a:spcAft>
                </a:pPr>
                <a:endParaRPr lang="zh-CN" sz="1000" b="1">
                  <a:solidFill>
                    <a:srgbClr val="504C4C"/>
                  </a:solidFill>
                  <a:latin typeface="Arial" panose="020B0604020202020204" pitchFamily="34" charset="0"/>
                  <a:ea typeface="微软雅黑" panose="020B0503020204020204" pitchFamily="34" charset="-122"/>
                  <a:cs typeface="Arial" pitchFamily="34" charset="0"/>
                </a:endParaRPr>
              </a:p>
            </p:txBody>
          </p:sp>
          <p:sp>
            <p:nvSpPr>
              <p:cNvPr id="641" name="Freeform 220">
                <a:extLst>
                  <a:ext uri="{FF2B5EF4-FFF2-40B4-BE49-F238E27FC236}">
                    <a16:creationId xmlns:a16="http://schemas.microsoft.com/office/drawing/2014/main" id="{644A330A-C709-41CE-ADAD-A3BAA57D595B}"/>
                  </a:ext>
                </a:extLst>
              </p:cNvPr>
              <p:cNvSpPr>
                <a:spLocks/>
              </p:cNvSpPr>
              <p:nvPr/>
            </p:nvSpPr>
            <p:spPr bwMode="auto">
              <a:xfrm>
                <a:off x="4132928" y="3699130"/>
                <a:ext cx="0" cy="111980"/>
              </a:xfrm>
              <a:custGeom>
                <a:avLst/>
                <a:gdLst>
                  <a:gd name="T0" fmla="*/ 82 h 82"/>
                  <a:gd name="T1" fmla="*/ 0 h 82"/>
                  <a:gd name="T2" fmla="*/ 82 h 82"/>
                </a:gdLst>
                <a:ahLst/>
                <a:cxnLst>
                  <a:cxn ang="0">
                    <a:pos x="0" y="T0"/>
                  </a:cxn>
                  <a:cxn ang="0">
                    <a:pos x="0" y="T1"/>
                  </a:cxn>
                  <a:cxn ang="0">
                    <a:pos x="0" y="T2"/>
                  </a:cxn>
                </a:cxnLst>
                <a:rect l="0" t="0" r="r" b="b"/>
                <a:pathLst>
                  <a:path h="82">
                    <a:moveTo>
                      <a:pt x="0" y="82"/>
                    </a:moveTo>
                    <a:lnTo>
                      <a:pt x="0" y="0"/>
                    </a:lnTo>
                    <a:lnTo>
                      <a:pt x="0" y="82"/>
                    </a:lnTo>
                    <a:close/>
                  </a:path>
                </a:pathLst>
              </a:custGeom>
              <a:solidFill>
                <a:srgbClr val="00983A"/>
              </a:solidFill>
              <a:ln w="9525">
                <a:solidFill>
                  <a:srgbClr val="C3D600"/>
                </a:solidFill>
                <a:round/>
                <a:headEnd/>
                <a:tailEnd/>
              </a:ln>
            </p:spPr>
            <p:txBody>
              <a:bodyPr vert="horz" wrap="square" lIns="91440" tIns="45720" rIns="91440" bIns="45720" numCol="1" anchor="t" anchorCtr="0" compatLnSpc="1">
                <a:prstTxWarp prst="textNoShape">
                  <a:avLst/>
                </a:prstTxWarp>
              </a:bodyPr>
              <a:lstStyle/>
              <a:p>
                <a:pPr algn="l" rtl="0" fontAlgn="base">
                  <a:spcBef>
                    <a:spcPct val="0"/>
                  </a:spcBef>
                  <a:spcAft>
                    <a:spcPct val="0"/>
                  </a:spcAft>
                </a:pPr>
                <a:endParaRPr lang="zh-CN" sz="1000" b="1">
                  <a:solidFill>
                    <a:srgbClr val="504C4C"/>
                  </a:solidFill>
                  <a:latin typeface="Arial" panose="020B0604020202020204" pitchFamily="34" charset="0"/>
                  <a:ea typeface="微软雅黑" panose="020B0503020204020204" pitchFamily="34" charset="-122"/>
                  <a:cs typeface="Arial" pitchFamily="34" charset="0"/>
                </a:endParaRPr>
              </a:p>
            </p:txBody>
          </p:sp>
          <p:sp>
            <p:nvSpPr>
              <p:cNvPr id="642" name="Line 221">
                <a:extLst>
                  <a:ext uri="{FF2B5EF4-FFF2-40B4-BE49-F238E27FC236}">
                    <a16:creationId xmlns:a16="http://schemas.microsoft.com/office/drawing/2014/main" id="{18839346-E6C7-4282-AC2E-8AA52B6E87C8}"/>
                  </a:ext>
                </a:extLst>
              </p:cNvPr>
              <p:cNvSpPr>
                <a:spLocks noChangeShapeType="1"/>
              </p:cNvSpPr>
              <p:nvPr/>
            </p:nvSpPr>
            <p:spPr bwMode="auto">
              <a:xfrm flipV="1">
                <a:off x="4132928" y="3699130"/>
                <a:ext cx="0" cy="93546"/>
              </a:xfrm>
              <a:prstGeom prst="line">
                <a:avLst/>
              </a:prstGeom>
              <a:noFill/>
              <a:ln w="12700" cap="flat">
                <a:solidFill>
                  <a:srgbClr val="C3D6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algn="l" rtl="0" fontAlgn="base">
                  <a:spcBef>
                    <a:spcPct val="0"/>
                  </a:spcBef>
                  <a:spcAft>
                    <a:spcPct val="0"/>
                  </a:spcAft>
                </a:pPr>
                <a:endParaRPr lang="zh-CN" sz="1000" b="1">
                  <a:solidFill>
                    <a:srgbClr val="504C4C"/>
                  </a:solidFill>
                  <a:latin typeface="Arial" panose="020B0604020202020204" pitchFamily="34" charset="0"/>
                  <a:ea typeface="微软雅黑" panose="020B0503020204020204" pitchFamily="34" charset="-122"/>
                  <a:cs typeface="Arial" pitchFamily="34" charset="0"/>
                </a:endParaRPr>
              </a:p>
            </p:txBody>
          </p:sp>
          <p:sp>
            <p:nvSpPr>
              <p:cNvPr id="643" name="Freeform 222">
                <a:extLst>
                  <a:ext uri="{FF2B5EF4-FFF2-40B4-BE49-F238E27FC236}">
                    <a16:creationId xmlns:a16="http://schemas.microsoft.com/office/drawing/2014/main" id="{66F7A3FA-E0DF-4264-9C1B-2974BF1924B0}"/>
                  </a:ext>
                </a:extLst>
              </p:cNvPr>
              <p:cNvSpPr>
                <a:spLocks/>
              </p:cNvSpPr>
              <p:nvPr/>
            </p:nvSpPr>
            <p:spPr bwMode="auto">
              <a:xfrm>
                <a:off x="4102884" y="3699130"/>
                <a:ext cx="60087" cy="0"/>
              </a:xfrm>
              <a:custGeom>
                <a:avLst/>
                <a:gdLst>
                  <a:gd name="T0" fmla="*/ 0 w 44"/>
                  <a:gd name="T1" fmla="*/ 44 w 44"/>
                  <a:gd name="T2" fmla="*/ 0 w 44"/>
                </a:gdLst>
                <a:ahLst/>
                <a:cxnLst>
                  <a:cxn ang="0">
                    <a:pos x="T0" y="0"/>
                  </a:cxn>
                  <a:cxn ang="0">
                    <a:pos x="T1" y="0"/>
                  </a:cxn>
                  <a:cxn ang="0">
                    <a:pos x="T2" y="0"/>
                  </a:cxn>
                </a:cxnLst>
                <a:rect l="0" t="0" r="r" b="b"/>
                <a:pathLst>
                  <a:path w="44">
                    <a:moveTo>
                      <a:pt x="0" y="0"/>
                    </a:moveTo>
                    <a:lnTo>
                      <a:pt x="44" y="0"/>
                    </a:lnTo>
                    <a:lnTo>
                      <a:pt x="0" y="0"/>
                    </a:lnTo>
                    <a:close/>
                  </a:path>
                </a:pathLst>
              </a:custGeom>
              <a:solidFill>
                <a:srgbClr val="00983A"/>
              </a:solidFill>
              <a:ln w="9525">
                <a:solidFill>
                  <a:srgbClr val="C3D600"/>
                </a:solidFill>
                <a:round/>
                <a:headEnd/>
                <a:tailEnd/>
              </a:ln>
            </p:spPr>
            <p:txBody>
              <a:bodyPr vert="horz" wrap="square" lIns="91440" tIns="45720" rIns="91440" bIns="45720" numCol="1" anchor="t" anchorCtr="0" compatLnSpc="1">
                <a:prstTxWarp prst="textNoShape">
                  <a:avLst/>
                </a:prstTxWarp>
              </a:bodyPr>
              <a:lstStyle/>
              <a:p>
                <a:pPr algn="l" rtl="0" fontAlgn="base">
                  <a:spcBef>
                    <a:spcPct val="0"/>
                  </a:spcBef>
                  <a:spcAft>
                    <a:spcPct val="0"/>
                  </a:spcAft>
                </a:pPr>
                <a:endParaRPr lang="zh-CN" sz="1000" b="1">
                  <a:solidFill>
                    <a:srgbClr val="504C4C"/>
                  </a:solidFill>
                  <a:latin typeface="Arial" panose="020B0604020202020204" pitchFamily="34" charset="0"/>
                  <a:ea typeface="微软雅黑" panose="020B0503020204020204" pitchFamily="34" charset="-122"/>
                  <a:cs typeface="Arial" pitchFamily="34" charset="0"/>
                </a:endParaRPr>
              </a:p>
            </p:txBody>
          </p:sp>
          <p:sp>
            <p:nvSpPr>
              <p:cNvPr id="644" name="Freeform 224">
                <a:extLst>
                  <a:ext uri="{FF2B5EF4-FFF2-40B4-BE49-F238E27FC236}">
                    <a16:creationId xmlns:a16="http://schemas.microsoft.com/office/drawing/2014/main" id="{530F7ED0-7E58-4328-AC4E-04DD2622BA4F}"/>
                  </a:ext>
                </a:extLst>
              </p:cNvPr>
              <p:cNvSpPr>
                <a:spLocks/>
              </p:cNvSpPr>
              <p:nvPr/>
            </p:nvSpPr>
            <p:spPr bwMode="auto">
              <a:xfrm>
                <a:off x="4102884" y="3811110"/>
                <a:ext cx="60087" cy="0"/>
              </a:xfrm>
              <a:custGeom>
                <a:avLst/>
                <a:gdLst>
                  <a:gd name="T0" fmla="*/ 0 w 44"/>
                  <a:gd name="T1" fmla="*/ 44 w 44"/>
                  <a:gd name="T2" fmla="*/ 0 w 44"/>
                </a:gdLst>
                <a:ahLst/>
                <a:cxnLst>
                  <a:cxn ang="0">
                    <a:pos x="T0" y="0"/>
                  </a:cxn>
                  <a:cxn ang="0">
                    <a:pos x="T1" y="0"/>
                  </a:cxn>
                  <a:cxn ang="0">
                    <a:pos x="T2" y="0"/>
                  </a:cxn>
                </a:cxnLst>
                <a:rect l="0" t="0" r="r" b="b"/>
                <a:pathLst>
                  <a:path w="44">
                    <a:moveTo>
                      <a:pt x="0" y="0"/>
                    </a:moveTo>
                    <a:lnTo>
                      <a:pt x="44" y="0"/>
                    </a:lnTo>
                    <a:lnTo>
                      <a:pt x="0" y="0"/>
                    </a:lnTo>
                    <a:close/>
                  </a:path>
                </a:pathLst>
              </a:custGeom>
              <a:solidFill>
                <a:srgbClr val="00983A"/>
              </a:solidFill>
              <a:ln w="9525">
                <a:solidFill>
                  <a:srgbClr val="C3D600"/>
                </a:solidFill>
                <a:round/>
                <a:headEnd/>
                <a:tailEnd/>
              </a:ln>
            </p:spPr>
            <p:txBody>
              <a:bodyPr vert="horz" wrap="square" lIns="91440" tIns="45720" rIns="91440" bIns="45720" numCol="1" anchor="t" anchorCtr="0" compatLnSpc="1">
                <a:prstTxWarp prst="textNoShape">
                  <a:avLst/>
                </a:prstTxWarp>
              </a:bodyPr>
              <a:lstStyle/>
              <a:p>
                <a:pPr algn="l" rtl="0" fontAlgn="base">
                  <a:spcBef>
                    <a:spcPct val="0"/>
                  </a:spcBef>
                  <a:spcAft>
                    <a:spcPct val="0"/>
                  </a:spcAft>
                </a:pPr>
                <a:endParaRPr lang="zh-CN" sz="1000" b="1">
                  <a:solidFill>
                    <a:srgbClr val="504C4C"/>
                  </a:solidFill>
                  <a:latin typeface="Arial" panose="020B0604020202020204" pitchFamily="34" charset="0"/>
                  <a:ea typeface="微软雅黑" panose="020B0503020204020204" pitchFamily="34" charset="-122"/>
                  <a:cs typeface="Arial" pitchFamily="34" charset="0"/>
                </a:endParaRPr>
              </a:p>
            </p:txBody>
          </p:sp>
          <p:sp>
            <p:nvSpPr>
              <p:cNvPr id="645" name="Oval 63">
                <a:extLst>
                  <a:ext uri="{FF2B5EF4-FFF2-40B4-BE49-F238E27FC236}">
                    <a16:creationId xmlns:a16="http://schemas.microsoft.com/office/drawing/2014/main" id="{4175A4E5-4A00-4048-9EEE-CAC99F3603CD}"/>
                  </a:ext>
                </a:extLst>
              </p:cNvPr>
              <p:cNvSpPr>
                <a:spLocks noChangeArrowheads="1"/>
              </p:cNvSpPr>
              <p:nvPr/>
            </p:nvSpPr>
            <p:spPr bwMode="auto">
              <a:xfrm>
                <a:off x="1743117" y="3693667"/>
                <a:ext cx="71012" cy="73743"/>
              </a:xfrm>
              <a:prstGeom prst="ellipse">
                <a:avLst/>
              </a:prstGeom>
              <a:solidFill>
                <a:srgbClr val="C3D600"/>
              </a:solidFill>
              <a:ln>
                <a:solidFill>
                  <a:srgbClr val="C3D600"/>
                </a:solidFill>
              </a:ln>
            </p:spPr>
            <p:txBody>
              <a:bodyPr vert="horz" wrap="square" lIns="91440" tIns="45720" rIns="91440" bIns="45720" numCol="1" anchor="t" anchorCtr="0" compatLnSpc="1">
                <a:prstTxWarp prst="textNoShape">
                  <a:avLst/>
                </a:prstTxWarp>
              </a:bodyPr>
              <a:lstStyle/>
              <a:p>
                <a:pPr algn="l" rtl="0" fontAlgn="base">
                  <a:spcBef>
                    <a:spcPct val="0"/>
                  </a:spcBef>
                  <a:spcAft>
                    <a:spcPct val="0"/>
                  </a:spcAft>
                </a:pPr>
                <a:endParaRPr lang="zh-CN" sz="1000" b="1">
                  <a:solidFill>
                    <a:srgbClr val="504C4C"/>
                  </a:solidFill>
                  <a:latin typeface="Arial" panose="020B0604020202020204" pitchFamily="34" charset="0"/>
                  <a:ea typeface="微软雅黑" panose="020B0503020204020204" pitchFamily="34" charset="-122"/>
                  <a:cs typeface="Arial" pitchFamily="34" charset="0"/>
                </a:endParaRPr>
              </a:p>
            </p:txBody>
          </p:sp>
          <p:grpSp>
            <p:nvGrpSpPr>
              <p:cNvPr id="646" name="Group 301">
                <a:extLst>
                  <a:ext uri="{FF2B5EF4-FFF2-40B4-BE49-F238E27FC236}">
                    <a16:creationId xmlns:a16="http://schemas.microsoft.com/office/drawing/2014/main" id="{4BFF6236-5A59-476B-9B74-D0F71609041E}"/>
                  </a:ext>
                </a:extLst>
              </p:cNvPr>
              <p:cNvGrpSpPr/>
              <p:nvPr/>
            </p:nvGrpSpPr>
            <p:grpSpPr>
              <a:xfrm>
                <a:off x="1749945" y="3680131"/>
                <a:ext cx="4596631" cy="169216"/>
                <a:chOff x="1749945" y="3680131"/>
                <a:chExt cx="4596631" cy="169216"/>
              </a:xfrm>
            </p:grpSpPr>
            <p:sp>
              <p:nvSpPr>
                <p:cNvPr id="647" name="Line 204">
                  <a:extLst>
                    <a:ext uri="{FF2B5EF4-FFF2-40B4-BE49-F238E27FC236}">
                      <a16:creationId xmlns:a16="http://schemas.microsoft.com/office/drawing/2014/main" id="{D433F283-41B7-4FF9-9663-F01C69492D91}"/>
                    </a:ext>
                  </a:extLst>
                </p:cNvPr>
                <p:cNvSpPr>
                  <a:spLocks noChangeShapeType="1"/>
                </p:cNvSpPr>
                <p:nvPr/>
              </p:nvSpPr>
              <p:spPr bwMode="auto">
                <a:xfrm>
                  <a:off x="6289221" y="3685474"/>
                  <a:ext cx="57355" cy="0"/>
                </a:xfrm>
                <a:prstGeom prst="line">
                  <a:avLst/>
                </a:prstGeom>
                <a:noFill/>
                <a:ln w="12700" cap="flat">
                  <a:solidFill>
                    <a:srgbClr val="C3D6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algn="l" rtl="0" fontAlgn="base">
                    <a:spcBef>
                      <a:spcPct val="0"/>
                    </a:spcBef>
                    <a:spcAft>
                      <a:spcPct val="0"/>
                    </a:spcAft>
                  </a:pPr>
                  <a:endParaRPr lang="zh-CN" sz="1000" b="1">
                    <a:solidFill>
                      <a:srgbClr val="504C4C"/>
                    </a:solidFill>
                    <a:latin typeface="Arial" panose="020B0604020202020204" pitchFamily="34" charset="0"/>
                    <a:ea typeface="微软雅黑" panose="020B0503020204020204" pitchFamily="34" charset="-122"/>
                    <a:cs typeface="Arial" pitchFamily="34" charset="0"/>
                  </a:endParaRPr>
                </a:p>
              </p:txBody>
            </p:sp>
            <p:sp>
              <p:nvSpPr>
                <p:cNvPr id="648" name="Line 207">
                  <a:extLst>
                    <a:ext uri="{FF2B5EF4-FFF2-40B4-BE49-F238E27FC236}">
                      <a16:creationId xmlns:a16="http://schemas.microsoft.com/office/drawing/2014/main" id="{B787A622-C849-48D2-B58E-9FF0DFAC03B5}"/>
                    </a:ext>
                  </a:extLst>
                </p:cNvPr>
                <p:cNvSpPr>
                  <a:spLocks noChangeShapeType="1"/>
                </p:cNvSpPr>
                <p:nvPr/>
              </p:nvSpPr>
              <p:spPr bwMode="auto">
                <a:xfrm>
                  <a:off x="6289221" y="3849347"/>
                  <a:ext cx="57355" cy="0"/>
                </a:xfrm>
                <a:prstGeom prst="line">
                  <a:avLst/>
                </a:prstGeom>
                <a:noFill/>
                <a:ln w="12700" cap="flat">
                  <a:solidFill>
                    <a:srgbClr val="C3D6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algn="l" rtl="0" fontAlgn="base">
                    <a:spcBef>
                      <a:spcPct val="0"/>
                    </a:spcBef>
                    <a:spcAft>
                      <a:spcPct val="0"/>
                    </a:spcAft>
                  </a:pPr>
                  <a:endParaRPr lang="zh-CN" sz="1000" b="1">
                    <a:solidFill>
                      <a:srgbClr val="504C4C"/>
                    </a:solidFill>
                    <a:latin typeface="Arial" panose="020B0604020202020204" pitchFamily="34" charset="0"/>
                    <a:ea typeface="微软雅黑" panose="020B0503020204020204" pitchFamily="34" charset="-122"/>
                    <a:cs typeface="Arial" pitchFamily="34" charset="0"/>
                  </a:endParaRPr>
                </a:p>
              </p:txBody>
            </p:sp>
            <p:sp>
              <p:nvSpPr>
                <p:cNvPr id="649" name="Line 211">
                  <a:extLst>
                    <a:ext uri="{FF2B5EF4-FFF2-40B4-BE49-F238E27FC236}">
                      <a16:creationId xmlns:a16="http://schemas.microsoft.com/office/drawing/2014/main" id="{A5AE31C4-EE47-46B6-9E3A-523A31329D9B}"/>
                    </a:ext>
                  </a:extLst>
                </p:cNvPr>
                <p:cNvSpPr>
                  <a:spLocks noChangeShapeType="1"/>
                </p:cNvSpPr>
                <p:nvPr/>
              </p:nvSpPr>
              <p:spPr bwMode="auto">
                <a:xfrm>
                  <a:off x="5559987" y="3707323"/>
                  <a:ext cx="57355" cy="0"/>
                </a:xfrm>
                <a:prstGeom prst="line">
                  <a:avLst/>
                </a:prstGeom>
                <a:noFill/>
                <a:ln w="12700" cap="flat">
                  <a:solidFill>
                    <a:srgbClr val="C3D6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algn="l" rtl="0" fontAlgn="base">
                    <a:spcBef>
                      <a:spcPct val="0"/>
                    </a:spcBef>
                    <a:spcAft>
                      <a:spcPct val="0"/>
                    </a:spcAft>
                  </a:pPr>
                  <a:endParaRPr lang="zh-CN" sz="1000" b="1">
                    <a:solidFill>
                      <a:srgbClr val="504C4C"/>
                    </a:solidFill>
                    <a:latin typeface="Arial" panose="020B0604020202020204" pitchFamily="34" charset="0"/>
                    <a:ea typeface="微软雅黑" panose="020B0503020204020204" pitchFamily="34" charset="-122"/>
                    <a:cs typeface="Arial" pitchFamily="34" charset="0"/>
                  </a:endParaRPr>
                </a:p>
              </p:txBody>
            </p:sp>
            <p:sp>
              <p:nvSpPr>
                <p:cNvPr id="650" name="Line 213">
                  <a:extLst>
                    <a:ext uri="{FF2B5EF4-FFF2-40B4-BE49-F238E27FC236}">
                      <a16:creationId xmlns:a16="http://schemas.microsoft.com/office/drawing/2014/main" id="{5B7CD9CA-5260-402D-AD65-1697A483BD4D}"/>
                    </a:ext>
                  </a:extLst>
                </p:cNvPr>
                <p:cNvSpPr>
                  <a:spLocks noChangeShapeType="1"/>
                </p:cNvSpPr>
                <p:nvPr/>
              </p:nvSpPr>
              <p:spPr bwMode="auto">
                <a:xfrm>
                  <a:off x="5559987" y="3819303"/>
                  <a:ext cx="57355" cy="0"/>
                </a:xfrm>
                <a:prstGeom prst="line">
                  <a:avLst/>
                </a:prstGeom>
                <a:noFill/>
                <a:ln w="12700" cap="flat">
                  <a:solidFill>
                    <a:srgbClr val="C3D6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algn="l" rtl="0" fontAlgn="base">
                    <a:spcBef>
                      <a:spcPct val="0"/>
                    </a:spcBef>
                    <a:spcAft>
                      <a:spcPct val="0"/>
                    </a:spcAft>
                  </a:pPr>
                  <a:endParaRPr lang="zh-CN" sz="1000" b="1">
                    <a:solidFill>
                      <a:srgbClr val="504C4C"/>
                    </a:solidFill>
                    <a:latin typeface="Arial" panose="020B0604020202020204" pitchFamily="34" charset="0"/>
                    <a:ea typeface="微软雅黑" panose="020B0503020204020204" pitchFamily="34" charset="-122"/>
                    <a:cs typeface="Arial" pitchFamily="34" charset="0"/>
                  </a:endParaRPr>
                </a:p>
              </p:txBody>
            </p:sp>
            <p:sp>
              <p:nvSpPr>
                <p:cNvPr id="651" name="Line 217">
                  <a:extLst>
                    <a:ext uri="{FF2B5EF4-FFF2-40B4-BE49-F238E27FC236}">
                      <a16:creationId xmlns:a16="http://schemas.microsoft.com/office/drawing/2014/main" id="{7AA95F5C-70DF-447E-ADE3-F6A68CB1474D}"/>
                    </a:ext>
                  </a:extLst>
                </p:cNvPr>
                <p:cNvSpPr>
                  <a:spLocks noChangeShapeType="1"/>
                </p:cNvSpPr>
                <p:nvPr/>
              </p:nvSpPr>
              <p:spPr bwMode="auto">
                <a:xfrm>
                  <a:off x="4836215" y="3712786"/>
                  <a:ext cx="57355" cy="0"/>
                </a:xfrm>
                <a:prstGeom prst="line">
                  <a:avLst/>
                </a:prstGeom>
                <a:noFill/>
                <a:ln w="12700" cap="flat">
                  <a:solidFill>
                    <a:srgbClr val="C3D6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algn="l" rtl="0" fontAlgn="base">
                    <a:spcBef>
                      <a:spcPct val="0"/>
                    </a:spcBef>
                    <a:spcAft>
                      <a:spcPct val="0"/>
                    </a:spcAft>
                  </a:pPr>
                  <a:endParaRPr lang="zh-CN" sz="1000" b="1">
                    <a:solidFill>
                      <a:srgbClr val="504C4C"/>
                    </a:solidFill>
                    <a:latin typeface="Arial" panose="020B0604020202020204" pitchFamily="34" charset="0"/>
                    <a:ea typeface="微软雅黑" panose="020B0503020204020204" pitchFamily="34" charset="-122"/>
                    <a:cs typeface="Arial" pitchFamily="34" charset="0"/>
                  </a:endParaRPr>
                </a:p>
              </p:txBody>
            </p:sp>
            <p:sp>
              <p:nvSpPr>
                <p:cNvPr id="652" name="Line 219">
                  <a:extLst>
                    <a:ext uri="{FF2B5EF4-FFF2-40B4-BE49-F238E27FC236}">
                      <a16:creationId xmlns:a16="http://schemas.microsoft.com/office/drawing/2014/main" id="{59BF6E1C-C821-40DC-9CCE-D656A6FC985F}"/>
                    </a:ext>
                  </a:extLst>
                </p:cNvPr>
                <p:cNvSpPr>
                  <a:spLocks noChangeShapeType="1"/>
                </p:cNvSpPr>
                <p:nvPr/>
              </p:nvSpPr>
              <p:spPr bwMode="auto">
                <a:xfrm>
                  <a:off x="4836215" y="3824766"/>
                  <a:ext cx="57355" cy="0"/>
                </a:xfrm>
                <a:prstGeom prst="line">
                  <a:avLst/>
                </a:prstGeom>
                <a:noFill/>
                <a:ln w="12700" cap="flat">
                  <a:solidFill>
                    <a:srgbClr val="C3D6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algn="l" rtl="0" fontAlgn="base">
                    <a:spcBef>
                      <a:spcPct val="0"/>
                    </a:spcBef>
                    <a:spcAft>
                      <a:spcPct val="0"/>
                    </a:spcAft>
                  </a:pPr>
                  <a:endParaRPr lang="zh-CN" sz="1000" b="1">
                    <a:solidFill>
                      <a:srgbClr val="504C4C"/>
                    </a:solidFill>
                    <a:latin typeface="Arial" panose="020B0604020202020204" pitchFamily="34" charset="0"/>
                    <a:ea typeface="微软雅黑" panose="020B0503020204020204" pitchFamily="34" charset="-122"/>
                    <a:cs typeface="Arial" pitchFamily="34" charset="0"/>
                  </a:endParaRPr>
                </a:p>
              </p:txBody>
            </p:sp>
            <p:sp>
              <p:nvSpPr>
                <p:cNvPr id="653" name="Line 223">
                  <a:extLst>
                    <a:ext uri="{FF2B5EF4-FFF2-40B4-BE49-F238E27FC236}">
                      <a16:creationId xmlns:a16="http://schemas.microsoft.com/office/drawing/2014/main" id="{FD62D0BD-9A1B-4A9D-8CA6-F3DDBCE04102}"/>
                    </a:ext>
                  </a:extLst>
                </p:cNvPr>
                <p:cNvSpPr>
                  <a:spLocks noChangeShapeType="1"/>
                </p:cNvSpPr>
                <p:nvPr/>
              </p:nvSpPr>
              <p:spPr bwMode="auto">
                <a:xfrm>
                  <a:off x="3379114" y="3690936"/>
                  <a:ext cx="60087" cy="0"/>
                </a:xfrm>
                <a:prstGeom prst="line">
                  <a:avLst/>
                </a:prstGeom>
                <a:noFill/>
                <a:ln w="12700" cap="flat">
                  <a:solidFill>
                    <a:srgbClr val="C3D6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algn="l" rtl="0" fontAlgn="base">
                    <a:spcBef>
                      <a:spcPct val="0"/>
                    </a:spcBef>
                    <a:spcAft>
                      <a:spcPct val="0"/>
                    </a:spcAft>
                  </a:pPr>
                  <a:endParaRPr lang="zh-CN" sz="1000" b="1">
                    <a:solidFill>
                      <a:srgbClr val="504C4C"/>
                    </a:solidFill>
                    <a:latin typeface="Arial" panose="020B0604020202020204" pitchFamily="34" charset="0"/>
                    <a:ea typeface="微软雅黑" panose="020B0503020204020204" pitchFamily="34" charset="-122"/>
                    <a:cs typeface="Arial" pitchFamily="34" charset="0"/>
                  </a:endParaRPr>
                </a:p>
              </p:txBody>
            </p:sp>
            <p:sp>
              <p:nvSpPr>
                <p:cNvPr id="654" name="Line 225">
                  <a:extLst>
                    <a:ext uri="{FF2B5EF4-FFF2-40B4-BE49-F238E27FC236}">
                      <a16:creationId xmlns:a16="http://schemas.microsoft.com/office/drawing/2014/main" id="{8FDC27B6-4100-4E01-80DB-A2CE78B3E16E}"/>
                    </a:ext>
                  </a:extLst>
                </p:cNvPr>
                <p:cNvSpPr>
                  <a:spLocks noChangeShapeType="1"/>
                </p:cNvSpPr>
                <p:nvPr/>
              </p:nvSpPr>
              <p:spPr bwMode="auto">
                <a:xfrm>
                  <a:off x="3379114" y="3802916"/>
                  <a:ext cx="60087" cy="0"/>
                </a:xfrm>
                <a:prstGeom prst="line">
                  <a:avLst/>
                </a:prstGeom>
                <a:noFill/>
                <a:ln w="12700" cap="flat">
                  <a:solidFill>
                    <a:srgbClr val="C3D6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algn="l" rtl="0" fontAlgn="base">
                    <a:spcBef>
                      <a:spcPct val="0"/>
                    </a:spcBef>
                    <a:spcAft>
                      <a:spcPct val="0"/>
                    </a:spcAft>
                  </a:pPr>
                  <a:endParaRPr lang="zh-CN" sz="1000" b="1">
                    <a:solidFill>
                      <a:srgbClr val="504C4C"/>
                    </a:solidFill>
                    <a:latin typeface="Arial" panose="020B0604020202020204" pitchFamily="34" charset="0"/>
                    <a:ea typeface="微软雅黑" panose="020B0503020204020204" pitchFamily="34" charset="-122"/>
                    <a:cs typeface="Arial" pitchFamily="34" charset="0"/>
                  </a:endParaRPr>
                </a:p>
              </p:txBody>
            </p:sp>
            <p:sp>
              <p:nvSpPr>
                <p:cNvPr id="655" name="Line 229">
                  <a:extLst>
                    <a:ext uri="{FF2B5EF4-FFF2-40B4-BE49-F238E27FC236}">
                      <a16:creationId xmlns:a16="http://schemas.microsoft.com/office/drawing/2014/main" id="{300AF2E5-092D-474B-8BE8-6F033F665C0E}"/>
                    </a:ext>
                  </a:extLst>
                </p:cNvPr>
                <p:cNvSpPr>
                  <a:spLocks noChangeShapeType="1"/>
                </p:cNvSpPr>
                <p:nvPr/>
              </p:nvSpPr>
              <p:spPr bwMode="auto">
                <a:xfrm>
                  <a:off x="2658073" y="3690936"/>
                  <a:ext cx="57355" cy="0"/>
                </a:xfrm>
                <a:prstGeom prst="line">
                  <a:avLst/>
                </a:prstGeom>
                <a:noFill/>
                <a:ln w="12700" cap="flat">
                  <a:solidFill>
                    <a:srgbClr val="C3D6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algn="l" rtl="0" fontAlgn="base">
                    <a:spcBef>
                      <a:spcPct val="0"/>
                    </a:spcBef>
                    <a:spcAft>
                      <a:spcPct val="0"/>
                    </a:spcAft>
                  </a:pPr>
                  <a:endParaRPr lang="zh-CN" sz="1000" b="1">
                    <a:solidFill>
                      <a:srgbClr val="504C4C"/>
                    </a:solidFill>
                    <a:latin typeface="Arial" panose="020B0604020202020204" pitchFamily="34" charset="0"/>
                    <a:ea typeface="微软雅黑" panose="020B0503020204020204" pitchFamily="34" charset="-122"/>
                    <a:cs typeface="Arial" pitchFamily="34" charset="0"/>
                  </a:endParaRPr>
                </a:p>
              </p:txBody>
            </p:sp>
            <p:sp>
              <p:nvSpPr>
                <p:cNvPr id="656" name="Line 231">
                  <a:extLst>
                    <a:ext uri="{FF2B5EF4-FFF2-40B4-BE49-F238E27FC236}">
                      <a16:creationId xmlns:a16="http://schemas.microsoft.com/office/drawing/2014/main" id="{B65E19CD-6AC6-4980-B510-C8D227EE6948}"/>
                    </a:ext>
                  </a:extLst>
                </p:cNvPr>
                <p:cNvSpPr>
                  <a:spLocks noChangeShapeType="1"/>
                </p:cNvSpPr>
                <p:nvPr/>
              </p:nvSpPr>
              <p:spPr bwMode="auto">
                <a:xfrm>
                  <a:off x="2658073" y="3783797"/>
                  <a:ext cx="57355" cy="0"/>
                </a:xfrm>
                <a:prstGeom prst="line">
                  <a:avLst/>
                </a:prstGeom>
                <a:noFill/>
                <a:ln w="12700" cap="flat">
                  <a:solidFill>
                    <a:srgbClr val="C3D6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algn="l" rtl="0" fontAlgn="base">
                    <a:spcBef>
                      <a:spcPct val="0"/>
                    </a:spcBef>
                    <a:spcAft>
                      <a:spcPct val="0"/>
                    </a:spcAft>
                  </a:pPr>
                  <a:endParaRPr lang="zh-CN" sz="1000" b="1">
                    <a:solidFill>
                      <a:srgbClr val="504C4C"/>
                    </a:solidFill>
                    <a:latin typeface="Arial" panose="020B0604020202020204" pitchFamily="34" charset="0"/>
                    <a:ea typeface="微软雅黑" panose="020B0503020204020204" pitchFamily="34" charset="-122"/>
                    <a:cs typeface="Arial" pitchFamily="34" charset="0"/>
                  </a:endParaRPr>
                </a:p>
              </p:txBody>
            </p:sp>
            <p:sp>
              <p:nvSpPr>
                <p:cNvPr id="657" name="Line 235">
                  <a:extLst>
                    <a:ext uri="{FF2B5EF4-FFF2-40B4-BE49-F238E27FC236}">
                      <a16:creationId xmlns:a16="http://schemas.microsoft.com/office/drawing/2014/main" id="{7D465D28-42D4-4CFD-AC06-83CE0393BDD3}"/>
                    </a:ext>
                  </a:extLst>
                </p:cNvPr>
                <p:cNvSpPr>
                  <a:spLocks noChangeShapeType="1"/>
                </p:cNvSpPr>
                <p:nvPr/>
              </p:nvSpPr>
              <p:spPr bwMode="auto">
                <a:xfrm>
                  <a:off x="1934302" y="3690936"/>
                  <a:ext cx="57355" cy="0"/>
                </a:xfrm>
                <a:prstGeom prst="line">
                  <a:avLst/>
                </a:prstGeom>
                <a:noFill/>
                <a:ln w="12700" cap="flat">
                  <a:solidFill>
                    <a:srgbClr val="C3D600"/>
                  </a:solidFill>
                  <a:prstDash val="solid"/>
                  <a:miter lim="800000"/>
                  <a:headEnd/>
                  <a:tailEnd/>
                </a:ln>
              </p:spPr>
              <p:txBody>
                <a:bodyPr vert="horz" wrap="square" lIns="91440" tIns="45720" rIns="91440" bIns="45720" numCol="1" anchor="t" anchorCtr="0" compatLnSpc="1">
                  <a:prstTxWarp prst="textNoShape">
                    <a:avLst/>
                  </a:prstTxWarp>
                </a:bodyPr>
                <a:lstStyle/>
                <a:p>
                  <a:pPr algn="l" rtl="0" fontAlgn="base">
                    <a:spcBef>
                      <a:spcPct val="0"/>
                    </a:spcBef>
                    <a:spcAft>
                      <a:spcPct val="0"/>
                    </a:spcAft>
                  </a:pPr>
                  <a:endParaRPr lang="zh-CN" sz="1000" b="1">
                    <a:solidFill>
                      <a:srgbClr val="504C4C"/>
                    </a:solidFill>
                    <a:latin typeface="Arial" panose="020B0604020202020204" pitchFamily="34" charset="0"/>
                    <a:ea typeface="微软雅黑" panose="020B0503020204020204" pitchFamily="34" charset="-122"/>
                    <a:cs typeface="Arial" pitchFamily="34" charset="0"/>
                  </a:endParaRPr>
                </a:p>
              </p:txBody>
            </p:sp>
            <p:sp>
              <p:nvSpPr>
                <p:cNvPr id="658" name="Line 237">
                  <a:extLst>
                    <a:ext uri="{FF2B5EF4-FFF2-40B4-BE49-F238E27FC236}">
                      <a16:creationId xmlns:a16="http://schemas.microsoft.com/office/drawing/2014/main" id="{233884CF-833C-4ABF-80E5-8A93B17B7222}"/>
                    </a:ext>
                  </a:extLst>
                </p:cNvPr>
                <p:cNvSpPr>
                  <a:spLocks noChangeShapeType="1"/>
                </p:cNvSpPr>
                <p:nvPr/>
              </p:nvSpPr>
              <p:spPr bwMode="auto">
                <a:xfrm>
                  <a:off x="1934302" y="3775604"/>
                  <a:ext cx="57355" cy="0"/>
                </a:xfrm>
                <a:prstGeom prst="line">
                  <a:avLst/>
                </a:prstGeom>
                <a:noFill/>
                <a:ln w="12700" cap="flat">
                  <a:solidFill>
                    <a:srgbClr val="C3D6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algn="l" rtl="0" fontAlgn="base">
                    <a:spcBef>
                      <a:spcPct val="0"/>
                    </a:spcBef>
                    <a:spcAft>
                      <a:spcPct val="0"/>
                    </a:spcAft>
                  </a:pPr>
                  <a:endParaRPr lang="zh-CN" sz="1000" b="1">
                    <a:solidFill>
                      <a:srgbClr val="504C4C"/>
                    </a:solidFill>
                    <a:latin typeface="Arial" panose="020B0604020202020204" pitchFamily="34" charset="0"/>
                    <a:ea typeface="微软雅黑" panose="020B0503020204020204" pitchFamily="34" charset="-122"/>
                    <a:cs typeface="Arial" pitchFamily="34" charset="0"/>
                  </a:endParaRPr>
                </a:p>
              </p:txBody>
            </p:sp>
            <p:sp>
              <p:nvSpPr>
                <p:cNvPr id="659" name="Line 223">
                  <a:extLst>
                    <a:ext uri="{FF2B5EF4-FFF2-40B4-BE49-F238E27FC236}">
                      <a16:creationId xmlns:a16="http://schemas.microsoft.com/office/drawing/2014/main" id="{29AA1EAB-142E-4632-9E3F-E9619F1E920E}"/>
                    </a:ext>
                  </a:extLst>
                </p:cNvPr>
                <p:cNvSpPr>
                  <a:spLocks noChangeShapeType="1"/>
                </p:cNvSpPr>
                <p:nvPr/>
              </p:nvSpPr>
              <p:spPr bwMode="auto">
                <a:xfrm>
                  <a:off x="4102884" y="3701178"/>
                  <a:ext cx="60087" cy="0"/>
                </a:xfrm>
                <a:prstGeom prst="line">
                  <a:avLst/>
                </a:prstGeom>
                <a:noFill/>
                <a:ln w="12700" cap="flat">
                  <a:solidFill>
                    <a:srgbClr val="C3D6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algn="l" rtl="0" fontAlgn="base">
                    <a:spcBef>
                      <a:spcPct val="0"/>
                    </a:spcBef>
                    <a:spcAft>
                      <a:spcPct val="0"/>
                    </a:spcAft>
                  </a:pPr>
                  <a:endParaRPr lang="zh-CN" sz="1000" b="1">
                    <a:solidFill>
                      <a:srgbClr val="504C4C"/>
                    </a:solidFill>
                    <a:latin typeface="Arial" panose="020B0604020202020204" pitchFamily="34" charset="0"/>
                    <a:ea typeface="微软雅黑" panose="020B0503020204020204" pitchFamily="34" charset="-122"/>
                    <a:cs typeface="Arial" pitchFamily="34" charset="0"/>
                  </a:endParaRPr>
                </a:p>
              </p:txBody>
            </p:sp>
            <p:sp>
              <p:nvSpPr>
                <p:cNvPr id="660" name="Line 225">
                  <a:extLst>
                    <a:ext uri="{FF2B5EF4-FFF2-40B4-BE49-F238E27FC236}">
                      <a16:creationId xmlns:a16="http://schemas.microsoft.com/office/drawing/2014/main" id="{AA51A4F0-A590-487F-AEED-026F41E223B5}"/>
                    </a:ext>
                  </a:extLst>
                </p:cNvPr>
                <p:cNvSpPr>
                  <a:spLocks noChangeShapeType="1"/>
                </p:cNvSpPr>
                <p:nvPr/>
              </p:nvSpPr>
              <p:spPr bwMode="auto">
                <a:xfrm>
                  <a:off x="4102884" y="3792676"/>
                  <a:ext cx="60087" cy="0"/>
                </a:xfrm>
                <a:prstGeom prst="line">
                  <a:avLst/>
                </a:prstGeom>
                <a:noFill/>
                <a:ln w="12700" cap="flat">
                  <a:solidFill>
                    <a:srgbClr val="C3D6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algn="l" rtl="0" fontAlgn="base">
                    <a:spcBef>
                      <a:spcPct val="0"/>
                    </a:spcBef>
                    <a:spcAft>
                      <a:spcPct val="0"/>
                    </a:spcAft>
                  </a:pPr>
                  <a:endParaRPr lang="zh-CN" sz="1000" b="1">
                    <a:solidFill>
                      <a:srgbClr val="504C4C"/>
                    </a:solidFill>
                    <a:latin typeface="Arial" panose="020B0604020202020204" pitchFamily="34" charset="0"/>
                    <a:ea typeface="微软雅黑" panose="020B0503020204020204" pitchFamily="34" charset="-122"/>
                    <a:cs typeface="Arial" pitchFamily="34" charset="0"/>
                  </a:endParaRPr>
                </a:p>
              </p:txBody>
            </p:sp>
            <p:sp>
              <p:nvSpPr>
                <p:cNvPr id="661" name="Line 241">
                  <a:extLst>
                    <a:ext uri="{FF2B5EF4-FFF2-40B4-BE49-F238E27FC236}">
                      <a16:creationId xmlns:a16="http://schemas.microsoft.com/office/drawing/2014/main" id="{6196D62D-FBF9-4F47-81BC-ABA85723DFD9}"/>
                    </a:ext>
                  </a:extLst>
                </p:cNvPr>
                <p:cNvSpPr>
                  <a:spLocks noChangeShapeType="1"/>
                </p:cNvSpPr>
                <p:nvPr/>
              </p:nvSpPr>
              <p:spPr bwMode="auto">
                <a:xfrm>
                  <a:off x="1750432" y="3680131"/>
                  <a:ext cx="57355" cy="0"/>
                </a:xfrm>
                <a:prstGeom prst="line">
                  <a:avLst/>
                </a:prstGeom>
                <a:noFill/>
                <a:ln w="12700" cap="flat">
                  <a:solidFill>
                    <a:srgbClr val="C3D6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algn="l" rtl="0" fontAlgn="base">
                    <a:spcBef>
                      <a:spcPct val="0"/>
                    </a:spcBef>
                    <a:spcAft>
                      <a:spcPct val="0"/>
                    </a:spcAft>
                  </a:pPr>
                  <a:endParaRPr lang="zh-CN" sz="1000" b="1">
                    <a:solidFill>
                      <a:srgbClr val="504C4C"/>
                    </a:solidFill>
                    <a:latin typeface="Arial" panose="020B0604020202020204" pitchFamily="34" charset="0"/>
                    <a:ea typeface="微软雅黑" panose="020B0503020204020204" pitchFamily="34" charset="-122"/>
                    <a:cs typeface="Arial" pitchFamily="34" charset="0"/>
                  </a:endParaRPr>
                </a:p>
              </p:txBody>
            </p:sp>
            <p:sp>
              <p:nvSpPr>
                <p:cNvPr id="662" name="Line 243">
                  <a:extLst>
                    <a:ext uri="{FF2B5EF4-FFF2-40B4-BE49-F238E27FC236}">
                      <a16:creationId xmlns:a16="http://schemas.microsoft.com/office/drawing/2014/main" id="{3267E120-3515-463F-B0C9-B67692E732A2}"/>
                    </a:ext>
                  </a:extLst>
                </p:cNvPr>
                <p:cNvSpPr>
                  <a:spLocks noChangeShapeType="1"/>
                </p:cNvSpPr>
                <p:nvPr/>
              </p:nvSpPr>
              <p:spPr bwMode="auto">
                <a:xfrm>
                  <a:off x="1749945" y="3767410"/>
                  <a:ext cx="57355" cy="0"/>
                </a:xfrm>
                <a:prstGeom prst="line">
                  <a:avLst/>
                </a:prstGeom>
                <a:noFill/>
                <a:ln w="12700" cap="flat">
                  <a:solidFill>
                    <a:srgbClr val="C3D6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algn="l" rtl="0" fontAlgn="base">
                    <a:spcBef>
                      <a:spcPct val="0"/>
                    </a:spcBef>
                    <a:spcAft>
                      <a:spcPct val="0"/>
                    </a:spcAft>
                  </a:pPr>
                  <a:endParaRPr lang="zh-CN" sz="1000" b="1">
                    <a:solidFill>
                      <a:srgbClr val="504C4C"/>
                    </a:solidFill>
                    <a:latin typeface="Arial" panose="020B0604020202020204" pitchFamily="34" charset="0"/>
                    <a:ea typeface="微软雅黑" panose="020B0503020204020204" pitchFamily="34" charset="-122"/>
                    <a:cs typeface="Arial" pitchFamily="34" charset="0"/>
                  </a:endParaRPr>
                </a:p>
              </p:txBody>
            </p:sp>
          </p:grpSp>
        </p:grpSp>
        <p:grpSp>
          <p:nvGrpSpPr>
            <p:cNvPr id="663" name="Group 84">
              <a:extLst>
                <a:ext uri="{FF2B5EF4-FFF2-40B4-BE49-F238E27FC236}">
                  <a16:creationId xmlns:a16="http://schemas.microsoft.com/office/drawing/2014/main" id="{F13665F7-0658-44CB-98A4-A3E804234563}"/>
                </a:ext>
              </a:extLst>
            </p:cNvPr>
            <p:cNvGrpSpPr/>
            <p:nvPr/>
          </p:nvGrpSpPr>
          <p:grpSpPr>
            <a:xfrm>
              <a:off x="7420936" y="5619444"/>
              <a:ext cx="4262383" cy="234906"/>
              <a:chOff x="1262424" y="3925821"/>
              <a:chExt cx="4898429" cy="473866"/>
            </a:xfrm>
          </p:grpSpPr>
          <p:sp>
            <p:nvSpPr>
              <p:cNvPr id="664" name="Freeform 46">
                <a:extLst>
                  <a:ext uri="{FF2B5EF4-FFF2-40B4-BE49-F238E27FC236}">
                    <a16:creationId xmlns:a16="http://schemas.microsoft.com/office/drawing/2014/main" id="{E4C61E4A-7E33-4527-B72F-47F77B0EF01E}"/>
                  </a:ext>
                </a:extLst>
              </p:cNvPr>
              <p:cNvSpPr>
                <a:spLocks/>
              </p:cNvSpPr>
              <p:nvPr/>
            </p:nvSpPr>
            <p:spPr bwMode="auto">
              <a:xfrm>
                <a:off x="1262424" y="3925821"/>
                <a:ext cx="4871118" cy="409682"/>
              </a:xfrm>
              <a:custGeom>
                <a:avLst/>
                <a:gdLst>
                  <a:gd name="T0" fmla="*/ 0 w 3567"/>
                  <a:gd name="T1" fmla="*/ 0 h 300"/>
                  <a:gd name="T2" fmla="*/ 374 w 3567"/>
                  <a:gd name="T3" fmla="*/ 124 h 300"/>
                  <a:gd name="T4" fmla="*/ 1042 w 3567"/>
                  <a:gd name="T5" fmla="*/ 184 h 300"/>
                  <a:gd name="T6" fmla="*/ 1440 w 3567"/>
                  <a:gd name="T7" fmla="*/ 216 h 300"/>
                  <a:gd name="T8" fmla="*/ 1971 w 3567"/>
                  <a:gd name="T9" fmla="*/ 276 h 300"/>
                  <a:gd name="T10" fmla="*/ 2501 w 3567"/>
                  <a:gd name="T11" fmla="*/ 276 h 300"/>
                  <a:gd name="T12" fmla="*/ 3029 w 3567"/>
                  <a:gd name="T13" fmla="*/ 276 h 300"/>
                  <a:gd name="T14" fmla="*/ 3567 w 3567"/>
                  <a:gd name="T15" fmla="*/ 300 h 3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567" h="300">
                    <a:moveTo>
                      <a:pt x="0" y="0"/>
                    </a:moveTo>
                    <a:lnTo>
                      <a:pt x="374" y="124"/>
                    </a:lnTo>
                    <a:lnTo>
                      <a:pt x="1042" y="184"/>
                    </a:lnTo>
                    <a:lnTo>
                      <a:pt x="1440" y="216"/>
                    </a:lnTo>
                    <a:lnTo>
                      <a:pt x="1971" y="276"/>
                    </a:lnTo>
                    <a:lnTo>
                      <a:pt x="2501" y="276"/>
                    </a:lnTo>
                    <a:lnTo>
                      <a:pt x="3029" y="276"/>
                    </a:lnTo>
                    <a:lnTo>
                      <a:pt x="3567" y="300"/>
                    </a:lnTo>
                  </a:path>
                </a:pathLst>
              </a:custGeom>
              <a:noFill/>
              <a:ln w="28575" cap="flat">
                <a:solidFill>
                  <a:srgbClr val="E9207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algn="l" rtl="0" fontAlgn="base">
                  <a:spcBef>
                    <a:spcPct val="0"/>
                  </a:spcBef>
                  <a:spcAft>
                    <a:spcPct val="0"/>
                  </a:spcAft>
                </a:pPr>
                <a:endParaRPr lang="zh-CN" sz="1000" b="1">
                  <a:solidFill>
                    <a:srgbClr val="504C4C"/>
                  </a:solidFill>
                  <a:latin typeface="Arial" panose="020B0604020202020204" pitchFamily="34" charset="0"/>
                  <a:ea typeface="微软雅黑" panose="020B0503020204020204" pitchFamily="34" charset="-122"/>
                  <a:cs typeface="Arial" pitchFamily="34" charset="0"/>
                </a:endParaRPr>
              </a:p>
            </p:txBody>
          </p:sp>
          <p:sp>
            <p:nvSpPr>
              <p:cNvPr id="665" name="Freeform 73">
                <a:extLst>
                  <a:ext uri="{FF2B5EF4-FFF2-40B4-BE49-F238E27FC236}">
                    <a16:creationId xmlns:a16="http://schemas.microsoft.com/office/drawing/2014/main" id="{A9292D4D-4336-472C-A06C-37D596AC9499}"/>
                  </a:ext>
                </a:extLst>
              </p:cNvPr>
              <p:cNvSpPr>
                <a:spLocks/>
              </p:cNvSpPr>
              <p:nvPr/>
            </p:nvSpPr>
            <p:spPr bwMode="auto">
              <a:xfrm>
                <a:off x="3201585" y="4190748"/>
                <a:ext cx="54624" cy="54624"/>
              </a:xfrm>
              <a:custGeom>
                <a:avLst/>
                <a:gdLst>
                  <a:gd name="T0" fmla="*/ 40 w 40"/>
                  <a:gd name="T1" fmla="*/ 0 h 40"/>
                  <a:gd name="T2" fmla="*/ 0 w 40"/>
                  <a:gd name="T3" fmla="*/ 40 h 40"/>
                  <a:gd name="T4" fmla="*/ 40 w 40"/>
                  <a:gd name="T5" fmla="*/ 0 h 40"/>
                </a:gdLst>
                <a:ahLst/>
                <a:cxnLst>
                  <a:cxn ang="0">
                    <a:pos x="T0" y="T1"/>
                  </a:cxn>
                  <a:cxn ang="0">
                    <a:pos x="T2" y="T3"/>
                  </a:cxn>
                  <a:cxn ang="0">
                    <a:pos x="T4" y="T5"/>
                  </a:cxn>
                </a:cxnLst>
                <a:rect l="0" t="0" r="r" b="b"/>
                <a:pathLst>
                  <a:path w="40" h="40">
                    <a:moveTo>
                      <a:pt x="40" y="0"/>
                    </a:moveTo>
                    <a:lnTo>
                      <a:pt x="0" y="40"/>
                    </a:lnTo>
                    <a:lnTo>
                      <a:pt x="40" y="0"/>
                    </a:lnTo>
                    <a:close/>
                  </a:path>
                </a:pathLst>
              </a:custGeom>
              <a:solidFill>
                <a:srgbClr val="00983A"/>
              </a:solidFill>
              <a:ln w="9525">
                <a:solidFill>
                  <a:srgbClr val="E92076"/>
                </a:solidFill>
                <a:round/>
                <a:headEnd/>
                <a:tailEnd/>
              </a:ln>
            </p:spPr>
            <p:txBody>
              <a:bodyPr vert="horz" wrap="square" lIns="91440" tIns="45720" rIns="91440" bIns="45720" numCol="1" anchor="t" anchorCtr="0" compatLnSpc="1">
                <a:prstTxWarp prst="textNoShape">
                  <a:avLst/>
                </a:prstTxWarp>
              </a:bodyPr>
              <a:lstStyle/>
              <a:p>
                <a:pPr algn="l" rtl="0" fontAlgn="base">
                  <a:spcBef>
                    <a:spcPct val="0"/>
                  </a:spcBef>
                  <a:spcAft>
                    <a:spcPct val="0"/>
                  </a:spcAft>
                </a:pPr>
                <a:endParaRPr lang="zh-CN" sz="1000" b="1">
                  <a:solidFill>
                    <a:srgbClr val="504C4C"/>
                  </a:solidFill>
                  <a:latin typeface="Arial" panose="020B0604020202020204" pitchFamily="34" charset="0"/>
                  <a:ea typeface="微软雅黑" panose="020B0503020204020204" pitchFamily="34" charset="-122"/>
                  <a:cs typeface="Arial" pitchFamily="34" charset="0"/>
                </a:endParaRPr>
              </a:p>
            </p:txBody>
          </p:sp>
          <p:sp>
            <p:nvSpPr>
              <p:cNvPr id="666" name="Line 74">
                <a:extLst>
                  <a:ext uri="{FF2B5EF4-FFF2-40B4-BE49-F238E27FC236}">
                    <a16:creationId xmlns:a16="http://schemas.microsoft.com/office/drawing/2014/main" id="{27204129-8DDC-4994-9402-842F9360F99D}"/>
                  </a:ext>
                </a:extLst>
              </p:cNvPr>
              <p:cNvSpPr>
                <a:spLocks noChangeShapeType="1"/>
              </p:cNvSpPr>
              <p:nvPr/>
            </p:nvSpPr>
            <p:spPr bwMode="auto">
              <a:xfrm flipH="1">
                <a:off x="3201585" y="4190748"/>
                <a:ext cx="54624" cy="54624"/>
              </a:xfrm>
              <a:prstGeom prst="line">
                <a:avLst/>
              </a:prstGeom>
              <a:noFill/>
              <a:ln w="12700" cap="flat">
                <a:solidFill>
                  <a:srgbClr val="E9207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algn="l" rtl="0" fontAlgn="base">
                  <a:spcBef>
                    <a:spcPct val="0"/>
                  </a:spcBef>
                  <a:spcAft>
                    <a:spcPct val="0"/>
                  </a:spcAft>
                </a:pPr>
                <a:endParaRPr lang="zh-CN" sz="1000" b="1">
                  <a:solidFill>
                    <a:srgbClr val="504C4C"/>
                  </a:solidFill>
                  <a:latin typeface="Arial" panose="020B0604020202020204" pitchFamily="34" charset="0"/>
                  <a:ea typeface="微软雅黑" panose="020B0503020204020204" pitchFamily="34" charset="-122"/>
                  <a:cs typeface="Arial" pitchFamily="34" charset="0"/>
                </a:endParaRPr>
              </a:p>
            </p:txBody>
          </p:sp>
          <p:sp>
            <p:nvSpPr>
              <p:cNvPr id="667" name="Freeform 75">
                <a:extLst>
                  <a:ext uri="{FF2B5EF4-FFF2-40B4-BE49-F238E27FC236}">
                    <a16:creationId xmlns:a16="http://schemas.microsoft.com/office/drawing/2014/main" id="{C7EDEE84-2FB7-4071-8440-13D16F89163D}"/>
                  </a:ext>
                </a:extLst>
              </p:cNvPr>
              <p:cNvSpPr>
                <a:spLocks/>
              </p:cNvSpPr>
              <p:nvPr/>
            </p:nvSpPr>
            <p:spPr bwMode="auto">
              <a:xfrm>
                <a:off x="3201585" y="4190748"/>
                <a:ext cx="54624" cy="54624"/>
              </a:xfrm>
              <a:custGeom>
                <a:avLst/>
                <a:gdLst>
                  <a:gd name="T0" fmla="*/ 0 w 40"/>
                  <a:gd name="T1" fmla="*/ 0 h 40"/>
                  <a:gd name="T2" fmla="*/ 40 w 40"/>
                  <a:gd name="T3" fmla="*/ 40 h 40"/>
                  <a:gd name="T4" fmla="*/ 0 w 40"/>
                  <a:gd name="T5" fmla="*/ 0 h 40"/>
                </a:gdLst>
                <a:ahLst/>
                <a:cxnLst>
                  <a:cxn ang="0">
                    <a:pos x="T0" y="T1"/>
                  </a:cxn>
                  <a:cxn ang="0">
                    <a:pos x="T2" y="T3"/>
                  </a:cxn>
                  <a:cxn ang="0">
                    <a:pos x="T4" y="T5"/>
                  </a:cxn>
                </a:cxnLst>
                <a:rect l="0" t="0" r="r" b="b"/>
                <a:pathLst>
                  <a:path w="40" h="40">
                    <a:moveTo>
                      <a:pt x="0" y="0"/>
                    </a:moveTo>
                    <a:lnTo>
                      <a:pt x="40" y="40"/>
                    </a:lnTo>
                    <a:lnTo>
                      <a:pt x="0" y="0"/>
                    </a:lnTo>
                    <a:close/>
                  </a:path>
                </a:pathLst>
              </a:custGeom>
              <a:solidFill>
                <a:srgbClr val="00983A"/>
              </a:solidFill>
              <a:ln w="9525">
                <a:solidFill>
                  <a:srgbClr val="E92076"/>
                </a:solidFill>
                <a:round/>
                <a:headEnd/>
                <a:tailEnd/>
              </a:ln>
            </p:spPr>
            <p:txBody>
              <a:bodyPr vert="horz" wrap="square" lIns="91440" tIns="45720" rIns="91440" bIns="45720" numCol="1" anchor="t" anchorCtr="0" compatLnSpc="1">
                <a:prstTxWarp prst="textNoShape">
                  <a:avLst/>
                </a:prstTxWarp>
              </a:bodyPr>
              <a:lstStyle/>
              <a:p>
                <a:pPr algn="l" rtl="0" fontAlgn="base">
                  <a:spcBef>
                    <a:spcPct val="0"/>
                  </a:spcBef>
                  <a:spcAft>
                    <a:spcPct val="0"/>
                  </a:spcAft>
                </a:pPr>
                <a:endParaRPr lang="zh-CN" sz="1000" b="1">
                  <a:solidFill>
                    <a:srgbClr val="504C4C"/>
                  </a:solidFill>
                  <a:latin typeface="Arial" panose="020B0604020202020204" pitchFamily="34" charset="0"/>
                  <a:ea typeface="微软雅黑" panose="020B0503020204020204" pitchFamily="34" charset="-122"/>
                  <a:cs typeface="Arial" pitchFamily="34" charset="0"/>
                </a:endParaRPr>
              </a:p>
            </p:txBody>
          </p:sp>
          <p:sp>
            <p:nvSpPr>
              <p:cNvPr id="668" name="Line 76">
                <a:extLst>
                  <a:ext uri="{FF2B5EF4-FFF2-40B4-BE49-F238E27FC236}">
                    <a16:creationId xmlns:a16="http://schemas.microsoft.com/office/drawing/2014/main" id="{9586E819-8997-4A8D-9197-2FB2E76B6421}"/>
                  </a:ext>
                </a:extLst>
              </p:cNvPr>
              <p:cNvSpPr>
                <a:spLocks noChangeShapeType="1"/>
              </p:cNvSpPr>
              <p:nvPr/>
            </p:nvSpPr>
            <p:spPr bwMode="auto">
              <a:xfrm>
                <a:off x="3201585" y="4190748"/>
                <a:ext cx="54624" cy="54624"/>
              </a:xfrm>
              <a:prstGeom prst="line">
                <a:avLst/>
              </a:prstGeom>
              <a:noFill/>
              <a:ln w="12700" cap="flat">
                <a:solidFill>
                  <a:srgbClr val="E9207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algn="l" rtl="0" fontAlgn="base">
                  <a:spcBef>
                    <a:spcPct val="0"/>
                  </a:spcBef>
                  <a:spcAft>
                    <a:spcPct val="0"/>
                  </a:spcAft>
                </a:pPr>
                <a:endParaRPr lang="zh-CN" sz="1000" b="1">
                  <a:solidFill>
                    <a:srgbClr val="504C4C"/>
                  </a:solidFill>
                  <a:latin typeface="Arial" panose="020B0604020202020204" pitchFamily="34" charset="0"/>
                  <a:ea typeface="微软雅黑" panose="020B0503020204020204" pitchFamily="34" charset="-122"/>
                  <a:cs typeface="Arial" pitchFamily="34" charset="0"/>
                </a:endParaRPr>
              </a:p>
            </p:txBody>
          </p:sp>
          <p:sp>
            <p:nvSpPr>
              <p:cNvPr id="669" name="Freeform 105">
                <a:extLst>
                  <a:ext uri="{FF2B5EF4-FFF2-40B4-BE49-F238E27FC236}">
                    <a16:creationId xmlns:a16="http://schemas.microsoft.com/office/drawing/2014/main" id="{045B2E5E-A337-4572-A393-92853A26A72E}"/>
                  </a:ext>
                </a:extLst>
              </p:cNvPr>
              <p:cNvSpPr>
                <a:spLocks/>
              </p:cNvSpPr>
              <p:nvPr/>
            </p:nvSpPr>
            <p:spPr bwMode="auto">
              <a:xfrm>
                <a:off x="2658073" y="4147049"/>
                <a:ext cx="54624" cy="57355"/>
              </a:xfrm>
              <a:custGeom>
                <a:avLst/>
                <a:gdLst>
                  <a:gd name="T0" fmla="*/ 40 w 40"/>
                  <a:gd name="T1" fmla="*/ 0 h 42"/>
                  <a:gd name="T2" fmla="*/ 0 w 40"/>
                  <a:gd name="T3" fmla="*/ 42 h 42"/>
                  <a:gd name="T4" fmla="*/ 40 w 40"/>
                  <a:gd name="T5" fmla="*/ 0 h 42"/>
                </a:gdLst>
                <a:ahLst/>
                <a:cxnLst>
                  <a:cxn ang="0">
                    <a:pos x="T0" y="T1"/>
                  </a:cxn>
                  <a:cxn ang="0">
                    <a:pos x="T2" y="T3"/>
                  </a:cxn>
                  <a:cxn ang="0">
                    <a:pos x="T4" y="T5"/>
                  </a:cxn>
                </a:cxnLst>
                <a:rect l="0" t="0" r="r" b="b"/>
                <a:pathLst>
                  <a:path w="40" h="42">
                    <a:moveTo>
                      <a:pt x="40" y="0"/>
                    </a:moveTo>
                    <a:lnTo>
                      <a:pt x="0" y="42"/>
                    </a:lnTo>
                    <a:lnTo>
                      <a:pt x="40" y="0"/>
                    </a:lnTo>
                    <a:close/>
                  </a:path>
                </a:pathLst>
              </a:custGeom>
              <a:solidFill>
                <a:srgbClr val="00983A"/>
              </a:solidFill>
              <a:ln w="9525">
                <a:solidFill>
                  <a:srgbClr val="E92076"/>
                </a:solidFill>
                <a:round/>
                <a:headEnd/>
                <a:tailEnd/>
              </a:ln>
            </p:spPr>
            <p:txBody>
              <a:bodyPr vert="horz" wrap="square" lIns="91440" tIns="45720" rIns="91440" bIns="45720" numCol="1" anchor="t" anchorCtr="0" compatLnSpc="1">
                <a:prstTxWarp prst="textNoShape">
                  <a:avLst/>
                </a:prstTxWarp>
              </a:bodyPr>
              <a:lstStyle/>
              <a:p>
                <a:pPr algn="l" rtl="0" fontAlgn="base">
                  <a:spcBef>
                    <a:spcPct val="0"/>
                  </a:spcBef>
                  <a:spcAft>
                    <a:spcPct val="0"/>
                  </a:spcAft>
                </a:pPr>
                <a:endParaRPr lang="zh-CN" sz="1000" b="1">
                  <a:solidFill>
                    <a:srgbClr val="504C4C"/>
                  </a:solidFill>
                  <a:latin typeface="Arial" panose="020B0604020202020204" pitchFamily="34" charset="0"/>
                  <a:ea typeface="微软雅黑" panose="020B0503020204020204" pitchFamily="34" charset="-122"/>
                  <a:cs typeface="Arial" pitchFamily="34" charset="0"/>
                </a:endParaRPr>
              </a:p>
            </p:txBody>
          </p:sp>
          <p:sp>
            <p:nvSpPr>
              <p:cNvPr id="670" name="Line 106">
                <a:extLst>
                  <a:ext uri="{FF2B5EF4-FFF2-40B4-BE49-F238E27FC236}">
                    <a16:creationId xmlns:a16="http://schemas.microsoft.com/office/drawing/2014/main" id="{CCE171FA-4D9D-44C9-A47B-B21333773A5E}"/>
                  </a:ext>
                </a:extLst>
              </p:cNvPr>
              <p:cNvSpPr>
                <a:spLocks noChangeShapeType="1"/>
              </p:cNvSpPr>
              <p:nvPr/>
            </p:nvSpPr>
            <p:spPr bwMode="auto">
              <a:xfrm flipH="1">
                <a:off x="2658073" y="4147049"/>
                <a:ext cx="54624" cy="57355"/>
              </a:xfrm>
              <a:prstGeom prst="line">
                <a:avLst/>
              </a:prstGeom>
              <a:noFill/>
              <a:ln w="12700" cap="flat">
                <a:solidFill>
                  <a:srgbClr val="E9207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algn="l" rtl="0" fontAlgn="base">
                  <a:spcBef>
                    <a:spcPct val="0"/>
                  </a:spcBef>
                  <a:spcAft>
                    <a:spcPct val="0"/>
                  </a:spcAft>
                </a:pPr>
                <a:endParaRPr lang="zh-CN" sz="1000" b="1">
                  <a:solidFill>
                    <a:srgbClr val="504C4C"/>
                  </a:solidFill>
                  <a:latin typeface="Arial" panose="020B0604020202020204" pitchFamily="34" charset="0"/>
                  <a:ea typeface="微软雅黑" panose="020B0503020204020204" pitchFamily="34" charset="-122"/>
                  <a:cs typeface="Arial" pitchFamily="34" charset="0"/>
                </a:endParaRPr>
              </a:p>
            </p:txBody>
          </p:sp>
          <p:sp>
            <p:nvSpPr>
              <p:cNvPr id="671" name="Freeform 107">
                <a:extLst>
                  <a:ext uri="{FF2B5EF4-FFF2-40B4-BE49-F238E27FC236}">
                    <a16:creationId xmlns:a16="http://schemas.microsoft.com/office/drawing/2014/main" id="{D081A47C-5E9F-489D-AD9A-1909D45D9372}"/>
                  </a:ext>
                </a:extLst>
              </p:cNvPr>
              <p:cNvSpPr>
                <a:spLocks/>
              </p:cNvSpPr>
              <p:nvPr/>
            </p:nvSpPr>
            <p:spPr bwMode="auto">
              <a:xfrm>
                <a:off x="2658073" y="4147049"/>
                <a:ext cx="54624" cy="54624"/>
              </a:xfrm>
              <a:custGeom>
                <a:avLst/>
                <a:gdLst>
                  <a:gd name="T0" fmla="*/ 0 w 40"/>
                  <a:gd name="T1" fmla="*/ 0 h 40"/>
                  <a:gd name="T2" fmla="*/ 40 w 40"/>
                  <a:gd name="T3" fmla="*/ 40 h 40"/>
                  <a:gd name="T4" fmla="*/ 0 w 40"/>
                  <a:gd name="T5" fmla="*/ 0 h 40"/>
                </a:gdLst>
                <a:ahLst/>
                <a:cxnLst>
                  <a:cxn ang="0">
                    <a:pos x="T0" y="T1"/>
                  </a:cxn>
                  <a:cxn ang="0">
                    <a:pos x="T2" y="T3"/>
                  </a:cxn>
                  <a:cxn ang="0">
                    <a:pos x="T4" y="T5"/>
                  </a:cxn>
                </a:cxnLst>
                <a:rect l="0" t="0" r="r" b="b"/>
                <a:pathLst>
                  <a:path w="40" h="40">
                    <a:moveTo>
                      <a:pt x="0" y="0"/>
                    </a:moveTo>
                    <a:lnTo>
                      <a:pt x="40" y="40"/>
                    </a:lnTo>
                    <a:lnTo>
                      <a:pt x="0" y="0"/>
                    </a:lnTo>
                    <a:close/>
                  </a:path>
                </a:pathLst>
              </a:custGeom>
              <a:solidFill>
                <a:srgbClr val="00983A"/>
              </a:solidFill>
              <a:ln w="9525">
                <a:solidFill>
                  <a:srgbClr val="E92076"/>
                </a:solidFill>
                <a:round/>
                <a:headEnd/>
                <a:tailEnd/>
              </a:ln>
            </p:spPr>
            <p:txBody>
              <a:bodyPr vert="horz" wrap="square" lIns="91440" tIns="45720" rIns="91440" bIns="45720" numCol="1" anchor="t" anchorCtr="0" compatLnSpc="1">
                <a:prstTxWarp prst="textNoShape">
                  <a:avLst/>
                </a:prstTxWarp>
              </a:bodyPr>
              <a:lstStyle/>
              <a:p>
                <a:pPr algn="l" rtl="0" fontAlgn="base">
                  <a:spcBef>
                    <a:spcPct val="0"/>
                  </a:spcBef>
                  <a:spcAft>
                    <a:spcPct val="0"/>
                  </a:spcAft>
                </a:pPr>
                <a:endParaRPr lang="zh-CN" sz="1000" b="1">
                  <a:solidFill>
                    <a:srgbClr val="504C4C"/>
                  </a:solidFill>
                  <a:latin typeface="Arial" panose="020B0604020202020204" pitchFamily="34" charset="0"/>
                  <a:ea typeface="微软雅黑" panose="020B0503020204020204" pitchFamily="34" charset="-122"/>
                  <a:cs typeface="Arial" pitchFamily="34" charset="0"/>
                </a:endParaRPr>
              </a:p>
            </p:txBody>
          </p:sp>
          <p:sp>
            <p:nvSpPr>
              <p:cNvPr id="672" name="Line 108">
                <a:extLst>
                  <a:ext uri="{FF2B5EF4-FFF2-40B4-BE49-F238E27FC236}">
                    <a16:creationId xmlns:a16="http://schemas.microsoft.com/office/drawing/2014/main" id="{608C4984-E06B-49EB-AEF9-F916E92DF049}"/>
                  </a:ext>
                </a:extLst>
              </p:cNvPr>
              <p:cNvSpPr>
                <a:spLocks noChangeShapeType="1"/>
              </p:cNvSpPr>
              <p:nvPr/>
            </p:nvSpPr>
            <p:spPr bwMode="auto">
              <a:xfrm>
                <a:off x="2658073" y="4147049"/>
                <a:ext cx="54624" cy="54624"/>
              </a:xfrm>
              <a:prstGeom prst="line">
                <a:avLst/>
              </a:prstGeom>
              <a:noFill/>
              <a:ln w="12700" cap="flat">
                <a:solidFill>
                  <a:srgbClr val="E9207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algn="l" rtl="0" fontAlgn="base">
                  <a:spcBef>
                    <a:spcPct val="0"/>
                  </a:spcBef>
                  <a:spcAft>
                    <a:spcPct val="0"/>
                  </a:spcAft>
                </a:pPr>
                <a:endParaRPr lang="zh-CN" sz="1000" b="1">
                  <a:solidFill>
                    <a:srgbClr val="504C4C"/>
                  </a:solidFill>
                  <a:latin typeface="Arial" panose="020B0604020202020204" pitchFamily="34" charset="0"/>
                  <a:ea typeface="微软雅黑" panose="020B0503020204020204" pitchFamily="34" charset="-122"/>
                  <a:cs typeface="Arial" pitchFamily="34" charset="0"/>
                </a:endParaRPr>
              </a:p>
            </p:txBody>
          </p:sp>
          <p:sp>
            <p:nvSpPr>
              <p:cNvPr id="673" name="Freeform 109">
                <a:extLst>
                  <a:ext uri="{FF2B5EF4-FFF2-40B4-BE49-F238E27FC236}">
                    <a16:creationId xmlns:a16="http://schemas.microsoft.com/office/drawing/2014/main" id="{39D13A80-800D-4943-BF69-8146BDD2E4D1}"/>
                  </a:ext>
                </a:extLst>
              </p:cNvPr>
              <p:cNvSpPr>
                <a:spLocks/>
              </p:cNvSpPr>
              <p:nvPr/>
            </p:nvSpPr>
            <p:spPr bwMode="auto">
              <a:xfrm>
                <a:off x="1748579" y="4070575"/>
                <a:ext cx="57355" cy="57355"/>
              </a:xfrm>
              <a:custGeom>
                <a:avLst/>
                <a:gdLst>
                  <a:gd name="T0" fmla="*/ 42 w 42"/>
                  <a:gd name="T1" fmla="*/ 0 h 42"/>
                  <a:gd name="T2" fmla="*/ 0 w 42"/>
                  <a:gd name="T3" fmla="*/ 42 h 42"/>
                  <a:gd name="T4" fmla="*/ 42 w 42"/>
                  <a:gd name="T5" fmla="*/ 0 h 42"/>
                </a:gdLst>
                <a:ahLst/>
                <a:cxnLst>
                  <a:cxn ang="0">
                    <a:pos x="T0" y="T1"/>
                  </a:cxn>
                  <a:cxn ang="0">
                    <a:pos x="T2" y="T3"/>
                  </a:cxn>
                  <a:cxn ang="0">
                    <a:pos x="T4" y="T5"/>
                  </a:cxn>
                </a:cxnLst>
                <a:rect l="0" t="0" r="r" b="b"/>
                <a:pathLst>
                  <a:path w="42" h="42">
                    <a:moveTo>
                      <a:pt x="42" y="0"/>
                    </a:moveTo>
                    <a:lnTo>
                      <a:pt x="0" y="42"/>
                    </a:lnTo>
                    <a:lnTo>
                      <a:pt x="42" y="0"/>
                    </a:lnTo>
                    <a:close/>
                  </a:path>
                </a:pathLst>
              </a:custGeom>
              <a:solidFill>
                <a:srgbClr val="00983A"/>
              </a:solidFill>
              <a:ln w="9525">
                <a:solidFill>
                  <a:srgbClr val="E92076"/>
                </a:solidFill>
                <a:round/>
                <a:headEnd/>
                <a:tailEnd/>
              </a:ln>
            </p:spPr>
            <p:txBody>
              <a:bodyPr vert="horz" wrap="square" lIns="91440" tIns="45720" rIns="91440" bIns="45720" numCol="1" anchor="t" anchorCtr="0" compatLnSpc="1">
                <a:prstTxWarp prst="textNoShape">
                  <a:avLst/>
                </a:prstTxWarp>
              </a:bodyPr>
              <a:lstStyle/>
              <a:p>
                <a:pPr algn="l" rtl="0" fontAlgn="base">
                  <a:spcBef>
                    <a:spcPct val="0"/>
                  </a:spcBef>
                  <a:spcAft>
                    <a:spcPct val="0"/>
                  </a:spcAft>
                </a:pPr>
                <a:endParaRPr lang="zh-CN" sz="1000" b="1">
                  <a:solidFill>
                    <a:srgbClr val="504C4C"/>
                  </a:solidFill>
                  <a:latin typeface="Arial" panose="020B0604020202020204" pitchFamily="34" charset="0"/>
                  <a:ea typeface="微软雅黑" panose="020B0503020204020204" pitchFamily="34" charset="-122"/>
                  <a:cs typeface="Arial" pitchFamily="34" charset="0"/>
                </a:endParaRPr>
              </a:p>
            </p:txBody>
          </p:sp>
          <p:sp>
            <p:nvSpPr>
              <p:cNvPr id="674" name="Line 110">
                <a:extLst>
                  <a:ext uri="{FF2B5EF4-FFF2-40B4-BE49-F238E27FC236}">
                    <a16:creationId xmlns:a16="http://schemas.microsoft.com/office/drawing/2014/main" id="{86F5FCC4-B6CE-42FA-A575-2297D2E5524A}"/>
                  </a:ext>
                </a:extLst>
              </p:cNvPr>
              <p:cNvSpPr>
                <a:spLocks noChangeShapeType="1"/>
              </p:cNvSpPr>
              <p:nvPr/>
            </p:nvSpPr>
            <p:spPr bwMode="auto">
              <a:xfrm flipH="1">
                <a:off x="1748579" y="4070575"/>
                <a:ext cx="57355" cy="57355"/>
              </a:xfrm>
              <a:prstGeom prst="line">
                <a:avLst/>
              </a:prstGeom>
              <a:noFill/>
              <a:ln w="12700" cap="flat">
                <a:solidFill>
                  <a:srgbClr val="E9207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algn="l" rtl="0" fontAlgn="base">
                  <a:spcBef>
                    <a:spcPct val="0"/>
                  </a:spcBef>
                  <a:spcAft>
                    <a:spcPct val="0"/>
                  </a:spcAft>
                </a:pPr>
                <a:endParaRPr lang="zh-CN" sz="1000" b="1">
                  <a:solidFill>
                    <a:srgbClr val="504C4C"/>
                  </a:solidFill>
                  <a:latin typeface="Arial" panose="020B0604020202020204" pitchFamily="34" charset="0"/>
                  <a:ea typeface="微软雅黑" panose="020B0503020204020204" pitchFamily="34" charset="-122"/>
                  <a:cs typeface="Arial" pitchFamily="34" charset="0"/>
                </a:endParaRPr>
              </a:p>
            </p:txBody>
          </p:sp>
          <p:sp>
            <p:nvSpPr>
              <p:cNvPr id="675" name="Freeform 111">
                <a:extLst>
                  <a:ext uri="{FF2B5EF4-FFF2-40B4-BE49-F238E27FC236}">
                    <a16:creationId xmlns:a16="http://schemas.microsoft.com/office/drawing/2014/main" id="{0172377A-4E81-41E1-B1C8-8A019BCDECC9}"/>
                  </a:ext>
                </a:extLst>
              </p:cNvPr>
              <p:cNvSpPr>
                <a:spLocks/>
              </p:cNvSpPr>
              <p:nvPr/>
            </p:nvSpPr>
            <p:spPr bwMode="auto">
              <a:xfrm>
                <a:off x="1748579" y="4070575"/>
                <a:ext cx="54624" cy="54624"/>
              </a:xfrm>
              <a:custGeom>
                <a:avLst/>
                <a:gdLst>
                  <a:gd name="T0" fmla="*/ 0 w 40"/>
                  <a:gd name="T1" fmla="*/ 0 h 40"/>
                  <a:gd name="T2" fmla="*/ 40 w 40"/>
                  <a:gd name="T3" fmla="*/ 40 h 40"/>
                  <a:gd name="T4" fmla="*/ 0 w 40"/>
                  <a:gd name="T5" fmla="*/ 0 h 40"/>
                </a:gdLst>
                <a:ahLst/>
                <a:cxnLst>
                  <a:cxn ang="0">
                    <a:pos x="T0" y="T1"/>
                  </a:cxn>
                  <a:cxn ang="0">
                    <a:pos x="T2" y="T3"/>
                  </a:cxn>
                  <a:cxn ang="0">
                    <a:pos x="T4" y="T5"/>
                  </a:cxn>
                </a:cxnLst>
                <a:rect l="0" t="0" r="r" b="b"/>
                <a:pathLst>
                  <a:path w="40" h="40">
                    <a:moveTo>
                      <a:pt x="0" y="0"/>
                    </a:moveTo>
                    <a:lnTo>
                      <a:pt x="40" y="40"/>
                    </a:lnTo>
                    <a:lnTo>
                      <a:pt x="0" y="0"/>
                    </a:lnTo>
                    <a:close/>
                  </a:path>
                </a:pathLst>
              </a:custGeom>
              <a:solidFill>
                <a:srgbClr val="00983A"/>
              </a:solidFill>
              <a:ln w="9525">
                <a:solidFill>
                  <a:srgbClr val="E92076"/>
                </a:solidFill>
                <a:round/>
                <a:headEnd/>
                <a:tailEnd/>
              </a:ln>
            </p:spPr>
            <p:txBody>
              <a:bodyPr vert="horz" wrap="square" lIns="91440" tIns="45720" rIns="91440" bIns="45720" numCol="1" anchor="t" anchorCtr="0" compatLnSpc="1">
                <a:prstTxWarp prst="textNoShape">
                  <a:avLst/>
                </a:prstTxWarp>
              </a:bodyPr>
              <a:lstStyle/>
              <a:p>
                <a:pPr algn="l" rtl="0" fontAlgn="base">
                  <a:spcBef>
                    <a:spcPct val="0"/>
                  </a:spcBef>
                  <a:spcAft>
                    <a:spcPct val="0"/>
                  </a:spcAft>
                </a:pPr>
                <a:endParaRPr lang="zh-CN" sz="1000" b="1">
                  <a:solidFill>
                    <a:srgbClr val="504C4C"/>
                  </a:solidFill>
                  <a:latin typeface="Arial" panose="020B0604020202020204" pitchFamily="34" charset="0"/>
                  <a:ea typeface="微软雅黑" panose="020B0503020204020204" pitchFamily="34" charset="-122"/>
                  <a:cs typeface="Arial" pitchFamily="34" charset="0"/>
                </a:endParaRPr>
              </a:p>
            </p:txBody>
          </p:sp>
          <p:sp>
            <p:nvSpPr>
              <p:cNvPr id="676" name="Line 112">
                <a:extLst>
                  <a:ext uri="{FF2B5EF4-FFF2-40B4-BE49-F238E27FC236}">
                    <a16:creationId xmlns:a16="http://schemas.microsoft.com/office/drawing/2014/main" id="{EC5FDB62-8D04-4825-AC68-2748B6111463}"/>
                  </a:ext>
                </a:extLst>
              </p:cNvPr>
              <p:cNvSpPr>
                <a:spLocks noChangeShapeType="1"/>
              </p:cNvSpPr>
              <p:nvPr/>
            </p:nvSpPr>
            <p:spPr bwMode="auto">
              <a:xfrm>
                <a:off x="1748579" y="4070575"/>
                <a:ext cx="54624" cy="54624"/>
              </a:xfrm>
              <a:prstGeom prst="line">
                <a:avLst/>
              </a:prstGeom>
              <a:noFill/>
              <a:ln w="12700" cap="flat">
                <a:solidFill>
                  <a:srgbClr val="E9207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algn="l" rtl="0" fontAlgn="base">
                  <a:spcBef>
                    <a:spcPct val="0"/>
                  </a:spcBef>
                  <a:spcAft>
                    <a:spcPct val="0"/>
                  </a:spcAft>
                </a:pPr>
                <a:endParaRPr lang="zh-CN" sz="1000" b="1">
                  <a:solidFill>
                    <a:srgbClr val="504C4C"/>
                  </a:solidFill>
                  <a:latin typeface="Arial" panose="020B0604020202020204" pitchFamily="34" charset="0"/>
                  <a:ea typeface="微软雅黑" panose="020B0503020204020204" pitchFamily="34" charset="-122"/>
                  <a:cs typeface="Arial" pitchFamily="34" charset="0"/>
                </a:endParaRPr>
              </a:p>
            </p:txBody>
          </p:sp>
          <p:sp>
            <p:nvSpPr>
              <p:cNvPr id="677" name="Freeform 113">
                <a:extLst>
                  <a:ext uri="{FF2B5EF4-FFF2-40B4-BE49-F238E27FC236}">
                    <a16:creationId xmlns:a16="http://schemas.microsoft.com/office/drawing/2014/main" id="{0DED7F8D-1C0D-4F00-9C60-9DFB2D6588F1}"/>
                  </a:ext>
                </a:extLst>
              </p:cNvPr>
              <p:cNvSpPr>
                <a:spLocks/>
              </p:cNvSpPr>
              <p:nvPr/>
            </p:nvSpPr>
            <p:spPr bwMode="auto">
              <a:xfrm>
                <a:off x="3929453" y="4278147"/>
                <a:ext cx="54624" cy="54624"/>
              </a:xfrm>
              <a:custGeom>
                <a:avLst/>
                <a:gdLst>
                  <a:gd name="T0" fmla="*/ 40 w 40"/>
                  <a:gd name="T1" fmla="*/ 0 h 40"/>
                  <a:gd name="T2" fmla="*/ 0 w 40"/>
                  <a:gd name="T3" fmla="*/ 40 h 40"/>
                  <a:gd name="T4" fmla="*/ 40 w 40"/>
                  <a:gd name="T5" fmla="*/ 0 h 40"/>
                </a:gdLst>
                <a:ahLst/>
                <a:cxnLst>
                  <a:cxn ang="0">
                    <a:pos x="T0" y="T1"/>
                  </a:cxn>
                  <a:cxn ang="0">
                    <a:pos x="T2" y="T3"/>
                  </a:cxn>
                  <a:cxn ang="0">
                    <a:pos x="T4" y="T5"/>
                  </a:cxn>
                </a:cxnLst>
                <a:rect l="0" t="0" r="r" b="b"/>
                <a:pathLst>
                  <a:path w="40" h="40">
                    <a:moveTo>
                      <a:pt x="40" y="0"/>
                    </a:moveTo>
                    <a:lnTo>
                      <a:pt x="0" y="40"/>
                    </a:lnTo>
                    <a:lnTo>
                      <a:pt x="40" y="0"/>
                    </a:lnTo>
                    <a:close/>
                  </a:path>
                </a:pathLst>
              </a:custGeom>
              <a:solidFill>
                <a:srgbClr val="00983A"/>
              </a:solidFill>
              <a:ln w="9525">
                <a:solidFill>
                  <a:srgbClr val="E92076"/>
                </a:solidFill>
                <a:round/>
                <a:headEnd/>
                <a:tailEnd/>
              </a:ln>
            </p:spPr>
            <p:txBody>
              <a:bodyPr vert="horz" wrap="square" lIns="91440" tIns="45720" rIns="91440" bIns="45720" numCol="1" anchor="t" anchorCtr="0" compatLnSpc="1">
                <a:prstTxWarp prst="textNoShape">
                  <a:avLst/>
                </a:prstTxWarp>
              </a:bodyPr>
              <a:lstStyle/>
              <a:p>
                <a:pPr algn="l" rtl="0" fontAlgn="base">
                  <a:spcBef>
                    <a:spcPct val="0"/>
                  </a:spcBef>
                  <a:spcAft>
                    <a:spcPct val="0"/>
                  </a:spcAft>
                </a:pPr>
                <a:endParaRPr lang="zh-CN" sz="1000" b="1">
                  <a:solidFill>
                    <a:srgbClr val="504C4C"/>
                  </a:solidFill>
                  <a:latin typeface="Arial" panose="020B0604020202020204" pitchFamily="34" charset="0"/>
                  <a:ea typeface="微软雅黑" panose="020B0503020204020204" pitchFamily="34" charset="-122"/>
                  <a:cs typeface="Arial" pitchFamily="34" charset="0"/>
                </a:endParaRPr>
              </a:p>
            </p:txBody>
          </p:sp>
          <p:sp>
            <p:nvSpPr>
              <p:cNvPr id="678" name="Line 114">
                <a:extLst>
                  <a:ext uri="{FF2B5EF4-FFF2-40B4-BE49-F238E27FC236}">
                    <a16:creationId xmlns:a16="http://schemas.microsoft.com/office/drawing/2014/main" id="{8D4DE3BC-540C-41FD-BF6B-8B69ED51D5A9}"/>
                  </a:ext>
                </a:extLst>
              </p:cNvPr>
              <p:cNvSpPr>
                <a:spLocks noChangeShapeType="1"/>
              </p:cNvSpPr>
              <p:nvPr/>
            </p:nvSpPr>
            <p:spPr bwMode="auto">
              <a:xfrm flipH="1">
                <a:off x="3929453" y="4278147"/>
                <a:ext cx="54624" cy="54624"/>
              </a:xfrm>
              <a:prstGeom prst="line">
                <a:avLst/>
              </a:prstGeom>
              <a:noFill/>
              <a:ln w="12700" cap="flat">
                <a:solidFill>
                  <a:srgbClr val="E9207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algn="l" rtl="0" fontAlgn="base">
                  <a:spcBef>
                    <a:spcPct val="0"/>
                  </a:spcBef>
                  <a:spcAft>
                    <a:spcPct val="0"/>
                  </a:spcAft>
                </a:pPr>
                <a:endParaRPr lang="zh-CN" sz="1000" b="1">
                  <a:solidFill>
                    <a:srgbClr val="504C4C"/>
                  </a:solidFill>
                  <a:latin typeface="Arial" panose="020B0604020202020204" pitchFamily="34" charset="0"/>
                  <a:ea typeface="微软雅黑" panose="020B0503020204020204" pitchFamily="34" charset="-122"/>
                  <a:cs typeface="Arial" pitchFamily="34" charset="0"/>
                </a:endParaRPr>
              </a:p>
            </p:txBody>
          </p:sp>
          <p:sp>
            <p:nvSpPr>
              <p:cNvPr id="679" name="Freeform 115">
                <a:extLst>
                  <a:ext uri="{FF2B5EF4-FFF2-40B4-BE49-F238E27FC236}">
                    <a16:creationId xmlns:a16="http://schemas.microsoft.com/office/drawing/2014/main" id="{ED82EB51-2572-44E0-9964-8E27EF208514}"/>
                  </a:ext>
                </a:extLst>
              </p:cNvPr>
              <p:cNvSpPr>
                <a:spLocks/>
              </p:cNvSpPr>
              <p:nvPr/>
            </p:nvSpPr>
            <p:spPr bwMode="auto">
              <a:xfrm>
                <a:off x="3929453" y="4278147"/>
                <a:ext cx="54624" cy="54624"/>
              </a:xfrm>
              <a:custGeom>
                <a:avLst/>
                <a:gdLst>
                  <a:gd name="T0" fmla="*/ 0 w 40"/>
                  <a:gd name="T1" fmla="*/ 0 h 40"/>
                  <a:gd name="T2" fmla="*/ 40 w 40"/>
                  <a:gd name="T3" fmla="*/ 40 h 40"/>
                  <a:gd name="T4" fmla="*/ 0 w 40"/>
                  <a:gd name="T5" fmla="*/ 0 h 40"/>
                </a:gdLst>
                <a:ahLst/>
                <a:cxnLst>
                  <a:cxn ang="0">
                    <a:pos x="T0" y="T1"/>
                  </a:cxn>
                  <a:cxn ang="0">
                    <a:pos x="T2" y="T3"/>
                  </a:cxn>
                  <a:cxn ang="0">
                    <a:pos x="T4" y="T5"/>
                  </a:cxn>
                </a:cxnLst>
                <a:rect l="0" t="0" r="r" b="b"/>
                <a:pathLst>
                  <a:path w="40" h="40">
                    <a:moveTo>
                      <a:pt x="0" y="0"/>
                    </a:moveTo>
                    <a:lnTo>
                      <a:pt x="40" y="40"/>
                    </a:lnTo>
                    <a:lnTo>
                      <a:pt x="0" y="0"/>
                    </a:lnTo>
                    <a:close/>
                  </a:path>
                </a:pathLst>
              </a:custGeom>
              <a:solidFill>
                <a:srgbClr val="00983A"/>
              </a:solidFill>
              <a:ln w="9525">
                <a:solidFill>
                  <a:srgbClr val="E92076"/>
                </a:solidFill>
                <a:round/>
                <a:headEnd/>
                <a:tailEnd/>
              </a:ln>
            </p:spPr>
            <p:txBody>
              <a:bodyPr vert="horz" wrap="square" lIns="91440" tIns="45720" rIns="91440" bIns="45720" numCol="1" anchor="t" anchorCtr="0" compatLnSpc="1">
                <a:prstTxWarp prst="textNoShape">
                  <a:avLst/>
                </a:prstTxWarp>
              </a:bodyPr>
              <a:lstStyle/>
              <a:p>
                <a:pPr algn="l" rtl="0" fontAlgn="base">
                  <a:spcBef>
                    <a:spcPct val="0"/>
                  </a:spcBef>
                  <a:spcAft>
                    <a:spcPct val="0"/>
                  </a:spcAft>
                </a:pPr>
                <a:endParaRPr lang="zh-CN" sz="1000" b="1">
                  <a:solidFill>
                    <a:srgbClr val="504C4C"/>
                  </a:solidFill>
                  <a:latin typeface="Arial" panose="020B0604020202020204" pitchFamily="34" charset="0"/>
                  <a:ea typeface="微软雅黑" panose="020B0503020204020204" pitchFamily="34" charset="-122"/>
                  <a:cs typeface="Arial" pitchFamily="34" charset="0"/>
                </a:endParaRPr>
              </a:p>
            </p:txBody>
          </p:sp>
          <p:sp>
            <p:nvSpPr>
              <p:cNvPr id="680" name="Line 116">
                <a:extLst>
                  <a:ext uri="{FF2B5EF4-FFF2-40B4-BE49-F238E27FC236}">
                    <a16:creationId xmlns:a16="http://schemas.microsoft.com/office/drawing/2014/main" id="{BC177BC3-21AA-494A-8717-DB9035BC07B3}"/>
                  </a:ext>
                </a:extLst>
              </p:cNvPr>
              <p:cNvSpPr>
                <a:spLocks noChangeShapeType="1"/>
              </p:cNvSpPr>
              <p:nvPr/>
            </p:nvSpPr>
            <p:spPr bwMode="auto">
              <a:xfrm>
                <a:off x="3929453" y="4278147"/>
                <a:ext cx="54624" cy="54624"/>
              </a:xfrm>
              <a:prstGeom prst="line">
                <a:avLst/>
              </a:prstGeom>
              <a:noFill/>
              <a:ln w="12700" cap="flat">
                <a:solidFill>
                  <a:srgbClr val="E9207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algn="l" rtl="0" fontAlgn="base">
                  <a:spcBef>
                    <a:spcPct val="0"/>
                  </a:spcBef>
                  <a:spcAft>
                    <a:spcPct val="0"/>
                  </a:spcAft>
                </a:pPr>
                <a:endParaRPr lang="zh-CN" sz="1000" b="1">
                  <a:solidFill>
                    <a:srgbClr val="504C4C"/>
                  </a:solidFill>
                  <a:latin typeface="Arial" panose="020B0604020202020204" pitchFamily="34" charset="0"/>
                  <a:ea typeface="微软雅黑" panose="020B0503020204020204" pitchFamily="34" charset="-122"/>
                  <a:cs typeface="Arial" pitchFamily="34" charset="0"/>
                </a:endParaRPr>
              </a:p>
            </p:txBody>
          </p:sp>
          <p:sp>
            <p:nvSpPr>
              <p:cNvPr id="681" name="Freeform 117">
                <a:extLst>
                  <a:ext uri="{FF2B5EF4-FFF2-40B4-BE49-F238E27FC236}">
                    <a16:creationId xmlns:a16="http://schemas.microsoft.com/office/drawing/2014/main" id="{E190EBC7-CB6C-40FE-99AD-F21AF2A82AF5}"/>
                  </a:ext>
                </a:extLst>
              </p:cNvPr>
              <p:cNvSpPr>
                <a:spLocks/>
              </p:cNvSpPr>
              <p:nvPr/>
            </p:nvSpPr>
            <p:spPr bwMode="auto">
              <a:xfrm>
                <a:off x="4655955" y="4278147"/>
                <a:ext cx="54624" cy="54624"/>
              </a:xfrm>
              <a:custGeom>
                <a:avLst/>
                <a:gdLst>
                  <a:gd name="T0" fmla="*/ 40 w 40"/>
                  <a:gd name="T1" fmla="*/ 0 h 40"/>
                  <a:gd name="T2" fmla="*/ 0 w 40"/>
                  <a:gd name="T3" fmla="*/ 40 h 40"/>
                  <a:gd name="T4" fmla="*/ 40 w 40"/>
                  <a:gd name="T5" fmla="*/ 0 h 40"/>
                </a:gdLst>
                <a:ahLst/>
                <a:cxnLst>
                  <a:cxn ang="0">
                    <a:pos x="T0" y="T1"/>
                  </a:cxn>
                  <a:cxn ang="0">
                    <a:pos x="T2" y="T3"/>
                  </a:cxn>
                  <a:cxn ang="0">
                    <a:pos x="T4" y="T5"/>
                  </a:cxn>
                </a:cxnLst>
                <a:rect l="0" t="0" r="r" b="b"/>
                <a:pathLst>
                  <a:path w="40" h="40">
                    <a:moveTo>
                      <a:pt x="40" y="0"/>
                    </a:moveTo>
                    <a:lnTo>
                      <a:pt x="0" y="40"/>
                    </a:lnTo>
                    <a:lnTo>
                      <a:pt x="40" y="0"/>
                    </a:lnTo>
                    <a:close/>
                  </a:path>
                </a:pathLst>
              </a:custGeom>
              <a:solidFill>
                <a:srgbClr val="00983A"/>
              </a:solidFill>
              <a:ln w="9525">
                <a:solidFill>
                  <a:srgbClr val="E92076"/>
                </a:solidFill>
                <a:round/>
                <a:headEnd/>
                <a:tailEnd/>
              </a:ln>
            </p:spPr>
            <p:txBody>
              <a:bodyPr vert="horz" wrap="square" lIns="91440" tIns="45720" rIns="91440" bIns="45720" numCol="1" anchor="t" anchorCtr="0" compatLnSpc="1">
                <a:prstTxWarp prst="textNoShape">
                  <a:avLst/>
                </a:prstTxWarp>
              </a:bodyPr>
              <a:lstStyle/>
              <a:p>
                <a:pPr algn="l" rtl="0" fontAlgn="base">
                  <a:spcBef>
                    <a:spcPct val="0"/>
                  </a:spcBef>
                  <a:spcAft>
                    <a:spcPct val="0"/>
                  </a:spcAft>
                </a:pPr>
                <a:endParaRPr lang="zh-CN" sz="1000" b="1">
                  <a:solidFill>
                    <a:srgbClr val="504C4C"/>
                  </a:solidFill>
                  <a:latin typeface="Arial" panose="020B0604020202020204" pitchFamily="34" charset="0"/>
                  <a:ea typeface="微软雅黑" panose="020B0503020204020204" pitchFamily="34" charset="-122"/>
                  <a:cs typeface="Arial" pitchFamily="34" charset="0"/>
                </a:endParaRPr>
              </a:p>
            </p:txBody>
          </p:sp>
          <p:sp>
            <p:nvSpPr>
              <p:cNvPr id="682" name="Line 118">
                <a:extLst>
                  <a:ext uri="{FF2B5EF4-FFF2-40B4-BE49-F238E27FC236}">
                    <a16:creationId xmlns:a16="http://schemas.microsoft.com/office/drawing/2014/main" id="{664077C4-AF59-416F-8B20-5D4BF169D54F}"/>
                  </a:ext>
                </a:extLst>
              </p:cNvPr>
              <p:cNvSpPr>
                <a:spLocks noChangeShapeType="1"/>
              </p:cNvSpPr>
              <p:nvPr/>
            </p:nvSpPr>
            <p:spPr bwMode="auto">
              <a:xfrm flipH="1">
                <a:off x="4655955" y="4278147"/>
                <a:ext cx="54624" cy="54624"/>
              </a:xfrm>
              <a:prstGeom prst="line">
                <a:avLst/>
              </a:prstGeom>
              <a:noFill/>
              <a:ln w="12700" cap="flat">
                <a:solidFill>
                  <a:srgbClr val="E9207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algn="l" rtl="0" fontAlgn="base">
                  <a:spcBef>
                    <a:spcPct val="0"/>
                  </a:spcBef>
                  <a:spcAft>
                    <a:spcPct val="0"/>
                  </a:spcAft>
                </a:pPr>
                <a:endParaRPr lang="zh-CN" sz="1000" b="1">
                  <a:solidFill>
                    <a:srgbClr val="504C4C"/>
                  </a:solidFill>
                  <a:latin typeface="Arial" panose="020B0604020202020204" pitchFamily="34" charset="0"/>
                  <a:ea typeface="微软雅黑" panose="020B0503020204020204" pitchFamily="34" charset="-122"/>
                  <a:cs typeface="Arial" pitchFamily="34" charset="0"/>
                </a:endParaRPr>
              </a:p>
            </p:txBody>
          </p:sp>
          <p:sp>
            <p:nvSpPr>
              <p:cNvPr id="683" name="Freeform 119">
                <a:extLst>
                  <a:ext uri="{FF2B5EF4-FFF2-40B4-BE49-F238E27FC236}">
                    <a16:creationId xmlns:a16="http://schemas.microsoft.com/office/drawing/2014/main" id="{C01D3DE1-16C9-4500-8B52-9858C4FCD436}"/>
                  </a:ext>
                </a:extLst>
              </p:cNvPr>
              <p:cNvSpPr>
                <a:spLocks/>
              </p:cNvSpPr>
              <p:nvPr/>
            </p:nvSpPr>
            <p:spPr bwMode="auto">
              <a:xfrm>
                <a:off x="4653224" y="4275416"/>
                <a:ext cx="57355" cy="57355"/>
              </a:xfrm>
              <a:custGeom>
                <a:avLst/>
                <a:gdLst>
                  <a:gd name="T0" fmla="*/ 0 w 42"/>
                  <a:gd name="T1" fmla="*/ 0 h 42"/>
                  <a:gd name="T2" fmla="*/ 42 w 42"/>
                  <a:gd name="T3" fmla="*/ 42 h 42"/>
                  <a:gd name="T4" fmla="*/ 0 w 42"/>
                  <a:gd name="T5" fmla="*/ 0 h 42"/>
                </a:gdLst>
                <a:ahLst/>
                <a:cxnLst>
                  <a:cxn ang="0">
                    <a:pos x="T0" y="T1"/>
                  </a:cxn>
                  <a:cxn ang="0">
                    <a:pos x="T2" y="T3"/>
                  </a:cxn>
                  <a:cxn ang="0">
                    <a:pos x="T4" y="T5"/>
                  </a:cxn>
                </a:cxnLst>
                <a:rect l="0" t="0" r="r" b="b"/>
                <a:pathLst>
                  <a:path w="42" h="42">
                    <a:moveTo>
                      <a:pt x="0" y="0"/>
                    </a:moveTo>
                    <a:lnTo>
                      <a:pt x="42" y="42"/>
                    </a:lnTo>
                    <a:lnTo>
                      <a:pt x="0" y="0"/>
                    </a:lnTo>
                    <a:close/>
                  </a:path>
                </a:pathLst>
              </a:custGeom>
              <a:solidFill>
                <a:srgbClr val="00983A"/>
              </a:solidFill>
              <a:ln w="9525">
                <a:solidFill>
                  <a:srgbClr val="E92076"/>
                </a:solidFill>
                <a:round/>
                <a:headEnd/>
                <a:tailEnd/>
              </a:ln>
            </p:spPr>
            <p:txBody>
              <a:bodyPr vert="horz" wrap="square" lIns="91440" tIns="45720" rIns="91440" bIns="45720" numCol="1" anchor="t" anchorCtr="0" compatLnSpc="1">
                <a:prstTxWarp prst="textNoShape">
                  <a:avLst/>
                </a:prstTxWarp>
              </a:bodyPr>
              <a:lstStyle/>
              <a:p>
                <a:pPr algn="l" rtl="0" fontAlgn="base">
                  <a:spcBef>
                    <a:spcPct val="0"/>
                  </a:spcBef>
                  <a:spcAft>
                    <a:spcPct val="0"/>
                  </a:spcAft>
                </a:pPr>
                <a:endParaRPr lang="zh-CN" sz="1000" b="1">
                  <a:solidFill>
                    <a:srgbClr val="504C4C"/>
                  </a:solidFill>
                  <a:latin typeface="Arial" panose="020B0604020202020204" pitchFamily="34" charset="0"/>
                  <a:ea typeface="微软雅黑" panose="020B0503020204020204" pitchFamily="34" charset="-122"/>
                  <a:cs typeface="Arial" pitchFamily="34" charset="0"/>
                </a:endParaRPr>
              </a:p>
            </p:txBody>
          </p:sp>
          <p:sp>
            <p:nvSpPr>
              <p:cNvPr id="684" name="Line 120">
                <a:extLst>
                  <a:ext uri="{FF2B5EF4-FFF2-40B4-BE49-F238E27FC236}">
                    <a16:creationId xmlns:a16="http://schemas.microsoft.com/office/drawing/2014/main" id="{D045D0A5-F708-4846-8555-8E905A8ADE3B}"/>
                  </a:ext>
                </a:extLst>
              </p:cNvPr>
              <p:cNvSpPr>
                <a:spLocks noChangeShapeType="1"/>
              </p:cNvSpPr>
              <p:nvPr/>
            </p:nvSpPr>
            <p:spPr bwMode="auto">
              <a:xfrm>
                <a:off x="4653224" y="4275416"/>
                <a:ext cx="57355" cy="57355"/>
              </a:xfrm>
              <a:prstGeom prst="line">
                <a:avLst/>
              </a:prstGeom>
              <a:noFill/>
              <a:ln w="12700" cap="flat">
                <a:solidFill>
                  <a:srgbClr val="E9207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algn="l" rtl="0" fontAlgn="base">
                  <a:spcBef>
                    <a:spcPct val="0"/>
                  </a:spcBef>
                  <a:spcAft>
                    <a:spcPct val="0"/>
                  </a:spcAft>
                </a:pPr>
                <a:endParaRPr lang="zh-CN" sz="1000" b="1">
                  <a:solidFill>
                    <a:srgbClr val="504C4C"/>
                  </a:solidFill>
                  <a:latin typeface="Arial" panose="020B0604020202020204" pitchFamily="34" charset="0"/>
                  <a:ea typeface="微软雅黑" panose="020B0503020204020204" pitchFamily="34" charset="-122"/>
                  <a:cs typeface="Arial" pitchFamily="34" charset="0"/>
                </a:endParaRPr>
              </a:p>
            </p:txBody>
          </p:sp>
          <p:sp>
            <p:nvSpPr>
              <p:cNvPr id="685" name="Freeform 121">
                <a:extLst>
                  <a:ext uri="{FF2B5EF4-FFF2-40B4-BE49-F238E27FC236}">
                    <a16:creationId xmlns:a16="http://schemas.microsoft.com/office/drawing/2014/main" id="{16F30DFB-95E0-41DD-A68B-4EEECD465978}"/>
                  </a:ext>
                </a:extLst>
              </p:cNvPr>
              <p:cNvSpPr>
                <a:spLocks/>
              </p:cNvSpPr>
              <p:nvPr/>
            </p:nvSpPr>
            <p:spPr bwMode="auto">
              <a:xfrm>
                <a:off x="5379727" y="4278147"/>
                <a:ext cx="54624" cy="54624"/>
              </a:xfrm>
              <a:custGeom>
                <a:avLst/>
                <a:gdLst>
                  <a:gd name="T0" fmla="*/ 40 w 40"/>
                  <a:gd name="T1" fmla="*/ 0 h 40"/>
                  <a:gd name="T2" fmla="*/ 0 w 40"/>
                  <a:gd name="T3" fmla="*/ 40 h 40"/>
                  <a:gd name="T4" fmla="*/ 40 w 40"/>
                  <a:gd name="T5" fmla="*/ 0 h 40"/>
                </a:gdLst>
                <a:ahLst/>
                <a:cxnLst>
                  <a:cxn ang="0">
                    <a:pos x="T0" y="T1"/>
                  </a:cxn>
                  <a:cxn ang="0">
                    <a:pos x="T2" y="T3"/>
                  </a:cxn>
                  <a:cxn ang="0">
                    <a:pos x="T4" y="T5"/>
                  </a:cxn>
                </a:cxnLst>
                <a:rect l="0" t="0" r="r" b="b"/>
                <a:pathLst>
                  <a:path w="40" h="40">
                    <a:moveTo>
                      <a:pt x="40" y="0"/>
                    </a:moveTo>
                    <a:lnTo>
                      <a:pt x="0" y="40"/>
                    </a:lnTo>
                    <a:lnTo>
                      <a:pt x="40" y="0"/>
                    </a:lnTo>
                    <a:close/>
                  </a:path>
                </a:pathLst>
              </a:custGeom>
              <a:solidFill>
                <a:srgbClr val="00983A"/>
              </a:solidFill>
              <a:ln w="9525">
                <a:solidFill>
                  <a:srgbClr val="E92076"/>
                </a:solidFill>
                <a:round/>
                <a:headEnd/>
                <a:tailEnd/>
              </a:ln>
            </p:spPr>
            <p:txBody>
              <a:bodyPr vert="horz" wrap="square" lIns="91440" tIns="45720" rIns="91440" bIns="45720" numCol="1" anchor="t" anchorCtr="0" compatLnSpc="1">
                <a:prstTxWarp prst="textNoShape">
                  <a:avLst/>
                </a:prstTxWarp>
              </a:bodyPr>
              <a:lstStyle/>
              <a:p>
                <a:pPr algn="l" rtl="0" fontAlgn="base">
                  <a:spcBef>
                    <a:spcPct val="0"/>
                  </a:spcBef>
                  <a:spcAft>
                    <a:spcPct val="0"/>
                  </a:spcAft>
                </a:pPr>
                <a:endParaRPr lang="zh-CN" sz="1000" b="1">
                  <a:solidFill>
                    <a:srgbClr val="504C4C"/>
                  </a:solidFill>
                  <a:latin typeface="Arial" panose="020B0604020202020204" pitchFamily="34" charset="0"/>
                  <a:ea typeface="微软雅黑" panose="020B0503020204020204" pitchFamily="34" charset="-122"/>
                  <a:cs typeface="Arial" pitchFamily="34" charset="0"/>
                </a:endParaRPr>
              </a:p>
            </p:txBody>
          </p:sp>
          <p:sp>
            <p:nvSpPr>
              <p:cNvPr id="686" name="Line 122">
                <a:extLst>
                  <a:ext uri="{FF2B5EF4-FFF2-40B4-BE49-F238E27FC236}">
                    <a16:creationId xmlns:a16="http://schemas.microsoft.com/office/drawing/2014/main" id="{6E401BBF-81BB-43F0-A73D-FEEB47AD57DC}"/>
                  </a:ext>
                </a:extLst>
              </p:cNvPr>
              <p:cNvSpPr>
                <a:spLocks noChangeShapeType="1"/>
              </p:cNvSpPr>
              <p:nvPr/>
            </p:nvSpPr>
            <p:spPr bwMode="auto">
              <a:xfrm flipH="1">
                <a:off x="5379727" y="4278147"/>
                <a:ext cx="54624" cy="54624"/>
              </a:xfrm>
              <a:prstGeom prst="line">
                <a:avLst/>
              </a:prstGeom>
              <a:noFill/>
              <a:ln w="12700" cap="flat">
                <a:solidFill>
                  <a:srgbClr val="E9207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algn="l" rtl="0" fontAlgn="base">
                  <a:spcBef>
                    <a:spcPct val="0"/>
                  </a:spcBef>
                  <a:spcAft>
                    <a:spcPct val="0"/>
                  </a:spcAft>
                </a:pPr>
                <a:endParaRPr lang="zh-CN" sz="1000" b="1">
                  <a:solidFill>
                    <a:srgbClr val="504C4C"/>
                  </a:solidFill>
                  <a:latin typeface="Arial" panose="020B0604020202020204" pitchFamily="34" charset="0"/>
                  <a:ea typeface="微软雅黑" panose="020B0503020204020204" pitchFamily="34" charset="-122"/>
                  <a:cs typeface="Arial" pitchFamily="34" charset="0"/>
                </a:endParaRPr>
              </a:p>
            </p:txBody>
          </p:sp>
          <p:sp>
            <p:nvSpPr>
              <p:cNvPr id="687" name="Freeform 123">
                <a:extLst>
                  <a:ext uri="{FF2B5EF4-FFF2-40B4-BE49-F238E27FC236}">
                    <a16:creationId xmlns:a16="http://schemas.microsoft.com/office/drawing/2014/main" id="{9EC779C2-4802-4B8C-AFBF-F3A9C35B6243}"/>
                  </a:ext>
                </a:extLst>
              </p:cNvPr>
              <p:cNvSpPr>
                <a:spLocks/>
              </p:cNvSpPr>
              <p:nvPr/>
            </p:nvSpPr>
            <p:spPr bwMode="auto">
              <a:xfrm>
                <a:off x="5379727" y="4278147"/>
                <a:ext cx="54624" cy="54624"/>
              </a:xfrm>
              <a:custGeom>
                <a:avLst/>
                <a:gdLst>
                  <a:gd name="T0" fmla="*/ 0 w 40"/>
                  <a:gd name="T1" fmla="*/ 0 h 40"/>
                  <a:gd name="T2" fmla="*/ 40 w 40"/>
                  <a:gd name="T3" fmla="*/ 40 h 40"/>
                  <a:gd name="T4" fmla="*/ 0 w 40"/>
                  <a:gd name="T5" fmla="*/ 0 h 40"/>
                </a:gdLst>
                <a:ahLst/>
                <a:cxnLst>
                  <a:cxn ang="0">
                    <a:pos x="T0" y="T1"/>
                  </a:cxn>
                  <a:cxn ang="0">
                    <a:pos x="T2" y="T3"/>
                  </a:cxn>
                  <a:cxn ang="0">
                    <a:pos x="T4" y="T5"/>
                  </a:cxn>
                </a:cxnLst>
                <a:rect l="0" t="0" r="r" b="b"/>
                <a:pathLst>
                  <a:path w="40" h="40">
                    <a:moveTo>
                      <a:pt x="0" y="0"/>
                    </a:moveTo>
                    <a:lnTo>
                      <a:pt x="40" y="40"/>
                    </a:lnTo>
                    <a:lnTo>
                      <a:pt x="0" y="0"/>
                    </a:lnTo>
                    <a:close/>
                  </a:path>
                </a:pathLst>
              </a:custGeom>
              <a:solidFill>
                <a:srgbClr val="00983A"/>
              </a:solidFill>
              <a:ln w="9525">
                <a:solidFill>
                  <a:srgbClr val="E92076"/>
                </a:solidFill>
                <a:round/>
                <a:headEnd/>
                <a:tailEnd/>
              </a:ln>
            </p:spPr>
            <p:txBody>
              <a:bodyPr vert="horz" wrap="square" lIns="91440" tIns="45720" rIns="91440" bIns="45720" numCol="1" anchor="t" anchorCtr="0" compatLnSpc="1">
                <a:prstTxWarp prst="textNoShape">
                  <a:avLst/>
                </a:prstTxWarp>
              </a:bodyPr>
              <a:lstStyle/>
              <a:p>
                <a:pPr algn="l" rtl="0" fontAlgn="base">
                  <a:spcBef>
                    <a:spcPct val="0"/>
                  </a:spcBef>
                  <a:spcAft>
                    <a:spcPct val="0"/>
                  </a:spcAft>
                </a:pPr>
                <a:endParaRPr lang="zh-CN" sz="1000" b="1">
                  <a:solidFill>
                    <a:srgbClr val="504C4C"/>
                  </a:solidFill>
                  <a:latin typeface="Arial" panose="020B0604020202020204" pitchFamily="34" charset="0"/>
                  <a:ea typeface="微软雅黑" panose="020B0503020204020204" pitchFamily="34" charset="-122"/>
                  <a:cs typeface="Arial" pitchFamily="34" charset="0"/>
                </a:endParaRPr>
              </a:p>
            </p:txBody>
          </p:sp>
          <p:sp>
            <p:nvSpPr>
              <p:cNvPr id="688" name="Line 124">
                <a:extLst>
                  <a:ext uri="{FF2B5EF4-FFF2-40B4-BE49-F238E27FC236}">
                    <a16:creationId xmlns:a16="http://schemas.microsoft.com/office/drawing/2014/main" id="{838C6B22-B799-4271-B49A-5292265891DA}"/>
                  </a:ext>
                </a:extLst>
              </p:cNvPr>
              <p:cNvSpPr>
                <a:spLocks noChangeShapeType="1"/>
              </p:cNvSpPr>
              <p:nvPr/>
            </p:nvSpPr>
            <p:spPr bwMode="auto">
              <a:xfrm>
                <a:off x="5379727" y="4278147"/>
                <a:ext cx="54624" cy="54624"/>
              </a:xfrm>
              <a:prstGeom prst="line">
                <a:avLst/>
              </a:prstGeom>
              <a:noFill/>
              <a:ln w="12700" cap="flat">
                <a:solidFill>
                  <a:srgbClr val="E9207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algn="l" rtl="0" fontAlgn="base">
                  <a:spcBef>
                    <a:spcPct val="0"/>
                  </a:spcBef>
                  <a:spcAft>
                    <a:spcPct val="0"/>
                  </a:spcAft>
                </a:pPr>
                <a:endParaRPr lang="zh-CN" sz="1000" b="1">
                  <a:solidFill>
                    <a:srgbClr val="504C4C"/>
                  </a:solidFill>
                  <a:latin typeface="Arial" panose="020B0604020202020204" pitchFamily="34" charset="0"/>
                  <a:ea typeface="微软雅黑" panose="020B0503020204020204" pitchFamily="34" charset="-122"/>
                  <a:cs typeface="Arial" pitchFamily="34" charset="0"/>
                </a:endParaRPr>
              </a:p>
            </p:txBody>
          </p:sp>
          <p:sp>
            <p:nvSpPr>
              <p:cNvPr id="689" name="Freeform 125">
                <a:extLst>
                  <a:ext uri="{FF2B5EF4-FFF2-40B4-BE49-F238E27FC236}">
                    <a16:creationId xmlns:a16="http://schemas.microsoft.com/office/drawing/2014/main" id="{84E8823A-5F76-4F55-A726-E791D8CBB174}"/>
                  </a:ext>
                </a:extLst>
              </p:cNvPr>
              <p:cNvSpPr>
                <a:spLocks/>
              </p:cNvSpPr>
              <p:nvPr/>
            </p:nvSpPr>
            <p:spPr bwMode="auto">
              <a:xfrm>
                <a:off x="6106229" y="4308190"/>
                <a:ext cx="54624" cy="58722"/>
              </a:xfrm>
              <a:custGeom>
                <a:avLst/>
                <a:gdLst>
                  <a:gd name="T0" fmla="*/ 40 w 40"/>
                  <a:gd name="T1" fmla="*/ 0 h 43"/>
                  <a:gd name="T2" fmla="*/ 0 w 40"/>
                  <a:gd name="T3" fmla="*/ 43 h 43"/>
                  <a:gd name="T4" fmla="*/ 40 w 40"/>
                  <a:gd name="T5" fmla="*/ 0 h 43"/>
                </a:gdLst>
                <a:ahLst/>
                <a:cxnLst>
                  <a:cxn ang="0">
                    <a:pos x="T0" y="T1"/>
                  </a:cxn>
                  <a:cxn ang="0">
                    <a:pos x="T2" y="T3"/>
                  </a:cxn>
                  <a:cxn ang="0">
                    <a:pos x="T4" y="T5"/>
                  </a:cxn>
                </a:cxnLst>
                <a:rect l="0" t="0" r="r" b="b"/>
                <a:pathLst>
                  <a:path w="40" h="43">
                    <a:moveTo>
                      <a:pt x="40" y="0"/>
                    </a:moveTo>
                    <a:lnTo>
                      <a:pt x="0" y="43"/>
                    </a:lnTo>
                    <a:lnTo>
                      <a:pt x="40" y="0"/>
                    </a:lnTo>
                    <a:close/>
                  </a:path>
                </a:pathLst>
              </a:custGeom>
              <a:solidFill>
                <a:srgbClr val="00983A"/>
              </a:solidFill>
              <a:ln w="9525">
                <a:solidFill>
                  <a:srgbClr val="E92076"/>
                </a:solidFill>
                <a:round/>
                <a:headEnd/>
                <a:tailEnd/>
              </a:ln>
            </p:spPr>
            <p:txBody>
              <a:bodyPr vert="horz" wrap="square" lIns="91440" tIns="45720" rIns="91440" bIns="45720" numCol="1" anchor="t" anchorCtr="0" compatLnSpc="1">
                <a:prstTxWarp prst="textNoShape">
                  <a:avLst/>
                </a:prstTxWarp>
              </a:bodyPr>
              <a:lstStyle/>
              <a:p>
                <a:pPr algn="l" rtl="0" fontAlgn="base">
                  <a:spcBef>
                    <a:spcPct val="0"/>
                  </a:spcBef>
                  <a:spcAft>
                    <a:spcPct val="0"/>
                  </a:spcAft>
                </a:pPr>
                <a:endParaRPr lang="zh-CN" sz="1000" b="1">
                  <a:solidFill>
                    <a:srgbClr val="504C4C"/>
                  </a:solidFill>
                  <a:latin typeface="Arial" panose="020B0604020202020204" pitchFamily="34" charset="0"/>
                  <a:ea typeface="微软雅黑" panose="020B0503020204020204" pitchFamily="34" charset="-122"/>
                  <a:cs typeface="Arial" pitchFamily="34" charset="0"/>
                </a:endParaRPr>
              </a:p>
            </p:txBody>
          </p:sp>
          <p:sp>
            <p:nvSpPr>
              <p:cNvPr id="690" name="Line 126">
                <a:extLst>
                  <a:ext uri="{FF2B5EF4-FFF2-40B4-BE49-F238E27FC236}">
                    <a16:creationId xmlns:a16="http://schemas.microsoft.com/office/drawing/2014/main" id="{01AADBBF-2910-4FC1-AE6F-4534CED87F30}"/>
                  </a:ext>
                </a:extLst>
              </p:cNvPr>
              <p:cNvSpPr>
                <a:spLocks noChangeShapeType="1"/>
              </p:cNvSpPr>
              <p:nvPr/>
            </p:nvSpPr>
            <p:spPr bwMode="auto">
              <a:xfrm flipH="1">
                <a:off x="6106229" y="4308190"/>
                <a:ext cx="54624" cy="58722"/>
              </a:xfrm>
              <a:prstGeom prst="line">
                <a:avLst/>
              </a:prstGeom>
              <a:noFill/>
              <a:ln w="12700" cap="flat">
                <a:solidFill>
                  <a:srgbClr val="E9207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algn="l" rtl="0" fontAlgn="base">
                  <a:spcBef>
                    <a:spcPct val="0"/>
                  </a:spcBef>
                  <a:spcAft>
                    <a:spcPct val="0"/>
                  </a:spcAft>
                </a:pPr>
                <a:endParaRPr lang="zh-CN" sz="1000" b="1">
                  <a:solidFill>
                    <a:srgbClr val="504C4C"/>
                  </a:solidFill>
                  <a:latin typeface="Arial" panose="020B0604020202020204" pitchFamily="34" charset="0"/>
                  <a:ea typeface="微软雅黑" panose="020B0503020204020204" pitchFamily="34" charset="-122"/>
                  <a:cs typeface="Arial" pitchFamily="34" charset="0"/>
                </a:endParaRPr>
              </a:p>
            </p:txBody>
          </p:sp>
          <p:sp>
            <p:nvSpPr>
              <p:cNvPr id="691" name="Freeform 127">
                <a:extLst>
                  <a:ext uri="{FF2B5EF4-FFF2-40B4-BE49-F238E27FC236}">
                    <a16:creationId xmlns:a16="http://schemas.microsoft.com/office/drawing/2014/main" id="{2637F386-8C68-438D-98EA-B8C92D082A17}"/>
                  </a:ext>
                </a:extLst>
              </p:cNvPr>
              <p:cNvSpPr>
                <a:spLocks/>
              </p:cNvSpPr>
              <p:nvPr/>
            </p:nvSpPr>
            <p:spPr bwMode="auto">
              <a:xfrm>
                <a:off x="6103498" y="4308190"/>
                <a:ext cx="57355" cy="55990"/>
              </a:xfrm>
              <a:custGeom>
                <a:avLst/>
                <a:gdLst>
                  <a:gd name="T0" fmla="*/ 0 w 42"/>
                  <a:gd name="T1" fmla="*/ 0 h 41"/>
                  <a:gd name="T2" fmla="*/ 42 w 42"/>
                  <a:gd name="T3" fmla="*/ 41 h 41"/>
                  <a:gd name="T4" fmla="*/ 0 w 42"/>
                  <a:gd name="T5" fmla="*/ 0 h 41"/>
                </a:gdLst>
                <a:ahLst/>
                <a:cxnLst>
                  <a:cxn ang="0">
                    <a:pos x="T0" y="T1"/>
                  </a:cxn>
                  <a:cxn ang="0">
                    <a:pos x="T2" y="T3"/>
                  </a:cxn>
                  <a:cxn ang="0">
                    <a:pos x="T4" y="T5"/>
                  </a:cxn>
                </a:cxnLst>
                <a:rect l="0" t="0" r="r" b="b"/>
                <a:pathLst>
                  <a:path w="42" h="41">
                    <a:moveTo>
                      <a:pt x="0" y="0"/>
                    </a:moveTo>
                    <a:lnTo>
                      <a:pt x="42" y="41"/>
                    </a:lnTo>
                    <a:lnTo>
                      <a:pt x="0" y="0"/>
                    </a:lnTo>
                    <a:close/>
                  </a:path>
                </a:pathLst>
              </a:custGeom>
              <a:solidFill>
                <a:srgbClr val="00983A"/>
              </a:solidFill>
              <a:ln w="9525">
                <a:solidFill>
                  <a:srgbClr val="E92076"/>
                </a:solidFill>
                <a:round/>
                <a:headEnd/>
                <a:tailEnd/>
              </a:ln>
            </p:spPr>
            <p:txBody>
              <a:bodyPr vert="horz" wrap="square" lIns="91440" tIns="45720" rIns="91440" bIns="45720" numCol="1" anchor="t" anchorCtr="0" compatLnSpc="1">
                <a:prstTxWarp prst="textNoShape">
                  <a:avLst/>
                </a:prstTxWarp>
              </a:bodyPr>
              <a:lstStyle/>
              <a:p>
                <a:pPr algn="l" rtl="0" fontAlgn="base">
                  <a:spcBef>
                    <a:spcPct val="0"/>
                  </a:spcBef>
                  <a:spcAft>
                    <a:spcPct val="0"/>
                  </a:spcAft>
                </a:pPr>
                <a:endParaRPr lang="zh-CN" sz="1000" b="1">
                  <a:solidFill>
                    <a:srgbClr val="504C4C"/>
                  </a:solidFill>
                  <a:latin typeface="Arial" panose="020B0604020202020204" pitchFamily="34" charset="0"/>
                  <a:ea typeface="微软雅黑" panose="020B0503020204020204" pitchFamily="34" charset="-122"/>
                  <a:cs typeface="Arial" pitchFamily="34" charset="0"/>
                </a:endParaRPr>
              </a:p>
            </p:txBody>
          </p:sp>
          <p:sp>
            <p:nvSpPr>
              <p:cNvPr id="692" name="Line 128">
                <a:extLst>
                  <a:ext uri="{FF2B5EF4-FFF2-40B4-BE49-F238E27FC236}">
                    <a16:creationId xmlns:a16="http://schemas.microsoft.com/office/drawing/2014/main" id="{67D9E070-D8BF-4F06-90DC-F8897A619F23}"/>
                  </a:ext>
                </a:extLst>
              </p:cNvPr>
              <p:cNvSpPr>
                <a:spLocks noChangeShapeType="1"/>
              </p:cNvSpPr>
              <p:nvPr/>
            </p:nvSpPr>
            <p:spPr bwMode="auto">
              <a:xfrm>
                <a:off x="6103498" y="4308190"/>
                <a:ext cx="57355" cy="55990"/>
              </a:xfrm>
              <a:prstGeom prst="line">
                <a:avLst/>
              </a:prstGeom>
              <a:noFill/>
              <a:ln w="12700" cap="flat">
                <a:solidFill>
                  <a:srgbClr val="E9207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algn="l" rtl="0" fontAlgn="base">
                  <a:spcBef>
                    <a:spcPct val="0"/>
                  </a:spcBef>
                  <a:spcAft>
                    <a:spcPct val="0"/>
                  </a:spcAft>
                </a:pPr>
                <a:endParaRPr lang="zh-CN" sz="1000" b="1">
                  <a:solidFill>
                    <a:srgbClr val="504C4C"/>
                  </a:solidFill>
                  <a:latin typeface="Arial" panose="020B0604020202020204" pitchFamily="34" charset="0"/>
                  <a:ea typeface="微软雅黑" panose="020B0503020204020204" pitchFamily="34" charset="-122"/>
                  <a:cs typeface="Arial" pitchFamily="34" charset="0"/>
                </a:endParaRPr>
              </a:p>
            </p:txBody>
          </p:sp>
          <p:sp>
            <p:nvSpPr>
              <p:cNvPr id="693" name="Freeform 165">
                <a:extLst>
                  <a:ext uri="{FF2B5EF4-FFF2-40B4-BE49-F238E27FC236}">
                    <a16:creationId xmlns:a16="http://schemas.microsoft.com/office/drawing/2014/main" id="{8C547E1B-0EEB-4143-AEEF-DDCCEA3371FE}"/>
                  </a:ext>
                </a:extLst>
              </p:cNvPr>
              <p:cNvSpPr>
                <a:spLocks/>
              </p:cNvSpPr>
              <p:nvPr/>
            </p:nvSpPr>
            <p:spPr bwMode="auto">
              <a:xfrm>
                <a:off x="2685385" y="4070575"/>
                <a:ext cx="0" cy="207572"/>
              </a:xfrm>
              <a:custGeom>
                <a:avLst/>
                <a:gdLst>
                  <a:gd name="T0" fmla="*/ 152 h 152"/>
                  <a:gd name="T1" fmla="*/ 0 h 152"/>
                  <a:gd name="T2" fmla="*/ 152 h 152"/>
                </a:gdLst>
                <a:ahLst/>
                <a:cxnLst>
                  <a:cxn ang="0">
                    <a:pos x="0" y="T0"/>
                  </a:cxn>
                  <a:cxn ang="0">
                    <a:pos x="0" y="T1"/>
                  </a:cxn>
                  <a:cxn ang="0">
                    <a:pos x="0" y="T2"/>
                  </a:cxn>
                </a:cxnLst>
                <a:rect l="0" t="0" r="r" b="b"/>
                <a:pathLst>
                  <a:path h="152">
                    <a:moveTo>
                      <a:pt x="0" y="152"/>
                    </a:moveTo>
                    <a:lnTo>
                      <a:pt x="0" y="0"/>
                    </a:lnTo>
                    <a:lnTo>
                      <a:pt x="0" y="152"/>
                    </a:lnTo>
                    <a:close/>
                  </a:path>
                </a:pathLst>
              </a:custGeom>
              <a:solidFill>
                <a:srgbClr val="00983A"/>
              </a:solidFill>
              <a:ln w="9525">
                <a:solidFill>
                  <a:srgbClr val="E92076"/>
                </a:solidFill>
                <a:round/>
                <a:headEnd/>
                <a:tailEnd/>
              </a:ln>
            </p:spPr>
            <p:txBody>
              <a:bodyPr vert="horz" wrap="square" lIns="91440" tIns="45720" rIns="91440" bIns="45720" numCol="1" anchor="t" anchorCtr="0" compatLnSpc="1">
                <a:prstTxWarp prst="textNoShape">
                  <a:avLst/>
                </a:prstTxWarp>
              </a:bodyPr>
              <a:lstStyle/>
              <a:p>
                <a:pPr algn="l" rtl="0" fontAlgn="base">
                  <a:spcBef>
                    <a:spcPct val="0"/>
                  </a:spcBef>
                  <a:spcAft>
                    <a:spcPct val="0"/>
                  </a:spcAft>
                </a:pPr>
                <a:endParaRPr lang="zh-CN" sz="1000" b="1">
                  <a:solidFill>
                    <a:srgbClr val="504C4C"/>
                  </a:solidFill>
                  <a:latin typeface="Arial" panose="020B0604020202020204" pitchFamily="34" charset="0"/>
                  <a:ea typeface="微软雅黑" panose="020B0503020204020204" pitchFamily="34" charset="-122"/>
                  <a:cs typeface="Arial" pitchFamily="34" charset="0"/>
                </a:endParaRPr>
              </a:p>
            </p:txBody>
          </p:sp>
          <p:sp>
            <p:nvSpPr>
              <p:cNvPr id="694" name="Line 166">
                <a:extLst>
                  <a:ext uri="{FF2B5EF4-FFF2-40B4-BE49-F238E27FC236}">
                    <a16:creationId xmlns:a16="http://schemas.microsoft.com/office/drawing/2014/main" id="{43354001-9020-4BA3-A088-F677F33E331C}"/>
                  </a:ext>
                </a:extLst>
              </p:cNvPr>
              <p:cNvSpPr>
                <a:spLocks noChangeShapeType="1"/>
              </p:cNvSpPr>
              <p:nvPr/>
            </p:nvSpPr>
            <p:spPr bwMode="auto">
              <a:xfrm flipV="1">
                <a:off x="2685385" y="4070575"/>
                <a:ext cx="0" cy="207572"/>
              </a:xfrm>
              <a:prstGeom prst="line">
                <a:avLst/>
              </a:prstGeom>
              <a:noFill/>
              <a:ln w="12700" cap="flat">
                <a:solidFill>
                  <a:srgbClr val="E9207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algn="l" rtl="0" fontAlgn="base">
                  <a:spcBef>
                    <a:spcPct val="0"/>
                  </a:spcBef>
                  <a:spcAft>
                    <a:spcPct val="0"/>
                  </a:spcAft>
                </a:pPr>
                <a:endParaRPr lang="zh-CN" sz="1000" b="1">
                  <a:solidFill>
                    <a:srgbClr val="504C4C"/>
                  </a:solidFill>
                  <a:latin typeface="Arial" panose="020B0604020202020204" pitchFamily="34" charset="0"/>
                  <a:ea typeface="微软雅黑" panose="020B0503020204020204" pitchFamily="34" charset="-122"/>
                  <a:cs typeface="Arial" pitchFamily="34" charset="0"/>
                </a:endParaRPr>
              </a:p>
            </p:txBody>
          </p:sp>
          <p:sp>
            <p:nvSpPr>
              <p:cNvPr id="695" name="Freeform 167">
                <a:extLst>
                  <a:ext uri="{FF2B5EF4-FFF2-40B4-BE49-F238E27FC236}">
                    <a16:creationId xmlns:a16="http://schemas.microsoft.com/office/drawing/2014/main" id="{C5EC073B-CD9E-48C0-B8A0-BA59E0BFA142}"/>
                  </a:ext>
                </a:extLst>
              </p:cNvPr>
              <p:cNvSpPr>
                <a:spLocks/>
              </p:cNvSpPr>
              <p:nvPr/>
            </p:nvSpPr>
            <p:spPr bwMode="auto">
              <a:xfrm>
                <a:off x="2655342" y="4070575"/>
                <a:ext cx="57355" cy="0"/>
              </a:xfrm>
              <a:custGeom>
                <a:avLst/>
                <a:gdLst>
                  <a:gd name="T0" fmla="*/ 0 w 42"/>
                  <a:gd name="T1" fmla="*/ 42 w 42"/>
                  <a:gd name="T2" fmla="*/ 0 w 42"/>
                </a:gdLst>
                <a:ahLst/>
                <a:cxnLst>
                  <a:cxn ang="0">
                    <a:pos x="T0" y="0"/>
                  </a:cxn>
                  <a:cxn ang="0">
                    <a:pos x="T1" y="0"/>
                  </a:cxn>
                  <a:cxn ang="0">
                    <a:pos x="T2" y="0"/>
                  </a:cxn>
                </a:cxnLst>
                <a:rect l="0" t="0" r="r" b="b"/>
                <a:pathLst>
                  <a:path w="42">
                    <a:moveTo>
                      <a:pt x="0" y="0"/>
                    </a:moveTo>
                    <a:lnTo>
                      <a:pt x="42" y="0"/>
                    </a:lnTo>
                    <a:lnTo>
                      <a:pt x="0" y="0"/>
                    </a:lnTo>
                    <a:close/>
                  </a:path>
                </a:pathLst>
              </a:custGeom>
              <a:solidFill>
                <a:srgbClr val="00983A"/>
              </a:solidFill>
              <a:ln w="9525">
                <a:solidFill>
                  <a:srgbClr val="E92076"/>
                </a:solidFill>
                <a:round/>
                <a:headEnd/>
                <a:tailEnd/>
              </a:ln>
            </p:spPr>
            <p:txBody>
              <a:bodyPr vert="horz" wrap="square" lIns="91440" tIns="45720" rIns="91440" bIns="45720" numCol="1" anchor="t" anchorCtr="0" compatLnSpc="1">
                <a:prstTxWarp prst="textNoShape">
                  <a:avLst/>
                </a:prstTxWarp>
              </a:bodyPr>
              <a:lstStyle/>
              <a:p>
                <a:pPr algn="l" rtl="0" fontAlgn="base">
                  <a:spcBef>
                    <a:spcPct val="0"/>
                  </a:spcBef>
                  <a:spcAft>
                    <a:spcPct val="0"/>
                  </a:spcAft>
                </a:pPr>
                <a:endParaRPr lang="zh-CN" sz="1000" b="1">
                  <a:solidFill>
                    <a:srgbClr val="504C4C"/>
                  </a:solidFill>
                  <a:latin typeface="Arial" panose="020B0604020202020204" pitchFamily="34" charset="0"/>
                  <a:ea typeface="微软雅黑" panose="020B0503020204020204" pitchFamily="34" charset="-122"/>
                  <a:cs typeface="Arial" pitchFamily="34" charset="0"/>
                </a:endParaRPr>
              </a:p>
            </p:txBody>
          </p:sp>
          <p:sp>
            <p:nvSpPr>
              <p:cNvPr id="696" name="Line 168">
                <a:extLst>
                  <a:ext uri="{FF2B5EF4-FFF2-40B4-BE49-F238E27FC236}">
                    <a16:creationId xmlns:a16="http://schemas.microsoft.com/office/drawing/2014/main" id="{ADD53F77-C556-4F56-9B21-888E7D84F598}"/>
                  </a:ext>
                </a:extLst>
              </p:cNvPr>
              <p:cNvSpPr>
                <a:spLocks noChangeShapeType="1"/>
              </p:cNvSpPr>
              <p:nvPr/>
            </p:nvSpPr>
            <p:spPr bwMode="auto">
              <a:xfrm>
                <a:off x="2655342" y="4070575"/>
                <a:ext cx="57355" cy="0"/>
              </a:xfrm>
              <a:prstGeom prst="line">
                <a:avLst/>
              </a:prstGeom>
              <a:noFill/>
              <a:ln w="12700" cap="flat">
                <a:solidFill>
                  <a:srgbClr val="E9207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algn="l" rtl="0" fontAlgn="base">
                  <a:spcBef>
                    <a:spcPct val="0"/>
                  </a:spcBef>
                  <a:spcAft>
                    <a:spcPct val="0"/>
                  </a:spcAft>
                </a:pPr>
                <a:endParaRPr lang="zh-CN" sz="1000" b="1">
                  <a:solidFill>
                    <a:srgbClr val="504C4C"/>
                  </a:solidFill>
                  <a:latin typeface="Arial" panose="020B0604020202020204" pitchFamily="34" charset="0"/>
                  <a:ea typeface="微软雅黑" panose="020B0503020204020204" pitchFamily="34" charset="-122"/>
                  <a:cs typeface="Arial" pitchFamily="34" charset="0"/>
                </a:endParaRPr>
              </a:p>
            </p:txBody>
          </p:sp>
          <p:sp>
            <p:nvSpPr>
              <p:cNvPr id="697" name="Freeform 169">
                <a:extLst>
                  <a:ext uri="{FF2B5EF4-FFF2-40B4-BE49-F238E27FC236}">
                    <a16:creationId xmlns:a16="http://schemas.microsoft.com/office/drawing/2014/main" id="{244AB475-F664-4F6E-9E4C-0559D6BB0CE9}"/>
                  </a:ext>
                </a:extLst>
              </p:cNvPr>
              <p:cNvSpPr>
                <a:spLocks/>
              </p:cNvSpPr>
              <p:nvPr/>
            </p:nvSpPr>
            <p:spPr bwMode="auto">
              <a:xfrm>
                <a:off x="2655342" y="4278147"/>
                <a:ext cx="57355" cy="0"/>
              </a:xfrm>
              <a:custGeom>
                <a:avLst/>
                <a:gdLst>
                  <a:gd name="T0" fmla="*/ 0 w 42"/>
                  <a:gd name="T1" fmla="*/ 42 w 42"/>
                  <a:gd name="T2" fmla="*/ 0 w 42"/>
                </a:gdLst>
                <a:ahLst/>
                <a:cxnLst>
                  <a:cxn ang="0">
                    <a:pos x="T0" y="0"/>
                  </a:cxn>
                  <a:cxn ang="0">
                    <a:pos x="T1" y="0"/>
                  </a:cxn>
                  <a:cxn ang="0">
                    <a:pos x="T2" y="0"/>
                  </a:cxn>
                </a:cxnLst>
                <a:rect l="0" t="0" r="r" b="b"/>
                <a:pathLst>
                  <a:path w="42">
                    <a:moveTo>
                      <a:pt x="0" y="0"/>
                    </a:moveTo>
                    <a:lnTo>
                      <a:pt x="42" y="0"/>
                    </a:lnTo>
                    <a:lnTo>
                      <a:pt x="0" y="0"/>
                    </a:lnTo>
                    <a:close/>
                  </a:path>
                </a:pathLst>
              </a:custGeom>
              <a:solidFill>
                <a:srgbClr val="00983A"/>
              </a:solidFill>
              <a:ln w="9525">
                <a:solidFill>
                  <a:srgbClr val="E92076"/>
                </a:solidFill>
                <a:round/>
                <a:headEnd/>
                <a:tailEnd/>
              </a:ln>
            </p:spPr>
            <p:txBody>
              <a:bodyPr vert="horz" wrap="square" lIns="91440" tIns="45720" rIns="91440" bIns="45720" numCol="1" anchor="t" anchorCtr="0" compatLnSpc="1">
                <a:prstTxWarp prst="textNoShape">
                  <a:avLst/>
                </a:prstTxWarp>
              </a:bodyPr>
              <a:lstStyle/>
              <a:p>
                <a:pPr algn="l" rtl="0" fontAlgn="base">
                  <a:spcBef>
                    <a:spcPct val="0"/>
                  </a:spcBef>
                  <a:spcAft>
                    <a:spcPct val="0"/>
                  </a:spcAft>
                </a:pPr>
                <a:endParaRPr lang="zh-CN" sz="1000" b="1">
                  <a:solidFill>
                    <a:srgbClr val="504C4C"/>
                  </a:solidFill>
                  <a:latin typeface="Arial" panose="020B0604020202020204" pitchFamily="34" charset="0"/>
                  <a:ea typeface="微软雅黑" panose="020B0503020204020204" pitchFamily="34" charset="-122"/>
                  <a:cs typeface="Arial" pitchFamily="34" charset="0"/>
                </a:endParaRPr>
              </a:p>
            </p:txBody>
          </p:sp>
          <p:sp>
            <p:nvSpPr>
              <p:cNvPr id="698" name="Line 170">
                <a:extLst>
                  <a:ext uri="{FF2B5EF4-FFF2-40B4-BE49-F238E27FC236}">
                    <a16:creationId xmlns:a16="http://schemas.microsoft.com/office/drawing/2014/main" id="{023A3124-A8EA-4B58-A385-A6C91D0511C7}"/>
                  </a:ext>
                </a:extLst>
              </p:cNvPr>
              <p:cNvSpPr>
                <a:spLocks noChangeShapeType="1"/>
              </p:cNvSpPr>
              <p:nvPr/>
            </p:nvSpPr>
            <p:spPr bwMode="auto">
              <a:xfrm>
                <a:off x="2655342" y="4278147"/>
                <a:ext cx="57355" cy="0"/>
              </a:xfrm>
              <a:prstGeom prst="line">
                <a:avLst/>
              </a:prstGeom>
              <a:noFill/>
              <a:ln w="12700" cap="flat">
                <a:solidFill>
                  <a:srgbClr val="E9207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algn="l" rtl="0" fontAlgn="base">
                  <a:spcBef>
                    <a:spcPct val="0"/>
                  </a:spcBef>
                  <a:spcAft>
                    <a:spcPct val="0"/>
                  </a:spcAft>
                </a:pPr>
                <a:endParaRPr lang="zh-CN" sz="1000" b="1">
                  <a:solidFill>
                    <a:srgbClr val="504C4C"/>
                  </a:solidFill>
                  <a:latin typeface="Arial" panose="020B0604020202020204" pitchFamily="34" charset="0"/>
                  <a:ea typeface="微软雅黑" panose="020B0503020204020204" pitchFamily="34" charset="-122"/>
                  <a:cs typeface="Arial" pitchFamily="34" charset="0"/>
                </a:endParaRPr>
              </a:p>
            </p:txBody>
          </p:sp>
          <p:sp>
            <p:nvSpPr>
              <p:cNvPr id="699" name="Freeform 171">
                <a:extLst>
                  <a:ext uri="{FF2B5EF4-FFF2-40B4-BE49-F238E27FC236}">
                    <a16:creationId xmlns:a16="http://schemas.microsoft.com/office/drawing/2014/main" id="{E4482526-1C6D-453D-AC99-BB297B5A3AAE}"/>
                  </a:ext>
                </a:extLst>
              </p:cNvPr>
              <p:cNvSpPr>
                <a:spLocks/>
              </p:cNvSpPr>
              <p:nvPr/>
            </p:nvSpPr>
            <p:spPr bwMode="auto">
              <a:xfrm>
                <a:off x="3228897" y="4160705"/>
                <a:ext cx="0" cy="117442"/>
              </a:xfrm>
              <a:custGeom>
                <a:avLst/>
                <a:gdLst>
                  <a:gd name="T0" fmla="*/ 86 h 86"/>
                  <a:gd name="T1" fmla="*/ 0 h 86"/>
                  <a:gd name="T2" fmla="*/ 86 h 86"/>
                </a:gdLst>
                <a:ahLst/>
                <a:cxnLst>
                  <a:cxn ang="0">
                    <a:pos x="0" y="T0"/>
                  </a:cxn>
                  <a:cxn ang="0">
                    <a:pos x="0" y="T1"/>
                  </a:cxn>
                  <a:cxn ang="0">
                    <a:pos x="0" y="T2"/>
                  </a:cxn>
                </a:cxnLst>
                <a:rect l="0" t="0" r="r" b="b"/>
                <a:pathLst>
                  <a:path h="86">
                    <a:moveTo>
                      <a:pt x="0" y="86"/>
                    </a:moveTo>
                    <a:lnTo>
                      <a:pt x="0" y="0"/>
                    </a:lnTo>
                    <a:lnTo>
                      <a:pt x="0" y="86"/>
                    </a:lnTo>
                    <a:close/>
                  </a:path>
                </a:pathLst>
              </a:custGeom>
              <a:solidFill>
                <a:srgbClr val="00983A"/>
              </a:solidFill>
              <a:ln w="9525">
                <a:solidFill>
                  <a:srgbClr val="E92076"/>
                </a:solidFill>
                <a:round/>
                <a:headEnd/>
                <a:tailEnd/>
              </a:ln>
            </p:spPr>
            <p:txBody>
              <a:bodyPr vert="horz" wrap="square" lIns="91440" tIns="45720" rIns="91440" bIns="45720" numCol="1" anchor="t" anchorCtr="0" compatLnSpc="1">
                <a:prstTxWarp prst="textNoShape">
                  <a:avLst/>
                </a:prstTxWarp>
              </a:bodyPr>
              <a:lstStyle/>
              <a:p>
                <a:pPr algn="l" rtl="0" fontAlgn="base">
                  <a:spcBef>
                    <a:spcPct val="0"/>
                  </a:spcBef>
                  <a:spcAft>
                    <a:spcPct val="0"/>
                  </a:spcAft>
                </a:pPr>
                <a:endParaRPr lang="zh-CN" sz="1000" b="1">
                  <a:solidFill>
                    <a:srgbClr val="504C4C"/>
                  </a:solidFill>
                  <a:latin typeface="Arial" panose="020B0604020202020204" pitchFamily="34" charset="0"/>
                  <a:ea typeface="微软雅黑" panose="020B0503020204020204" pitchFamily="34" charset="-122"/>
                  <a:cs typeface="Arial" pitchFamily="34" charset="0"/>
                </a:endParaRPr>
              </a:p>
            </p:txBody>
          </p:sp>
          <p:sp>
            <p:nvSpPr>
              <p:cNvPr id="700" name="Line 172">
                <a:extLst>
                  <a:ext uri="{FF2B5EF4-FFF2-40B4-BE49-F238E27FC236}">
                    <a16:creationId xmlns:a16="http://schemas.microsoft.com/office/drawing/2014/main" id="{C42CE460-9298-4715-9D3F-1923FC20FF48}"/>
                  </a:ext>
                </a:extLst>
              </p:cNvPr>
              <p:cNvSpPr>
                <a:spLocks noChangeShapeType="1"/>
              </p:cNvSpPr>
              <p:nvPr/>
            </p:nvSpPr>
            <p:spPr bwMode="auto">
              <a:xfrm flipV="1">
                <a:off x="3228897" y="4160705"/>
                <a:ext cx="0" cy="117442"/>
              </a:xfrm>
              <a:prstGeom prst="line">
                <a:avLst/>
              </a:prstGeom>
              <a:noFill/>
              <a:ln w="12700" cap="flat">
                <a:solidFill>
                  <a:srgbClr val="E9207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algn="l" rtl="0" fontAlgn="base">
                  <a:spcBef>
                    <a:spcPct val="0"/>
                  </a:spcBef>
                  <a:spcAft>
                    <a:spcPct val="0"/>
                  </a:spcAft>
                </a:pPr>
                <a:endParaRPr lang="zh-CN" sz="1000" b="1">
                  <a:solidFill>
                    <a:srgbClr val="504C4C"/>
                  </a:solidFill>
                  <a:latin typeface="Arial" panose="020B0604020202020204" pitchFamily="34" charset="0"/>
                  <a:ea typeface="微软雅黑" panose="020B0503020204020204" pitchFamily="34" charset="-122"/>
                  <a:cs typeface="Arial" pitchFamily="34" charset="0"/>
                </a:endParaRPr>
              </a:p>
            </p:txBody>
          </p:sp>
          <p:sp>
            <p:nvSpPr>
              <p:cNvPr id="701" name="Freeform 173">
                <a:extLst>
                  <a:ext uri="{FF2B5EF4-FFF2-40B4-BE49-F238E27FC236}">
                    <a16:creationId xmlns:a16="http://schemas.microsoft.com/office/drawing/2014/main" id="{76F6ACF0-9EFF-43D7-B41B-42C17E02544B}"/>
                  </a:ext>
                </a:extLst>
              </p:cNvPr>
              <p:cNvSpPr>
                <a:spLocks/>
              </p:cNvSpPr>
              <p:nvPr/>
            </p:nvSpPr>
            <p:spPr bwMode="auto">
              <a:xfrm>
                <a:off x="3201585" y="4160705"/>
                <a:ext cx="57355" cy="0"/>
              </a:xfrm>
              <a:custGeom>
                <a:avLst/>
                <a:gdLst>
                  <a:gd name="T0" fmla="*/ 0 w 42"/>
                  <a:gd name="T1" fmla="*/ 42 w 42"/>
                  <a:gd name="T2" fmla="*/ 0 w 42"/>
                </a:gdLst>
                <a:ahLst/>
                <a:cxnLst>
                  <a:cxn ang="0">
                    <a:pos x="T0" y="0"/>
                  </a:cxn>
                  <a:cxn ang="0">
                    <a:pos x="T1" y="0"/>
                  </a:cxn>
                  <a:cxn ang="0">
                    <a:pos x="T2" y="0"/>
                  </a:cxn>
                </a:cxnLst>
                <a:rect l="0" t="0" r="r" b="b"/>
                <a:pathLst>
                  <a:path w="42">
                    <a:moveTo>
                      <a:pt x="0" y="0"/>
                    </a:moveTo>
                    <a:lnTo>
                      <a:pt x="42" y="0"/>
                    </a:lnTo>
                    <a:lnTo>
                      <a:pt x="0" y="0"/>
                    </a:lnTo>
                    <a:close/>
                  </a:path>
                </a:pathLst>
              </a:custGeom>
              <a:solidFill>
                <a:srgbClr val="00983A"/>
              </a:solidFill>
              <a:ln w="9525">
                <a:solidFill>
                  <a:srgbClr val="E92076"/>
                </a:solidFill>
                <a:round/>
                <a:headEnd/>
                <a:tailEnd/>
              </a:ln>
            </p:spPr>
            <p:txBody>
              <a:bodyPr vert="horz" wrap="square" lIns="91440" tIns="45720" rIns="91440" bIns="45720" numCol="1" anchor="t" anchorCtr="0" compatLnSpc="1">
                <a:prstTxWarp prst="textNoShape">
                  <a:avLst/>
                </a:prstTxWarp>
              </a:bodyPr>
              <a:lstStyle/>
              <a:p>
                <a:pPr algn="l" rtl="0" fontAlgn="base">
                  <a:spcBef>
                    <a:spcPct val="0"/>
                  </a:spcBef>
                  <a:spcAft>
                    <a:spcPct val="0"/>
                  </a:spcAft>
                </a:pPr>
                <a:endParaRPr lang="zh-CN" sz="1000" b="1">
                  <a:solidFill>
                    <a:srgbClr val="504C4C"/>
                  </a:solidFill>
                  <a:latin typeface="Arial" panose="020B0604020202020204" pitchFamily="34" charset="0"/>
                  <a:ea typeface="微软雅黑" panose="020B0503020204020204" pitchFamily="34" charset="-122"/>
                  <a:cs typeface="Arial" pitchFamily="34" charset="0"/>
                </a:endParaRPr>
              </a:p>
            </p:txBody>
          </p:sp>
          <p:sp>
            <p:nvSpPr>
              <p:cNvPr id="702" name="Line 174">
                <a:extLst>
                  <a:ext uri="{FF2B5EF4-FFF2-40B4-BE49-F238E27FC236}">
                    <a16:creationId xmlns:a16="http://schemas.microsoft.com/office/drawing/2014/main" id="{F33655B4-94A8-479F-B83F-869A45204B1B}"/>
                  </a:ext>
                </a:extLst>
              </p:cNvPr>
              <p:cNvSpPr>
                <a:spLocks noChangeShapeType="1"/>
              </p:cNvSpPr>
              <p:nvPr/>
            </p:nvSpPr>
            <p:spPr bwMode="auto">
              <a:xfrm>
                <a:off x="3201585" y="4160705"/>
                <a:ext cx="57355" cy="0"/>
              </a:xfrm>
              <a:prstGeom prst="line">
                <a:avLst/>
              </a:prstGeom>
              <a:noFill/>
              <a:ln w="12700" cap="flat">
                <a:solidFill>
                  <a:srgbClr val="E9207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algn="l" rtl="0" fontAlgn="base">
                  <a:spcBef>
                    <a:spcPct val="0"/>
                  </a:spcBef>
                  <a:spcAft>
                    <a:spcPct val="0"/>
                  </a:spcAft>
                </a:pPr>
                <a:endParaRPr lang="zh-CN" sz="1000" b="1">
                  <a:solidFill>
                    <a:srgbClr val="504C4C"/>
                  </a:solidFill>
                  <a:latin typeface="Arial" panose="020B0604020202020204" pitchFamily="34" charset="0"/>
                  <a:ea typeface="微软雅黑" panose="020B0503020204020204" pitchFamily="34" charset="-122"/>
                  <a:cs typeface="Arial" pitchFamily="34" charset="0"/>
                </a:endParaRPr>
              </a:p>
            </p:txBody>
          </p:sp>
          <p:sp>
            <p:nvSpPr>
              <p:cNvPr id="703" name="Freeform 175">
                <a:extLst>
                  <a:ext uri="{FF2B5EF4-FFF2-40B4-BE49-F238E27FC236}">
                    <a16:creationId xmlns:a16="http://schemas.microsoft.com/office/drawing/2014/main" id="{FD4363B2-86F3-4900-A7DD-F5985C9F1FE7}"/>
                  </a:ext>
                </a:extLst>
              </p:cNvPr>
              <p:cNvSpPr>
                <a:spLocks/>
              </p:cNvSpPr>
              <p:nvPr/>
            </p:nvSpPr>
            <p:spPr bwMode="auto">
              <a:xfrm>
                <a:off x="3201585" y="4278147"/>
                <a:ext cx="57355" cy="0"/>
              </a:xfrm>
              <a:custGeom>
                <a:avLst/>
                <a:gdLst>
                  <a:gd name="T0" fmla="*/ 0 w 42"/>
                  <a:gd name="T1" fmla="*/ 42 w 42"/>
                  <a:gd name="T2" fmla="*/ 0 w 42"/>
                </a:gdLst>
                <a:ahLst/>
                <a:cxnLst>
                  <a:cxn ang="0">
                    <a:pos x="T0" y="0"/>
                  </a:cxn>
                  <a:cxn ang="0">
                    <a:pos x="T1" y="0"/>
                  </a:cxn>
                  <a:cxn ang="0">
                    <a:pos x="T2" y="0"/>
                  </a:cxn>
                </a:cxnLst>
                <a:rect l="0" t="0" r="r" b="b"/>
                <a:pathLst>
                  <a:path w="42">
                    <a:moveTo>
                      <a:pt x="0" y="0"/>
                    </a:moveTo>
                    <a:lnTo>
                      <a:pt x="42" y="0"/>
                    </a:lnTo>
                    <a:lnTo>
                      <a:pt x="0" y="0"/>
                    </a:lnTo>
                    <a:close/>
                  </a:path>
                </a:pathLst>
              </a:custGeom>
              <a:solidFill>
                <a:srgbClr val="00983A"/>
              </a:solidFill>
              <a:ln w="9525">
                <a:solidFill>
                  <a:srgbClr val="E92076"/>
                </a:solidFill>
                <a:round/>
                <a:headEnd/>
                <a:tailEnd/>
              </a:ln>
            </p:spPr>
            <p:txBody>
              <a:bodyPr vert="horz" wrap="square" lIns="91440" tIns="45720" rIns="91440" bIns="45720" numCol="1" anchor="t" anchorCtr="0" compatLnSpc="1">
                <a:prstTxWarp prst="textNoShape">
                  <a:avLst/>
                </a:prstTxWarp>
              </a:bodyPr>
              <a:lstStyle/>
              <a:p>
                <a:pPr algn="l" rtl="0" fontAlgn="base">
                  <a:spcBef>
                    <a:spcPct val="0"/>
                  </a:spcBef>
                  <a:spcAft>
                    <a:spcPct val="0"/>
                  </a:spcAft>
                </a:pPr>
                <a:endParaRPr lang="zh-CN" sz="1000" b="1">
                  <a:solidFill>
                    <a:srgbClr val="504C4C"/>
                  </a:solidFill>
                  <a:latin typeface="Arial" panose="020B0604020202020204" pitchFamily="34" charset="0"/>
                  <a:ea typeface="微软雅黑" panose="020B0503020204020204" pitchFamily="34" charset="-122"/>
                  <a:cs typeface="Arial" pitchFamily="34" charset="0"/>
                </a:endParaRPr>
              </a:p>
            </p:txBody>
          </p:sp>
          <p:sp>
            <p:nvSpPr>
              <p:cNvPr id="704" name="Line 176">
                <a:extLst>
                  <a:ext uri="{FF2B5EF4-FFF2-40B4-BE49-F238E27FC236}">
                    <a16:creationId xmlns:a16="http://schemas.microsoft.com/office/drawing/2014/main" id="{2881CF15-B222-4F8B-9D8B-78AEF4BE28BD}"/>
                  </a:ext>
                </a:extLst>
              </p:cNvPr>
              <p:cNvSpPr>
                <a:spLocks noChangeShapeType="1"/>
              </p:cNvSpPr>
              <p:nvPr/>
            </p:nvSpPr>
            <p:spPr bwMode="auto">
              <a:xfrm>
                <a:off x="3201585" y="4278147"/>
                <a:ext cx="57355" cy="0"/>
              </a:xfrm>
              <a:prstGeom prst="line">
                <a:avLst/>
              </a:prstGeom>
              <a:noFill/>
              <a:ln w="12700" cap="flat">
                <a:solidFill>
                  <a:srgbClr val="E9207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algn="l" rtl="0" fontAlgn="base">
                  <a:spcBef>
                    <a:spcPct val="0"/>
                  </a:spcBef>
                  <a:spcAft>
                    <a:spcPct val="0"/>
                  </a:spcAft>
                </a:pPr>
                <a:endParaRPr lang="zh-CN" sz="1000" b="1">
                  <a:solidFill>
                    <a:srgbClr val="504C4C"/>
                  </a:solidFill>
                  <a:latin typeface="Arial" panose="020B0604020202020204" pitchFamily="34" charset="0"/>
                  <a:ea typeface="微软雅黑" panose="020B0503020204020204" pitchFamily="34" charset="-122"/>
                  <a:cs typeface="Arial" pitchFamily="34" charset="0"/>
                </a:endParaRPr>
              </a:p>
            </p:txBody>
          </p:sp>
          <p:sp>
            <p:nvSpPr>
              <p:cNvPr id="705" name="Freeform 177">
                <a:extLst>
                  <a:ext uri="{FF2B5EF4-FFF2-40B4-BE49-F238E27FC236}">
                    <a16:creationId xmlns:a16="http://schemas.microsoft.com/office/drawing/2014/main" id="{3B9F9E5B-12D1-491D-AB55-522BCCCD7081}"/>
                  </a:ext>
                </a:extLst>
              </p:cNvPr>
              <p:cNvSpPr>
                <a:spLocks/>
              </p:cNvSpPr>
              <p:nvPr/>
            </p:nvSpPr>
            <p:spPr bwMode="auto">
              <a:xfrm>
                <a:off x="3956765" y="4231716"/>
                <a:ext cx="0" cy="148852"/>
              </a:xfrm>
              <a:custGeom>
                <a:avLst/>
                <a:gdLst>
                  <a:gd name="T0" fmla="*/ 109 h 109"/>
                  <a:gd name="T1" fmla="*/ 0 h 109"/>
                  <a:gd name="T2" fmla="*/ 109 h 109"/>
                </a:gdLst>
                <a:ahLst/>
                <a:cxnLst>
                  <a:cxn ang="0">
                    <a:pos x="0" y="T0"/>
                  </a:cxn>
                  <a:cxn ang="0">
                    <a:pos x="0" y="T1"/>
                  </a:cxn>
                  <a:cxn ang="0">
                    <a:pos x="0" y="T2"/>
                  </a:cxn>
                </a:cxnLst>
                <a:rect l="0" t="0" r="r" b="b"/>
                <a:pathLst>
                  <a:path h="109">
                    <a:moveTo>
                      <a:pt x="0" y="109"/>
                    </a:moveTo>
                    <a:lnTo>
                      <a:pt x="0" y="0"/>
                    </a:lnTo>
                    <a:lnTo>
                      <a:pt x="0" y="109"/>
                    </a:lnTo>
                    <a:close/>
                  </a:path>
                </a:pathLst>
              </a:custGeom>
              <a:solidFill>
                <a:srgbClr val="00983A"/>
              </a:solidFill>
              <a:ln w="9525">
                <a:solidFill>
                  <a:srgbClr val="E92076"/>
                </a:solidFill>
                <a:round/>
                <a:headEnd/>
                <a:tailEnd/>
              </a:ln>
            </p:spPr>
            <p:txBody>
              <a:bodyPr vert="horz" wrap="square" lIns="91440" tIns="45720" rIns="91440" bIns="45720" numCol="1" anchor="t" anchorCtr="0" compatLnSpc="1">
                <a:prstTxWarp prst="textNoShape">
                  <a:avLst/>
                </a:prstTxWarp>
              </a:bodyPr>
              <a:lstStyle/>
              <a:p>
                <a:pPr algn="l" rtl="0" fontAlgn="base">
                  <a:spcBef>
                    <a:spcPct val="0"/>
                  </a:spcBef>
                  <a:spcAft>
                    <a:spcPct val="0"/>
                  </a:spcAft>
                </a:pPr>
                <a:endParaRPr lang="zh-CN" sz="1000" b="1">
                  <a:solidFill>
                    <a:srgbClr val="504C4C"/>
                  </a:solidFill>
                  <a:latin typeface="Arial" panose="020B0604020202020204" pitchFamily="34" charset="0"/>
                  <a:ea typeface="微软雅黑" panose="020B0503020204020204" pitchFamily="34" charset="-122"/>
                  <a:cs typeface="Arial" pitchFamily="34" charset="0"/>
                </a:endParaRPr>
              </a:p>
            </p:txBody>
          </p:sp>
          <p:sp>
            <p:nvSpPr>
              <p:cNvPr id="706" name="Line 178">
                <a:extLst>
                  <a:ext uri="{FF2B5EF4-FFF2-40B4-BE49-F238E27FC236}">
                    <a16:creationId xmlns:a16="http://schemas.microsoft.com/office/drawing/2014/main" id="{797BCED2-632B-4BA9-A86C-32374E6BF961}"/>
                  </a:ext>
                </a:extLst>
              </p:cNvPr>
              <p:cNvSpPr>
                <a:spLocks noChangeShapeType="1"/>
              </p:cNvSpPr>
              <p:nvPr/>
            </p:nvSpPr>
            <p:spPr bwMode="auto">
              <a:xfrm flipV="1">
                <a:off x="3956765" y="4231716"/>
                <a:ext cx="0" cy="148852"/>
              </a:xfrm>
              <a:prstGeom prst="line">
                <a:avLst/>
              </a:prstGeom>
              <a:noFill/>
              <a:ln w="12700" cap="flat">
                <a:solidFill>
                  <a:srgbClr val="E9207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algn="l" rtl="0" fontAlgn="base">
                  <a:spcBef>
                    <a:spcPct val="0"/>
                  </a:spcBef>
                  <a:spcAft>
                    <a:spcPct val="0"/>
                  </a:spcAft>
                </a:pPr>
                <a:endParaRPr lang="zh-CN" sz="1000" b="1">
                  <a:solidFill>
                    <a:srgbClr val="504C4C"/>
                  </a:solidFill>
                  <a:latin typeface="Arial" panose="020B0604020202020204" pitchFamily="34" charset="0"/>
                  <a:ea typeface="微软雅黑" panose="020B0503020204020204" pitchFamily="34" charset="-122"/>
                  <a:cs typeface="Arial" pitchFamily="34" charset="0"/>
                </a:endParaRPr>
              </a:p>
            </p:txBody>
          </p:sp>
          <p:sp>
            <p:nvSpPr>
              <p:cNvPr id="707" name="Freeform 179">
                <a:extLst>
                  <a:ext uri="{FF2B5EF4-FFF2-40B4-BE49-F238E27FC236}">
                    <a16:creationId xmlns:a16="http://schemas.microsoft.com/office/drawing/2014/main" id="{3DDC5030-42CF-41AC-BEBA-7A2644D9BA5E}"/>
                  </a:ext>
                </a:extLst>
              </p:cNvPr>
              <p:cNvSpPr>
                <a:spLocks/>
              </p:cNvSpPr>
              <p:nvPr/>
            </p:nvSpPr>
            <p:spPr bwMode="auto">
              <a:xfrm>
                <a:off x="3926721" y="4231716"/>
                <a:ext cx="57355" cy="0"/>
              </a:xfrm>
              <a:custGeom>
                <a:avLst/>
                <a:gdLst>
                  <a:gd name="T0" fmla="*/ 0 w 42"/>
                  <a:gd name="T1" fmla="*/ 42 w 42"/>
                  <a:gd name="T2" fmla="*/ 0 w 42"/>
                </a:gdLst>
                <a:ahLst/>
                <a:cxnLst>
                  <a:cxn ang="0">
                    <a:pos x="T0" y="0"/>
                  </a:cxn>
                  <a:cxn ang="0">
                    <a:pos x="T1" y="0"/>
                  </a:cxn>
                  <a:cxn ang="0">
                    <a:pos x="T2" y="0"/>
                  </a:cxn>
                </a:cxnLst>
                <a:rect l="0" t="0" r="r" b="b"/>
                <a:pathLst>
                  <a:path w="42">
                    <a:moveTo>
                      <a:pt x="0" y="0"/>
                    </a:moveTo>
                    <a:lnTo>
                      <a:pt x="42" y="0"/>
                    </a:lnTo>
                    <a:lnTo>
                      <a:pt x="0" y="0"/>
                    </a:lnTo>
                    <a:close/>
                  </a:path>
                </a:pathLst>
              </a:custGeom>
              <a:solidFill>
                <a:srgbClr val="00983A"/>
              </a:solidFill>
              <a:ln w="9525">
                <a:solidFill>
                  <a:srgbClr val="E92076"/>
                </a:solidFill>
                <a:round/>
                <a:headEnd/>
                <a:tailEnd/>
              </a:ln>
            </p:spPr>
            <p:txBody>
              <a:bodyPr vert="horz" wrap="square" lIns="91440" tIns="45720" rIns="91440" bIns="45720" numCol="1" anchor="t" anchorCtr="0" compatLnSpc="1">
                <a:prstTxWarp prst="textNoShape">
                  <a:avLst/>
                </a:prstTxWarp>
              </a:bodyPr>
              <a:lstStyle/>
              <a:p>
                <a:pPr algn="l" rtl="0" fontAlgn="base">
                  <a:spcBef>
                    <a:spcPct val="0"/>
                  </a:spcBef>
                  <a:spcAft>
                    <a:spcPct val="0"/>
                  </a:spcAft>
                </a:pPr>
                <a:endParaRPr lang="zh-CN" sz="1000" b="1">
                  <a:solidFill>
                    <a:srgbClr val="504C4C"/>
                  </a:solidFill>
                  <a:latin typeface="Arial" panose="020B0604020202020204" pitchFamily="34" charset="0"/>
                  <a:ea typeface="微软雅黑" panose="020B0503020204020204" pitchFamily="34" charset="-122"/>
                  <a:cs typeface="Arial" pitchFamily="34" charset="0"/>
                </a:endParaRPr>
              </a:p>
            </p:txBody>
          </p:sp>
          <p:sp>
            <p:nvSpPr>
              <p:cNvPr id="708" name="Line 180">
                <a:extLst>
                  <a:ext uri="{FF2B5EF4-FFF2-40B4-BE49-F238E27FC236}">
                    <a16:creationId xmlns:a16="http://schemas.microsoft.com/office/drawing/2014/main" id="{825630A8-3557-41E8-9A71-D467EAE966BE}"/>
                  </a:ext>
                </a:extLst>
              </p:cNvPr>
              <p:cNvSpPr>
                <a:spLocks noChangeShapeType="1"/>
              </p:cNvSpPr>
              <p:nvPr/>
            </p:nvSpPr>
            <p:spPr bwMode="auto">
              <a:xfrm>
                <a:off x="3926721" y="4231716"/>
                <a:ext cx="57355" cy="0"/>
              </a:xfrm>
              <a:prstGeom prst="line">
                <a:avLst/>
              </a:prstGeom>
              <a:noFill/>
              <a:ln w="12700" cap="flat">
                <a:solidFill>
                  <a:srgbClr val="E9207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algn="l" rtl="0" fontAlgn="base">
                  <a:spcBef>
                    <a:spcPct val="0"/>
                  </a:spcBef>
                  <a:spcAft>
                    <a:spcPct val="0"/>
                  </a:spcAft>
                </a:pPr>
                <a:endParaRPr lang="zh-CN" sz="1000" b="1">
                  <a:solidFill>
                    <a:srgbClr val="504C4C"/>
                  </a:solidFill>
                  <a:latin typeface="Arial" panose="020B0604020202020204" pitchFamily="34" charset="0"/>
                  <a:ea typeface="微软雅黑" panose="020B0503020204020204" pitchFamily="34" charset="-122"/>
                  <a:cs typeface="Arial" pitchFamily="34" charset="0"/>
                </a:endParaRPr>
              </a:p>
            </p:txBody>
          </p:sp>
          <p:sp>
            <p:nvSpPr>
              <p:cNvPr id="709" name="Freeform 181">
                <a:extLst>
                  <a:ext uri="{FF2B5EF4-FFF2-40B4-BE49-F238E27FC236}">
                    <a16:creationId xmlns:a16="http://schemas.microsoft.com/office/drawing/2014/main" id="{E22F5548-38A7-4943-939A-FBE951EC3774}"/>
                  </a:ext>
                </a:extLst>
              </p:cNvPr>
              <p:cNvSpPr>
                <a:spLocks/>
              </p:cNvSpPr>
              <p:nvPr/>
            </p:nvSpPr>
            <p:spPr bwMode="auto">
              <a:xfrm>
                <a:off x="3926721" y="4380568"/>
                <a:ext cx="57355" cy="0"/>
              </a:xfrm>
              <a:custGeom>
                <a:avLst/>
                <a:gdLst>
                  <a:gd name="T0" fmla="*/ 0 w 42"/>
                  <a:gd name="T1" fmla="*/ 42 w 42"/>
                  <a:gd name="T2" fmla="*/ 0 w 42"/>
                </a:gdLst>
                <a:ahLst/>
                <a:cxnLst>
                  <a:cxn ang="0">
                    <a:pos x="T0" y="0"/>
                  </a:cxn>
                  <a:cxn ang="0">
                    <a:pos x="T1" y="0"/>
                  </a:cxn>
                  <a:cxn ang="0">
                    <a:pos x="T2" y="0"/>
                  </a:cxn>
                </a:cxnLst>
                <a:rect l="0" t="0" r="r" b="b"/>
                <a:pathLst>
                  <a:path w="42">
                    <a:moveTo>
                      <a:pt x="0" y="0"/>
                    </a:moveTo>
                    <a:lnTo>
                      <a:pt x="42" y="0"/>
                    </a:lnTo>
                    <a:lnTo>
                      <a:pt x="0" y="0"/>
                    </a:lnTo>
                    <a:close/>
                  </a:path>
                </a:pathLst>
              </a:custGeom>
              <a:solidFill>
                <a:srgbClr val="00983A"/>
              </a:solidFill>
              <a:ln w="9525">
                <a:solidFill>
                  <a:srgbClr val="E92076"/>
                </a:solidFill>
                <a:round/>
                <a:headEnd/>
                <a:tailEnd/>
              </a:ln>
            </p:spPr>
            <p:txBody>
              <a:bodyPr vert="horz" wrap="square" lIns="91440" tIns="45720" rIns="91440" bIns="45720" numCol="1" anchor="t" anchorCtr="0" compatLnSpc="1">
                <a:prstTxWarp prst="textNoShape">
                  <a:avLst/>
                </a:prstTxWarp>
              </a:bodyPr>
              <a:lstStyle/>
              <a:p>
                <a:pPr algn="l" rtl="0" fontAlgn="base">
                  <a:spcBef>
                    <a:spcPct val="0"/>
                  </a:spcBef>
                  <a:spcAft>
                    <a:spcPct val="0"/>
                  </a:spcAft>
                </a:pPr>
                <a:endParaRPr lang="zh-CN" sz="1000" b="1">
                  <a:solidFill>
                    <a:srgbClr val="504C4C"/>
                  </a:solidFill>
                  <a:latin typeface="Arial" panose="020B0604020202020204" pitchFamily="34" charset="0"/>
                  <a:ea typeface="微软雅黑" panose="020B0503020204020204" pitchFamily="34" charset="-122"/>
                  <a:cs typeface="Arial" pitchFamily="34" charset="0"/>
                </a:endParaRPr>
              </a:p>
            </p:txBody>
          </p:sp>
          <p:sp>
            <p:nvSpPr>
              <p:cNvPr id="710" name="Line 182">
                <a:extLst>
                  <a:ext uri="{FF2B5EF4-FFF2-40B4-BE49-F238E27FC236}">
                    <a16:creationId xmlns:a16="http://schemas.microsoft.com/office/drawing/2014/main" id="{6B41F4DD-C3C0-4FF7-A31C-A882E3FFD242}"/>
                  </a:ext>
                </a:extLst>
              </p:cNvPr>
              <p:cNvSpPr>
                <a:spLocks noChangeShapeType="1"/>
              </p:cNvSpPr>
              <p:nvPr/>
            </p:nvSpPr>
            <p:spPr bwMode="auto">
              <a:xfrm>
                <a:off x="3926721" y="4380568"/>
                <a:ext cx="57355" cy="0"/>
              </a:xfrm>
              <a:prstGeom prst="line">
                <a:avLst/>
              </a:prstGeom>
              <a:noFill/>
              <a:ln w="12700" cap="flat">
                <a:solidFill>
                  <a:srgbClr val="E9207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algn="l" rtl="0" fontAlgn="base">
                  <a:spcBef>
                    <a:spcPct val="0"/>
                  </a:spcBef>
                  <a:spcAft>
                    <a:spcPct val="0"/>
                  </a:spcAft>
                </a:pPr>
                <a:endParaRPr lang="zh-CN" sz="1000" b="1">
                  <a:solidFill>
                    <a:srgbClr val="504C4C"/>
                  </a:solidFill>
                  <a:latin typeface="Arial" panose="020B0604020202020204" pitchFamily="34" charset="0"/>
                  <a:ea typeface="微软雅黑" panose="020B0503020204020204" pitchFamily="34" charset="-122"/>
                  <a:cs typeface="Arial" pitchFamily="34" charset="0"/>
                </a:endParaRPr>
              </a:p>
            </p:txBody>
          </p:sp>
          <p:sp>
            <p:nvSpPr>
              <p:cNvPr id="711" name="Freeform 183">
                <a:extLst>
                  <a:ext uri="{FF2B5EF4-FFF2-40B4-BE49-F238E27FC236}">
                    <a16:creationId xmlns:a16="http://schemas.microsoft.com/office/drawing/2014/main" id="{97C27DD8-0324-4E71-A725-1134B71B17BB}"/>
                  </a:ext>
                </a:extLst>
              </p:cNvPr>
              <p:cNvSpPr>
                <a:spLocks/>
              </p:cNvSpPr>
              <p:nvPr/>
            </p:nvSpPr>
            <p:spPr bwMode="auto">
              <a:xfrm>
                <a:off x="4683267" y="4231716"/>
                <a:ext cx="0" cy="137927"/>
              </a:xfrm>
              <a:custGeom>
                <a:avLst/>
                <a:gdLst>
                  <a:gd name="T0" fmla="*/ 101 h 101"/>
                  <a:gd name="T1" fmla="*/ 0 h 101"/>
                  <a:gd name="T2" fmla="*/ 101 h 101"/>
                </a:gdLst>
                <a:ahLst/>
                <a:cxnLst>
                  <a:cxn ang="0">
                    <a:pos x="0" y="T0"/>
                  </a:cxn>
                  <a:cxn ang="0">
                    <a:pos x="0" y="T1"/>
                  </a:cxn>
                  <a:cxn ang="0">
                    <a:pos x="0" y="T2"/>
                  </a:cxn>
                </a:cxnLst>
                <a:rect l="0" t="0" r="r" b="b"/>
                <a:pathLst>
                  <a:path h="101">
                    <a:moveTo>
                      <a:pt x="0" y="101"/>
                    </a:moveTo>
                    <a:lnTo>
                      <a:pt x="0" y="0"/>
                    </a:lnTo>
                    <a:lnTo>
                      <a:pt x="0" y="101"/>
                    </a:lnTo>
                    <a:close/>
                  </a:path>
                </a:pathLst>
              </a:custGeom>
              <a:solidFill>
                <a:srgbClr val="00983A"/>
              </a:solidFill>
              <a:ln w="9525">
                <a:solidFill>
                  <a:srgbClr val="E92076"/>
                </a:solidFill>
                <a:round/>
                <a:headEnd/>
                <a:tailEnd/>
              </a:ln>
            </p:spPr>
            <p:txBody>
              <a:bodyPr vert="horz" wrap="square" lIns="91440" tIns="45720" rIns="91440" bIns="45720" numCol="1" anchor="t" anchorCtr="0" compatLnSpc="1">
                <a:prstTxWarp prst="textNoShape">
                  <a:avLst/>
                </a:prstTxWarp>
              </a:bodyPr>
              <a:lstStyle/>
              <a:p>
                <a:pPr algn="l" rtl="0" fontAlgn="base">
                  <a:spcBef>
                    <a:spcPct val="0"/>
                  </a:spcBef>
                  <a:spcAft>
                    <a:spcPct val="0"/>
                  </a:spcAft>
                </a:pPr>
                <a:endParaRPr lang="zh-CN" sz="1000" b="1">
                  <a:solidFill>
                    <a:srgbClr val="504C4C"/>
                  </a:solidFill>
                  <a:latin typeface="Arial" panose="020B0604020202020204" pitchFamily="34" charset="0"/>
                  <a:ea typeface="微软雅黑" panose="020B0503020204020204" pitchFamily="34" charset="-122"/>
                  <a:cs typeface="Arial" pitchFamily="34" charset="0"/>
                </a:endParaRPr>
              </a:p>
            </p:txBody>
          </p:sp>
          <p:sp>
            <p:nvSpPr>
              <p:cNvPr id="712" name="Line 184">
                <a:extLst>
                  <a:ext uri="{FF2B5EF4-FFF2-40B4-BE49-F238E27FC236}">
                    <a16:creationId xmlns:a16="http://schemas.microsoft.com/office/drawing/2014/main" id="{578D9C58-57E0-4E2B-AE60-0A43C4A154C6}"/>
                  </a:ext>
                </a:extLst>
              </p:cNvPr>
              <p:cNvSpPr>
                <a:spLocks noChangeShapeType="1"/>
              </p:cNvSpPr>
              <p:nvPr/>
            </p:nvSpPr>
            <p:spPr bwMode="auto">
              <a:xfrm flipV="1">
                <a:off x="4683267" y="4231716"/>
                <a:ext cx="0" cy="137927"/>
              </a:xfrm>
              <a:prstGeom prst="line">
                <a:avLst/>
              </a:prstGeom>
              <a:noFill/>
              <a:ln w="12700" cap="flat">
                <a:solidFill>
                  <a:srgbClr val="E9207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algn="l" rtl="0" fontAlgn="base">
                  <a:spcBef>
                    <a:spcPct val="0"/>
                  </a:spcBef>
                  <a:spcAft>
                    <a:spcPct val="0"/>
                  </a:spcAft>
                </a:pPr>
                <a:endParaRPr lang="zh-CN" sz="1000" b="1">
                  <a:solidFill>
                    <a:srgbClr val="504C4C"/>
                  </a:solidFill>
                  <a:latin typeface="Arial" panose="020B0604020202020204" pitchFamily="34" charset="0"/>
                  <a:ea typeface="微软雅黑" panose="020B0503020204020204" pitchFamily="34" charset="-122"/>
                  <a:cs typeface="Arial" pitchFamily="34" charset="0"/>
                </a:endParaRPr>
              </a:p>
            </p:txBody>
          </p:sp>
          <p:sp>
            <p:nvSpPr>
              <p:cNvPr id="713" name="Freeform 185">
                <a:extLst>
                  <a:ext uri="{FF2B5EF4-FFF2-40B4-BE49-F238E27FC236}">
                    <a16:creationId xmlns:a16="http://schemas.microsoft.com/office/drawing/2014/main" id="{9899A8BC-D936-4DA3-9281-2CACA359C5B1}"/>
                  </a:ext>
                </a:extLst>
              </p:cNvPr>
              <p:cNvSpPr>
                <a:spLocks/>
              </p:cNvSpPr>
              <p:nvPr/>
            </p:nvSpPr>
            <p:spPr bwMode="auto">
              <a:xfrm>
                <a:off x="4653224" y="4231716"/>
                <a:ext cx="57355" cy="0"/>
              </a:xfrm>
              <a:custGeom>
                <a:avLst/>
                <a:gdLst>
                  <a:gd name="T0" fmla="*/ 0 w 42"/>
                  <a:gd name="T1" fmla="*/ 42 w 42"/>
                  <a:gd name="T2" fmla="*/ 0 w 42"/>
                </a:gdLst>
                <a:ahLst/>
                <a:cxnLst>
                  <a:cxn ang="0">
                    <a:pos x="T0" y="0"/>
                  </a:cxn>
                  <a:cxn ang="0">
                    <a:pos x="T1" y="0"/>
                  </a:cxn>
                  <a:cxn ang="0">
                    <a:pos x="T2" y="0"/>
                  </a:cxn>
                </a:cxnLst>
                <a:rect l="0" t="0" r="r" b="b"/>
                <a:pathLst>
                  <a:path w="42">
                    <a:moveTo>
                      <a:pt x="0" y="0"/>
                    </a:moveTo>
                    <a:lnTo>
                      <a:pt x="42" y="0"/>
                    </a:lnTo>
                    <a:lnTo>
                      <a:pt x="0" y="0"/>
                    </a:lnTo>
                    <a:close/>
                  </a:path>
                </a:pathLst>
              </a:custGeom>
              <a:solidFill>
                <a:srgbClr val="00983A"/>
              </a:solidFill>
              <a:ln w="9525">
                <a:solidFill>
                  <a:srgbClr val="E92076"/>
                </a:solidFill>
                <a:round/>
                <a:headEnd/>
                <a:tailEnd/>
              </a:ln>
            </p:spPr>
            <p:txBody>
              <a:bodyPr vert="horz" wrap="square" lIns="91440" tIns="45720" rIns="91440" bIns="45720" numCol="1" anchor="t" anchorCtr="0" compatLnSpc="1">
                <a:prstTxWarp prst="textNoShape">
                  <a:avLst/>
                </a:prstTxWarp>
              </a:bodyPr>
              <a:lstStyle/>
              <a:p>
                <a:pPr algn="l" rtl="0" fontAlgn="base">
                  <a:spcBef>
                    <a:spcPct val="0"/>
                  </a:spcBef>
                  <a:spcAft>
                    <a:spcPct val="0"/>
                  </a:spcAft>
                </a:pPr>
                <a:endParaRPr lang="zh-CN" sz="1000" b="1">
                  <a:solidFill>
                    <a:srgbClr val="504C4C"/>
                  </a:solidFill>
                  <a:latin typeface="Arial" panose="020B0604020202020204" pitchFamily="34" charset="0"/>
                  <a:ea typeface="微软雅黑" panose="020B0503020204020204" pitchFamily="34" charset="-122"/>
                  <a:cs typeface="Arial" pitchFamily="34" charset="0"/>
                </a:endParaRPr>
              </a:p>
            </p:txBody>
          </p:sp>
          <p:sp>
            <p:nvSpPr>
              <p:cNvPr id="714" name="Line 186">
                <a:extLst>
                  <a:ext uri="{FF2B5EF4-FFF2-40B4-BE49-F238E27FC236}">
                    <a16:creationId xmlns:a16="http://schemas.microsoft.com/office/drawing/2014/main" id="{1D53DB36-DDC3-4C99-90F3-E8229E2A81AB}"/>
                  </a:ext>
                </a:extLst>
              </p:cNvPr>
              <p:cNvSpPr>
                <a:spLocks noChangeShapeType="1"/>
              </p:cNvSpPr>
              <p:nvPr/>
            </p:nvSpPr>
            <p:spPr bwMode="auto">
              <a:xfrm>
                <a:off x="4653224" y="4231716"/>
                <a:ext cx="57355" cy="0"/>
              </a:xfrm>
              <a:prstGeom prst="line">
                <a:avLst/>
              </a:prstGeom>
              <a:noFill/>
              <a:ln w="12700" cap="flat">
                <a:solidFill>
                  <a:srgbClr val="E9207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algn="l" rtl="0" fontAlgn="base">
                  <a:spcBef>
                    <a:spcPct val="0"/>
                  </a:spcBef>
                  <a:spcAft>
                    <a:spcPct val="0"/>
                  </a:spcAft>
                </a:pPr>
                <a:endParaRPr lang="zh-CN" sz="1000" b="1">
                  <a:solidFill>
                    <a:srgbClr val="504C4C"/>
                  </a:solidFill>
                  <a:latin typeface="Arial" panose="020B0604020202020204" pitchFamily="34" charset="0"/>
                  <a:ea typeface="微软雅黑" panose="020B0503020204020204" pitchFamily="34" charset="-122"/>
                  <a:cs typeface="Arial" pitchFamily="34" charset="0"/>
                </a:endParaRPr>
              </a:p>
            </p:txBody>
          </p:sp>
          <p:sp>
            <p:nvSpPr>
              <p:cNvPr id="715" name="Freeform 187">
                <a:extLst>
                  <a:ext uri="{FF2B5EF4-FFF2-40B4-BE49-F238E27FC236}">
                    <a16:creationId xmlns:a16="http://schemas.microsoft.com/office/drawing/2014/main" id="{6FB5B914-EBB1-45EB-AF4B-7BA2EB8ECC7B}"/>
                  </a:ext>
                </a:extLst>
              </p:cNvPr>
              <p:cNvSpPr>
                <a:spLocks/>
              </p:cNvSpPr>
              <p:nvPr/>
            </p:nvSpPr>
            <p:spPr bwMode="auto">
              <a:xfrm>
                <a:off x="4653224" y="4369643"/>
                <a:ext cx="57355" cy="0"/>
              </a:xfrm>
              <a:custGeom>
                <a:avLst/>
                <a:gdLst>
                  <a:gd name="T0" fmla="*/ 0 w 42"/>
                  <a:gd name="T1" fmla="*/ 42 w 42"/>
                  <a:gd name="T2" fmla="*/ 0 w 42"/>
                </a:gdLst>
                <a:ahLst/>
                <a:cxnLst>
                  <a:cxn ang="0">
                    <a:pos x="T0" y="0"/>
                  </a:cxn>
                  <a:cxn ang="0">
                    <a:pos x="T1" y="0"/>
                  </a:cxn>
                  <a:cxn ang="0">
                    <a:pos x="T2" y="0"/>
                  </a:cxn>
                </a:cxnLst>
                <a:rect l="0" t="0" r="r" b="b"/>
                <a:pathLst>
                  <a:path w="42">
                    <a:moveTo>
                      <a:pt x="0" y="0"/>
                    </a:moveTo>
                    <a:lnTo>
                      <a:pt x="42" y="0"/>
                    </a:lnTo>
                    <a:lnTo>
                      <a:pt x="0" y="0"/>
                    </a:lnTo>
                    <a:close/>
                  </a:path>
                </a:pathLst>
              </a:custGeom>
              <a:solidFill>
                <a:srgbClr val="00983A"/>
              </a:solidFill>
              <a:ln w="9525">
                <a:solidFill>
                  <a:srgbClr val="E92076"/>
                </a:solidFill>
                <a:round/>
                <a:headEnd/>
                <a:tailEnd/>
              </a:ln>
            </p:spPr>
            <p:txBody>
              <a:bodyPr vert="horz" wrap="square" lIns="91440" tIns="45720" rIns="91440" bIns="45720" numCol="1" anchor="t" anchorCtr="0" compatLnSpc="1">
                <a:prstTxWarp prst="textNoShape">
                  <a:avLst/>
                </a:prstTxWarp>
              </a:bodyPr>
              <a:lstStyle/>
              <a:p>
                <a:pPr algn="l" rtl="0" fontAlgn="base">
                  <a:spcBef>
                    <a:spcPct val="0"/>
                  </a:spcBef>
                  <a:spcAft>
                    <a:spcPct val="0"/>
                  </a:spcAft>
                </a:pPr>
                <a:endParaRPr lang="zh-CN" sz="1000" b="1">
                  <a:solidFill>
                    <a:srgbClr val="504C4C"/>
                  </a:solidFill>
                  <a:latin typeface="Arial" panose="020B0604020202020204" pitchFamily="34" charset="0"/>
                  <a:ea typeface="微软雅黑" panose="020B0503020204020204" pitchFamily="34" charset="-122"/>
                  <a:cs typeface="Arial" pitchFamily="34" charset="0"/>
                </a:endParaRPr>
              </a:p>
            </p:txBody>
          </p:sp>
          <p:sp>
            <p:nvSpPr>
              <p:cNvPr id="716" name="Line 188">
                <a:extLst>
                  <a:ext uri="{FF2B5EF4-FFF2-40B4-BE49-F238E27FC236}">
                    <a16:creationId xmlns:a16="http://schemas.microsoft.com/office/drawing/2014/main" id="{5004FA43-4DDC-4087-9163-56E5D6CE9EBB}"/>
                  </a:ext>
                </a:extLst>
              </p:cNvPr>
              <p:cNvSpPr>
                <a:spLocks noChangeShapeType="1"/>
              </p:cNvSpPr>
              <p:nvPr/>
            </p:nvSpPr>
            <p:spPr bwMode="auto">
              <a:xfrm>
                <a:off x="4653224" y="4369643"/>
                <a:ext cx="57355" cy="0"/>
              </a:xfrm>
              <a:prstGeom prst="line">
                <a:avLst/>
              </a:prstGeom>
              <a:noFill/>
              <a:ln w="12700" cap="flat">
                <a:solidFill>
                  <a:srgbClr val="E9207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algn="l" rtl="0" fontAlgn="base">
                  <a:spcBef>
                    <a:spcPct val="0"/>
                  </a:spcBef>
                  <a:spcAft>
                    <a:spcPct val="0"/>
                  </a:spcAft>
                </a:pPr>
                <a:endParaRPr lang="zh-CN" sz="1000" b="1">
                  <a:solidFill>
                    <a:srgbClr val="504C4C"/>
                  </a:solidFill>
                  <a:latin typeface="Arial" panose="020B0604020202020204" pitchFamily="34" charset="0"/>
                  <a:ea typeface="微软雅黑" panose="020B0503020204020204" pitchFamily="34" charset="-122"/>
                  <a:cs typeface="Arial" pitchFamily="34" charset="0"/>
                </a:endParaRPr>
              </a:p>
            </p:txBody>
          </p:sp>
          <p:sp>
            <p:nvSpPr>
              <p:cNvPr id="717" name="Freeform 189">
                <a:extLst>
                  <a:ext uri="{FF2B5EF4-FFF2-40B4-BE49-F238E27FC236}">
                    <a16:creationId xmlns:a16="http://schemas.microsoft.com/office/drawing/2014/main" id="{9117C49E-9DA6-4AB5-B925-1A02AA810774}"/>
                  </a:ext>
                </a:extLst>
              </p:cNvPr>
              <p:cNvSpPr>
                <a:spLocks/>
              </p:cNvSpPr>
              <p:nvPr/>
            </p:nvSpPr>
            <p:spPr bwMode="auto">
              <a:xfrm>
                <a:off x="5407039" y="4237179"/>
                <a:ext cx="0" cy="143389"/>
              </a:xfrm>
              <a:custGeom>
                <a:avLst/>
                <a:gdLst>
                  <a:gd name="T0" fmla="*/ 105 h 105"/>
                  <a:gd name="T1" fmla="*/ 0 h 105"/>
                  <a:gd name="T2" fmla="*/ 105 h 105"/>
                </a:gdLst>
                <a:ahLst/>
                <a:cxnLst>
                  <a:cxn ang="0">
                    <a:pos x="0" y="T0"/>
                  </a:cxn>
                  <a:cxn ang="0">
                    <a:pos x="0" y="T1"/>
                  </a:cxn>
                  <a:cxn ang="0">
                    <a:pos x="0" y="T2"/>
                  </a:cxn>
                </a:cxnLst>
                <a:rect l="0" t="0" r="r" b="b"/>
                <a:pathLst>
                  <a:path h="105">
                    <a:moveTo>
                      <a:pt x="0" y="105"/>
                    </a:moveTo>
                    <a:lnTo>
                      <a:pt x="0" y="0"/>
                    </a:lnTo>
                    <a:lnTo>
                      <a:pt x="0" y="105"/>
                    </a:lnTo>
                    <a:close/>
                  </a:path>
                </a:pathLst>
              </a:custGeom>
              <a:solidFill>
                <a:srgbClr val="00983A"/>
              </a:solidFill>
              <a:ln w="9525">
                <a:solidFill>
                  <a:srgbClr val="E92076"/>
                </a:solidFill>
                <a:round/>
                <a:headEnd/>
                <a:tailEnd/>
              </a:ln>
            </p:spPr>
            <p:txBody>
              <a:bodyPr vert="horz" wrap="square" lIns="91440" tIns="45720" rIns="91440" bIns="45720" numCol="1" anchor="t" anchorCtr="0" compatLnSpc="1">
                <a:prstTxWarp prst="textNoShape">
                  <a:avLst/>
                </a:prstTxWarp>
              </a:bodyPr>
              <a:lstStyle/>
              <a:p>
                <a:pPr algn="l" rtl="0" fontAlgn="base">
                  <a:spcBef>
                    <a:spcPct val="0"/>
                  </a:spcBef>
                  <a:spcAft>
                    <a:spcPct val="0"/>
                  </a:spcAft>
                </a:pPr>
                <a:endParaRPr lang="zh-CN" sz="1000" b="1">
                  <a:solidFill>
                    <a:srgbClr val="504C4C"/>
                  </a:solidFill>
                  <a:latin typeface="Arial" panose="020B0604020202020204" pitchFamily="34" charset="0"/>
                  <a:ea typeface="微软雅黑" panose="020B0503020204020204" pitchFamily="34" charset="-122"/>
                  <a:cs typeface="Arial" pitchFamily="34" charset="0"/>
                </a:endParaRPr>
              </a:p>
            </p:txBody>
          </p:sp>
          <p:sp>
            <p:nvSpPr>
              <p:cNvPr id="718" name="Line 190">
                <a:extLst>
                  <a:ext uri="{FF2B5EF4-FFF2-40B4-BE49-F238E27FC236}">
                    <a16:creationId xmlns:a16="http://schemas.microsoft.com/office/drawing/2014/main" id="{93839069-4067-442B-B291-89F4598FCDA3}"/>
                  </a:ext>
                </a:extLst>
              </p:cNvPr>
              <p:cNvSpPr>
                <a:spLocks noChangeShapeType="1"/>
              </p:cNvSpPr>
              <p:nvPr/>
            </p:nvSpPr>
            <p:spPr bwMode="auto">
              <a:xfrm flipV="1">
                <a:off x="5407039" y="4237179"/>
                <a:ext cx="0" cy="143389"/>
              </a:xfrm>
              <a:prstGeom prst="line">
                <a:avLst/>
              </a:prstGeom>
              <a:noFill/>
              <a:ln w="12700" cap="flat">
                <a:solidFill>
                  <a:srgbClr val="E9207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algn="l" rtl="0" fontAlgn="base">
                  <a:spcBef>
                    <a:spcPct val="0"/>
                  </a:spcBef>
                  <a:spcAft>
                    <a:spcPct val="0"/>
                  </a:spcAft>
                </a:pPr>
                <a:endParaRPr lang="zh-CN" sz="1000" b="1">
                  <a:solidFill>
                    <a:srgbClr val="504C4C"/>
                  </a:solidFill>
                  <a:latin typeface="Arial" panose="020B0604020202020204" pitchFamily="34" charset="0"/>
                  <a:ea typeface="微软雅黑" panose="020B0503020204020204" pitchFamily="34" charset="-122"/>
                  <a:cs typeface="Arial" pitchFamily="34" charset="0"/>
                </a:endParaRPr>
              </a:p>
            </p:txBody>
          </p:sp>
          <p:sp>
            <p:nvSpPr>
              <p:cNvPr id="719" name="Freeform 191">
                <a:extLst>
                  <a:ext uri="{FF2B5EF4-FFF2-40B4-BE49-F238E27FC236}">
                    <a16:creationId xmlns:a16="http://schemas.microsoft.com/office/drawing/2014/main" id="{6AB309B8-AC4B-492B-A014-63B10D479FF4}"/>
                  </a:ext>
                </a:extLst>
              </p:cNvPr>
              <p:cNvSpPr>
                <a:spLocks/>
              </p:cNvSpPr>
              <p:nvPr/>
            </p:nvSpPr>
            <p:spPr bwMode="auto">
              <a:xfrm>
                <a:off x="5376995" y="4237179"/>
                <a:ext cx="60087" cy="0"/>
              </a:xfrm>
              <a:custGeom>
                <a:avLst/>
                <a:gdLst>
                  <a:gd name="T0" fmla="*/ 0 w 44"/>
                  <a:gd name="T1" fmla="*/ 44 w 44"/>
                  <a:gd name="T2" fmla="*/ 0 w 44"/>
                </a:gdLst>
                <a:ahLst/>
                <a:cxnLst>
                  <a:cxn ang="0">
                    <a:pos x="T0" y="0"/>
                  </a:cxn>
                  <a:cxn ang="0">
                    <a:pos x="T1" y="0"/>
                  </a:cxn>
                  <a:cxn ang="0">
                    <a:pos x="T2" y="0"/>
                  </a:cxn>
                </a:cxnLst>
                <a:rect l="0" t="0" r="r" b="b"/>
                <a:pathLst>
                  <a:path w="44">
                    <a:moveTo>
                      <a:pt x="0" y="0"/>
                    </a:moveTo>
                    <a:lnTo>
                      <a:pt x="44" y="0"/>
                    </a:lnTo>
                    <a:lnTo>
                      <a:pt x="0" y="0"/>
                    </a:lnTo>
                    <a:close/>
                  </a:path>
                </a:pathLst>
              </a:custGeom>
              <a:solidFill>
                <a:srgbClr val="00983A"/>
              </a:solidFill>
              <a:ln w="9525">
                <a:solidFill>
                  <a:srgbClr val="E92076"/>
                </a:solidFill>
                <a:round/>
                <a:headEnd/>
                <a:tailEnd/>
              </a:ln>
            </p:spPr>
            <p:txBody>
              <a:bodyPr vert="horz" wrap="square" lIns="91440" tIns="45720" rIns="91440" bIns="45720" numCol="1" anchor="t" anchorCtr="0" compatLnSpc="1">
                <a:prstTxWarp prst="textNoShape">
                  <a:avLst/>
                </a:prstTxWarp>
              </a:bodyPr>
              <a:lstStyle/>
              <a:p>
                <a:pPr algn="l" rtl="0" fontAlgn="base">
                  <a:spcBef>
                    <a:spcPct val="0"/>
                  </a:spcBef>
                  <a:spcAft>
                    <a:spcPct val="0"/>
                  </a:spcAft>
                </a:pPr>
                <a:endParaRPr lang="zh-CN" sz="1000" b="1">
                  <a:solidFill>
                    <a:srgbClr val="504C4C"/>
                  </a:solidFill>
                  <a:latin typeface="Arial" panose="020B0604020202020204" pitchFamily="34" charset="0"/>
                  <a:ea typeface="微软雅黑" panose="020B0503020204020204" pitchFamily="34" charset="-122"/>
                  <a:cs typeface="Arial" pitchFamily="34" charset="0"/>
                </a:endParaRPr>
              </a:p>
            </p:txBody>
          </p:sp>
          <p:sp>
            <p:nvSpPr>
              <p:cNvPr id="720" name="Line 192">
                <a:extLst>
                  <a:ext uri="{FF2B5EF4-FFF2-40B4-BE49-F238E27FC236}">
                    <a16:creationId xmlns:a16="http://schemas.microsoft.com/office/drawing/2014/main" id="{360CF9CF-602C-4B09-9006-236E8C120847}"/>
                  </a:ext>
                </a:extLst>
              </p:cNvPr>
              <p:cNvSpPr>
                <a:spLocks noChangeShapeType="1"/>
              </p:cNvSpPr>
              <p:nvPr/>
            </p:nvSpPr>
            <p:spPr bwMode="auto">
              <a:xfrm>
                <a:off x="5376995" y="4237179"/>
                <a:ext cx="60087" cy="0"/>
              </a:xfrm>
              <a:prstGeom prst="line">
                <a:avLst/>
              </a:prstGeom>
              <a:noFill/>
              <a:ln w="12700" cap="flat">
                <a:solidFill>
                  <a:srgbClr val="E9207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algn="l" rtl="0" fontAlgn="base">
                  <a:spcBef>
                    <a:spcPct val="0"/>
                  </a:spcBef>
                  <a:spcAft>
                    <a:spcPct val="0"/>
                  </a:spcAft>
                </a:pPr>
                <a:endParaRPr lang="zh-CN" sz="1000" b="1">
                  <a:solidFill>
                    <a:srgbClr val="504C4C"/>
                  </a:solidFill>
                  <a:latin typeface="Arial" panose="020B0604020202020204" pitchFamily="34" charset="0"/>
                  <a:ea typeface="微软雅黑" panose="020B0503020204020204" pitchFamily="34" charset="-122"/>
                  <a:cs typeface="Arial" pitchFamily="34" charset="0"/>
                </a:endParaRPr>
              </a:p>
            </p:txBody>
          </p:sp>
          <p:sp>
            <p:nvSpPr>
              <p:cNvPr id="721" name="Freeform 193">
                <a:extLst>
                  <a:ext uri="{FF2B5EF4-FFF2-40B4-BE49-F238E27FC236}">
                    <a16:creationId xmlns:a16="http://schemas.microsoft.com/office/drawing/2014/main" id="{C8ED2FF8-7886-474B-BCE2-582DB091D492}"/>
                  </a:ext>
                </a:extLst>
              </p:cNvPr>
              <p:cNvSpPr>
                <a:spLocks/>
              </p:cNvSpPr>
              <p:nvPr/>
            </p:nvSpPr>
            <p:spPr bwMode="auto">
              <a:xfrm>
                <a:off x="5376995" y="4380568"/>
                <a:ext cx="60087" cy="0"/>
              </a:xfrm>
              <a:custGeom>
                <a:avLst/>
                <a:gdLst>
                  <a:gd name="T0" fmla="*/ 0 w 44"/>
                  <a:gd name="T1" fmla="*/ 44 w 44"/>
                  <a:gd name="T2" fmla="*/ 0 w 44"/>
                </a:gdLst>
                <a:ahLst/>
                <a:cxnLst>
                  <a:cxn ang="0">
                    <a:pos x="T0" y="0"/>
                  </a:cxn>
                  <a:cxn ang="0">
                    <a:pos x="T1" y="0"/>
                  </a:cxn>
                  <a:cxn ang="0">
                    <a:pos x="T2" y="0"/>
                  </a:cxn>
                </a:cxnLst>
                <a:rect l="0" t="0" r="r" b="b"/>
                <a:pathLst>
                  <a:path w="44">
                    <a:moveTo>
                      <a:pt x="0" y="0"/>
                    </a:moveTo>
                    <a:lnTo>
                      <a:pt x="44" y="0"/>
                    </a:lnTo>
                    <a:lnTo>
                      <a:pt x="0" y="0"/>
                    </a:lnTo>
                    <a:close/>
                  </a:path>
                </a:pathLst>
              </a:custGeom>
              <a:solidFill>
                <a:srgbClr val="00983A"/>
              </a:solidFill>
              <a:ln w="9525">
                <a:solidFill>
                  <a:srgbClr val="E92076"/>
                </a:solidFill>
                <a:round/>
                <a:headEnd/>
                <a:tailEnd/>
              </a:ln>
            </p:spPr>
            <p:txBody>
              <a:bodyPr vert="horz" wrap="square" lIns="91440" tIns="45720" rIns="91440" bIns="45720" numCol="1" anchor="t" anchorCtr="0" compatLnSpc="1">
                <a:prstTxWarp prst="textNoShape">
                  <a:avLst/>
                </a:prstTxWarp>
              </a:bodyPr>
              <a:lstStyle/>
              <a:p>
                <a:pPr algn="l" rtl="0" fontAlgn="base">
                  <a:spcBef>
                    <a:spcPct val="0"/>
                  </a:spcBef>
                  <a:spcAft>
                    <a:spcPct val="0"/>
                  </a:spcAft>
                </a:pPr>
                <a:endParaRPr lang="zh-CN" sz="1000" b="1">
                  <a:solidFill>
                    <a:srgbClr val="504C4C"/>
                  </a:solidFill>
                  <a:latin typeface="Arial" panose="020B0604020202020204" pitchFamily="34" charset="0"/>
                  <a:ea typeface="微软雅黑" panose="020B0503020204020204" pitchFamily="34" charset="-122"/>
                  <a:cs typeface="Arial" pitchFamily="34" charset="0"/>
                </a:endParaRPr>
              </a:p>
            </p:txBody>
          </p:sp>
          <p:sp>
            <p:nvSpPr>
              <p:cNvPr id="722" name="Line 194">
                <a:extLst>
                  <a:ext uri="{FF2B5EF4-FFF2-40B4-BE49-F238E27FC236}">
                    <a16:creationId xmlns:a16="http://schemas.microsoft.com/office/drawing/2014/main" id="{AC245B0C-823E-4AC4-BDB5-3FDBA9C3439C}"/>
                  </a:ext>
                </a:extLst>
              </p:cNvPr>
              <p:cNvSpPr>
                <a:spLocks noChangeShapeType="1"/>
              </p:cNvSpPr>
              <p:nvPr/>
            </p:nvSpPr>
            <p:spPr bwMode="auto">
              <a:xfrm>
                <a:off x="5376995" y="4380568"/>
                <a:ext cx="60087" cy="0"/>
              </a:xfrm>
              <a:prstGeom prst="line">
                <a:avLst/>
              </a:prstGeom>
              <a:noFill/>
              <a:ln w="12700" cap="flat">
                <a:solidFill>
                  <a:srgbClr val="E9207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algn="l" rtl="0" fontAlgn="base">
                  <a:spcBef>
                    <a:spcPct val="0"/>
                  </a:spcBef>
                  <a:spcAft>
                    <a:spcPct val="0"/>
                  </a:spcAft>
                </a:pPr>
                <a:endParaRPr lang="zh-CN" sz="1000" b="1">
                  <a:solidFill>
                    <a:srgbClr val="504C4C"/>
                  </a:solidFill>
                  <a:latin typeface="Arial" panose="020B0604020202020204" pitchFamily="34" charset="0"/>
                  <a:ea typeface="微软雅黑" panose="020B0503020204020204" pitchFamily="34" charset="-122"/>
                  <a:cs typeface="Arial" pitchFamily="34" charset="0"/>
                </a:endParaRPr>
              </a:p>
            </p:txBody>
          </p:sp>
          <p:sp>
            <p:nvSpPr>
              <p:cNvPr id="723" name="Freeform 195">
                <a:extLst>
                  <a:ext uri="{FF2B5EF4-FFF2-40B4-BE49-F238E27FC236}">
                    <a16:creationId xmlns:a16="http://schemas.microsoft.com/office/drawing/2014/main" id="{42B55CDB-CCF6-4B6B-A331-CB3AB860991A}"/>
                  </a:ext>
                </a:extLst>
              </p:cNvPr>
              <p:cNvSpPr>
                <a:spLocks/>
              </p:cNvSpPr>
              <p:nvPr/>
            </p:nvSpPr>
            <p:spPr bwMode="auto">
              <a:xfrm>
                <a:off x="6133541" y="4278147"/>
                <a:ext cx="0" cy="121539"/>
              </a:xfrm>
              <a:custGeom>
                <a:avLst/>
                <a:gdLst>
                  <a:gd name="T0" fmla="*/ 89 h 89"/>
                  <a:gd name="T1" fmla="*/ 0 h 89"/>
                  <a:gd name="T2" fmla="*/ 89 h 89"/>
                </a:gdLst>
                <a:ahLst/>
                <a:cxnLst>
                  <a:cxn ang="0">
                    <a:pos x="0" y="T0"/>
                  </a:cxn>
                  <a:cxn ang="0">
                    <a:pos x="0" y="T1"/>
                  </a:cxn>
                  <a:cxn ang="0">
                    <a:pos x="0" y="T2"/>
                  </a:cxn>
                </a:cxnLst>
                <a:rect l="0" t="0" r="r" b="b"/>
                <a:pathLst>
                  <a:path h="89">
                    <a:moveTo>
                      <a:pt x="0" y="89"/>
                    </a:moveTo>
                    <a:lnTo>
                      <a:pt x="0" y="0"/>
                    </a:lnTo>
                    <a:lnTo>
                      <a:pt x="0" y="89"/>
                    </a:lnTo>
                    <a:close/>
                  </a:path>
                </a:pathLst>
              </a:custGeom>
              <a:solidFill>
                <a:srgbClr val="00983A"/>
              </a:solidFill>
              <a:ln w="9525">
                <a:solidFill>
                  <a:srgbClr val="E92076"/>
                </a:solidFill>
                <a:round/>
                <a:headEnd/>
                <a:tailEnd/>
              </a:ln>
            </p:spPr>
            <p:txBody>
              <a:bodyPr vert="horz" wrap="square" lIns="91440" tIns="45720" rIns="91440" bIns="45720" numCol="1" anchor="t" anchorCtr="0" compatLnSpc="1">
                <a:prstTxWarp prst="textNoShape">
                  <a:avLst/>
                </a:prstTxWarp>
              </a:bodyPr>
              <a:lstStyle/>
              <a:p>
                <a:pPr algn="l" rtl="0" fontAlgn="base">
                  <a:spcBef>
                    <a:spcPct val="0"/>
                  </a:spcBef>
                  <a:spcAft>
                    <a:spcPct val="0"/>
                  </a:spcAft>
                </a:pPr>
                <a:endParaRPr lang="zh-CN" sz="1000" b="1">
                  <a:solidFill>
                    <a:srgbClr val="504C4C"/>
                  </a:solidFill>
                  <a:latin typeface="Arial" panose="020B0604020202020204" pitchFamily="34" charset="0"/>
                  <a:ea typeface="微软雅黑" panose="020B0503020204020204" pitchFamily="34" charset="-122"/>
                  <a:cs typeface="Arial" pitchFamily="34" charset="0"/>
                </a:endParaRPr>
              </a:p>
            </p:txBody>
          </p:sp>
          <p:sp>
            <p:nvSpPr>
              <p:cNvPr id="724" name="Line 196">
                <a:extLst>
                  <a:ext uri="{FF2B5EF4-FFF2-40B4-BE49-F238E27FC236}">
                    <a16:creationId xmlns:a16="http://schemas.microsoft.com/office/drawing/2014/main" id="{4C6B7607-2FB7-492C-89A5-0B86B1113488}"/>
                  </a:ext>
                </a:extLst>
              </p:cNvPr>
              <p:cNvSpPr>
                <a:spLocks noChangeShapeType="1"/>
              </p:cNvSpPr>
              <p:nvPr/>
            </p:nvSpPr>
            <p:spPr bwMode="auto">
              <a:xfrm flipV="1">
                <a:off x="6133541" y="4278147"/>
                <a:ext cx="0" cy="121539"/>
              </a:xfrm>
              <a:prstGeom prst="line">
                <a:avLst/>
              </a:prstGeom>
              <a:noFill/>
              <a:ln w="12700" cap="flat">
                <a:solidFill>
                  <a:srgbClr val="E9207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algn="l" rtl="0" fontAlgn="base">
                  <a:spcBef>
                    <a:spcPct val="0"/>
                  </a:spcBef>
                  <a:spcAft>
                    <a:spcPct val="0"/>
                  </a:spcAft>
                </a:pPr>
                <a:endParaRPr lang="zh-CN" sz="1000" b="1">
                  <a:solidFill>
                    <a:srgbClr val="504C4C"/>
                  </a:solidFill>
                  <a:latin typeface="Arial" panose="020B0604020202020204" pitchFamily="34" charset="0"/>
                  <a:ea typeface="微软雅黑" panose="020B0503020204020204" pitchFamily="34" charset="-122"/>
                  <a:cs typeface="Arial" pitchFamily="34" charset="0"/>
                </a:endParaRPr>
              </a:p>
            </p:txBody>
          </p:sp>
          <p:sp>
            <p:nvSpPr>
              <p:cNvPr id="725" name="Freeform 197">
                <a:extLst>
                  <a:ext uri="{FF2B5EF4-FFF2-40B4-BE49-F238E27FC236}">
                    <a16:creationId xmlns:a16="http://schemas.microsoft.com/office/drawing/2014/main" id="{3438A271-585B-430F-AB84-175C75FF8078}"/>
                  </a:ext>
                </a:extLst>
              </p:cNvPr>
              <p:cNvSpPr>
                <a:spLocks/>
              </p:cNvSpPr>
              <p:nvPr/>
            </p:nvSpPr>
            <p:spPr bwMode="auto">
              <a:xfrm>
                <a:off x="6103498" y="4278147"/>
                <a:ext cx="57355" cy="0"/>
              </a:xfrm>
              <a:custGeom>
                <a:avLst/>
                <a:gdLst>
                  <a:gd name="T0" fmla="*/ 0 w 42"/>
                  <a:gd name="T1" fmla="*/ 42 w 42"/>
                  <a:gd name="T2" fmla="*/ 0 w 42"/>
                </a:gdLst>
                <a:ahLst/>
                <a:cxnLst>
                  <a:cxn ang="0">
                    <a:pos x="T0" y="0"/>
                  </a:cxn>
                  <a:cxn ang="0">
                    <a:pos x="T1" y="0"/>
                  </a:cxn>
                  <a:cxn ang="0">
                    <a:pos x="T2" y="0"/>
                  </a:cxn>
                </a:cxnLst>
                <a:rect l="0" t="0" r="r" b="b"/>
                <a:pathLst>
                  <a:path w="42">
                    <a:moveTo>
                      <a:pt x="0" y="0"/>
                    </a:moveTo>
                    <a:lnTo>
                      <a:pt x="42" y="0"/>
                    </a:lnTo>
                    <a:lnTo>
                      <a:pt x="0" y="0"/>
                    </a:lnTo>
                    <a:close/>
                  </a:path>
                </a:pathLst>
              </a:custGeom>
              <a:solidFill>
                <a:srgbClr val="00983A"/>
              </a:solidFill>
              <a:ln w="9525">
                <a:solidFill>
                  <a:srgbClr val="E92076"/>
                </a:solidFill>
                <a:round/>
                <a:headEnd/>
                <a:tailEnd/>
              </a:ln>
            </p:spPr>
            <p:txBody>
              <a:bodyPr vert="horz" wrap="square" lIns="91440" tIns="45720" rIns="91440" bIns="45720" numCol="1" anchor="t" anchorCtr="0" compatLnSpc="1">
                <a:prstTxWarp prst="textNoShape">
                  <a:avLst/>
                </a:prstTxWarp>
              </a:bodyPr>
              <a:lstStyle/>
              <a:p>
                <a:pPr algn="l" rtl="0" fontAlgn="base">
                  <a:spcBef>
                    <a:spcPct val="0"/>
                  </a:spcBef>
                  <a:spcAft>
                    <a:spcPct val="0"/>
                  </a:spcAft>
                </a:pPr>
                <a:endParaRPr lang="zh-CN" sz="1000" b="1">
                  <a:solidFill>
                    <a:srgbClr val="504C4C"/>
                  </a:solidFill>
                  <a:latin typeface="Arial" panose="020B0604020202020204" pitchFamily="34" charset="0"/>
                  <a:ea typeface="微软雅黑" panose="020B0503020204020204" pitchFamily="34" charset="-122"/>
                  <a:cs typeface="Arial" pitchFamily="34" charset="0"/>
                </a:endParaRPr>
              </a:p>
            </p:txBody>
          </p:sp>
          <p:sp>
            <p:nvSpPr>
              <p:cNvPr id="726" name="Line 198">
                <a:extLst>
                  <a:ext uri="{FF2B5EF4-FFF2-40B4-BE49-F238E27FC236}">
                    <a16:creationId xmlns:a16="http://schemas.microsoft.com/office/drawing/2014/main" id="{5D7D22E2-67CC-47C8-BD77-8D013418152F}"/>
                  </a:ext>
                </a:extLst>
              </p:cNvPr>
              <p:cNvSpPr>
                <a:spLocks noChangeShapeType="1"/>
              </p:cNvSpPr>
              <p:nvPr/>
            </p:nvSpPr>
            <p:spPr bwMode="auto">
              <a:xfrm>
                <a:off x="6103498" y="4278147"/>
                <a:ext cx="57355" cy="0"/>
              </a:xfrm>
              <a:prstGeom prst="line">
                <a:avLst/>
              </a:prstGeom>
              <a:noFill/>
              <a:ln w="12700" cap="flat">
                <a:solidFill>
                  <a:srgbClr val="E9207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algn="l" rtl="0" fontAlgn="base">
                  <a:spcBef>
                    <a:spcPct val="0"/>
                  </a:spcBef>
                  <a:spcAft>
                    <a:spcPct val="0"/>
                  </a:spcAft>
                </a:pPr>
                <a:endParaRPr lang="zh-CN" sz="1000" b="1">
                  <a:solidFill>
                    <a:srgbClr val="504C4C"/>
                  </a:solidFill>
                  <a:latin typeface="Arial" panose="020B0604020202020204" pitchFamily="34" charset="0"/>
                  <a:ea typeface="微软雅黑" panose="020B0503020204020204" pitchFamily="34" charset="-122"/>
                  <a:cs typeface="Arial" pitchFamily="34" charset="0"/>
                </a:endParaRPr>
              </a:p>
            </p:txBody>
          </p:sp>
          <p:sp>
            <p:nvSpPr>
              <p:cNvPr id="727" name="Freeform 199">
                <a:extLst>
                  <a:ext uri="{FF2B5EF4-FFF2-40B4-BE49-F238E27FC236}">
                    <a16:creationId xmlns:a16="http://schemas.microsoft.com/office/drawing/2014/main" id="{AB3E0991-0408-41D6-9F89-017F6D12B601}"/>
                  </a:ext>
                </a:extLst>
              </p:cNvPr>
              <p:cNvSpPr>
                <a:spLocks/>
              </p:cNvSpPr>
              <p:nvPr/>
            </p:nvSpPr>
            <p:spPr bwMode="auto">
              <a:xfrm>
                <a:off x="6103498" y="4399687"/>
                <a:ext cx="57355" cy="0"/>
              </a:xfrm>
              <a:custGeom>
                <a:avLst/>
                <a:gdLst>
                  <a:gd name="T0" fmla="*/ 0 w 42"/>
                  <a:gd name="T1" fmla="*/ 42 w 42"/>
                  <a:gd name="T2" fmla="*/ 0 w 42"/>
                </a:gdLst>
                <a:ahLst/>
                <a:cxnLst>
                  <a:cxn ang="0">
                    <a:pos x="T0" y="0"/>
                  </a:cxn>
                  <a:cxn ang="0">
                    <a:pos x="T1" y="0"/>
                  </a:cxn>
                  <a:cxn ang="0">
                    <a:pos x="T2" y="0"/>
                  </a:cxn>
                </a:cxnLst>
                <a:rect l="0" t="0" r="r" b="b"/>
                <a:pathLst>
                  <a:path w="42">
                    <a:moveTo>
                      <a:pt x="0" y="0"/>
                    </a:moveTo>
                    <a:lnTo>
                      <a:pt x="42" y="0"/>
                    </a:lnTo>
                    <a:lnTo>
                      <a:pt x="0" y="0"/>
                    </a:lnTo>
                    <a:close/>
                  </a:path>
                </a:pathLst>
              </a:custGeom>
              <a:solidFill>
                <a:srgbClr val="00983A"/>
              </a:solidFill>
              <a:ln w="9525">
                <a:solidFill>
                  <a:srgbClr val="E92076"/>
                </a:solidFill>
                <a:round/>
                <a:headEnd/>
                <a:tailEnd/>
              </a:ln>
            </p:spPr>
            <p:txBody>
              <a:bodyPr vert="horz" wrap="square" lIns="91440" tIns="45720" rIns="91440" bIns="45720" numCol="1" anchor="t" anchorCtr="0" compatLnSpc="1">
                <a:prstTxWarp prst="textNoShape">
                  <a:avLst/>
                </a:prstTxWarp>
              </a:bodyPr>
              <a:lstStyle/>
              <a:p>
                <a:pPr algn="l" rtl="0" fontAlgn="base">
                  <a:spcBef>
                    <a:spcPct val="0"/>
                  </a:spcBef>
                  <a:spcAft>
                    <a:spcPct val="0"/>
                  </a:spcAft>
                </a:pPr>
                <a:endParaRPr lang="zh-CN" sz="1000" b="1">
                  <a:solidFill>
                    <a:srgbClr val="504C4C"/>
                  </a:solidFill>
                  <a:latin typeface="Arial" panose="020B0604020202020204" pitchFamily="34" charset="0"/>
                  <a:ea typeface="微软雅黑" panose="020B0503020204020204" pitchFamily="34" charset="-122"/>
                  <a:cs typeface="Arial" pitchFamily="34" charset="0"/>
                </a:endParaRPr>
              </a:p>
            </p:txBody>
          </p:sp>
          <p:sp>
            <p:nvSpPr>
              <p:cNvPr id="728" name="Line 200">
                <a:extLst>
                  <a:ext uri="{FF2B5EF4-FFF2-40B4-BE49-F238E27FC236}">
                    <a16:creationId xmlns:a16="http://schemas.microsoft.com/office/drawing/2014/main" id="{5035879E-7B8E-4597-BCE3-76994CD8C789}"/>
                  </a:ext>
                </a:extLst>
              </p:cNvPr>
              <p:cNvSpPr>
                <a:spLocks noChangeShapeType="1"/>
              </p:cNvSpPr>
              <p:nvPr/>
            </p:nvSpPr>
            <p:spPr bwMode="auto">
              <a:xfrm>
                <a:off x="6103498" y="4399687"/>
                <a:ext cx="57355" cy="0"/>
              </a:xfrm>
              <a:prstGeom prst="line">
                <a:avLst/>
              </a:prstGeom>
              <a:noFill/>
              <a:ln w="12700" cap="flat">
                <a:solidFill>
                  <a:srgbClr val="E9207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algn="l" rtl="0" fontAlgn="base">
                  <a:spcBef>
                    <a:spcPct val="0"/>
                  </a:spcBef>
                  <a:spcAft>
                    <a:spcPct val="0"/>
                  </a:spcAft>
                </a:pPr>
                <a:endParaRPr lang="zh-CN" sz="1000" b="1">
                  <a:solidFill>
                    <a:srgbClr val="504C4C"/>
                  </a:solidFill>
                  <a:latin typeface="Arial" panose="020B0604020202020204" pitchFamily="34" charset="0"/>
                  <a:ea typeface="微软雅黑" panose="020B0503020204020204" pitchFamily="34" charset="-122"/>
                  <a:cs typeface="Arial" pitchFamily="34" charset="0"/>
                </a:endParaRPr>
              </a:p>
            </p:txBody>
          </p:sp>
          <p:sp>
            <p:nvSpPr>
              <p:cNvPr id="729" name="Freeform 407">
                <a:extLst>
                  <a:ext uri="{FF2B5EF4-FFF2-40B4-BE49-F238E27FC236}">
                    <a16:creationId xmlns:a16="http://schemas.microsoft.com/office/drawing/2014/main" id="{1D77D9BF-5FDB-4212-A2AA-E19FD92A61C8}"/>
                  </a:ext>
                </a:extLst>
              </p:cNvPr>
              <p:cNvSpPr>
                <a:spLocks/>
              </p:cNvSpPr>
              <p:nvPr/>
            </p:nvSpPr>
            <p:spPr bwMode="auto">
              <a:xfrm>
                <a:off x="1778623" y="4056919"/>
                <a:ext cx="0" cy="84668"/>
              </a:xfrm>
              <a:custGeom>
                <a:avLst/>
                <a:gdLst>
                  <a:gd name="T0" fmla="*/ 62 h 62"/>
                  <a:gd name="T1" fmla="*/ 0 h 62"/>
                  <a:gd name="T2" fmla="*/ 62 h 62"/>
                </a:gdLst>
                <a:ahLst/>
                <a:cxnLst>
                  <a:cxn ang="0">
                    <a:pos x="0" y="T0"/>
                  </a:cxn>
                  <a:cxn ang="0">
                    <a:pos x="0" y="T1"/>
                  </a:cxn>
                  <a:cxn ang="0">
                    <a:pos x="0" y="T2"/>
                  </a:cxn>
                </a:cxnLst>
                <a:rect l="0" t="0" r="r" b="b"/>
                <a:pathLst>
                  <a:path h="62">
                    <a:moveTo>
                      <a:pt x="0" y="62"/>
                    </a:moveTo>
                    <a:lnTo>
                      <a:pt x="0" y="0"/>
                    </a:lnTo>
                    <a:lnTo>
                      <a:pt x="0" y="62"/>
                    </a:lnTo>
                    <a:close/>
                  </a:path>
                </a:pathLst>
              </a:custGeom>
              <a:solidFill>
                <a:srgbClr val="00983A"/>
              </a:solidFill>
              <a:ln w="9525">
                <a:solidFill>
                  <a:srgbClr val="E92076"/>
                </a:solidFill>
                <a:round/>
                <a:headEnd/>
                <a:tailEnd/>
              </a:ln>
            </p:spPr>
            <p:txBody>
              <a:bodyPr vert="horz" wrap="square" lIns="91440" tIns="45720" rIns="91440" bIns="45720" numCol="1" anchor="t" anchorCtr="0" compatLnSpc="1">
                <a:prstTxWarp prst="textNoShape">
                  <a:avLst/>
                </a:prstTxWarp>
              </a:bodyPr>
              <a:lstStyle/>
              <a:p>
                <a:pPr algn="l" rtl="0" fontAlgn="base">
                  <a:spcBef>
                    <a:spcPct val="0"/>
                  </a:spcBef>
                  <a:spcAft>
                    <a:spcPct val="0"/>
                  </a:spcAft>
                </a:pPr>
                <a:endParaRPr lang="zh-CN" sz="1000" b="1">
                  <a:solidFill>
                    <a:srgbClr val="504C4C"/>
                  </a:solidFill>
                  <a:latin typeface="Arial" panose="020B0604020202020204" pitchFamily="34" charset="0"/>
                  <a:ea typeface="微软雅黑" panose="020B0503020204020204" pitchFamily="34" charset="-122"/>
                  <a:cs typeface="Arial" pitchFamily="34" charset="0"/>
                </a:endParaRPr>
              </a:p>
            </p:txBody>
          </p:sp>
          <p:sp>
            <p:nvSpPr>
              <p:cNvPr id="730" name="Line 408">
                <a:extLst>
                  <a:ext uri="{FF2B5EF4-FFF2-40B4-BE49-F238E27FC236}">
                    <a16:creationId xmlns:a16="http://schemas.microsoft.com/office/drawing/2014/main" id="{68043F19-E2DE-4743-B621-98FA0CD9E395}"/>
                  </a:ext>
                </a:extLst>
              </p:cNvPr>
              <p:cNvSpPr>
                <a:spLocks noChangeShapeType="1"/>
              </p:cNvSpPr>
              <p:nvPr/>
            </p:nvSpPr>
            <p:spPr bwMode="auto">
              <a:xfrm flipV="1">
                <a:off x="1778623" y="4056919"/>
                <a:ext cx="0" cy="84668"/>
              </a:xfrm>
              <a:prstGeom prst="line">
                <a:avLst/>
              </a:prstGeom>
              <a:noFill/>
              <a:ln w="12700" cap="flat">
                <a:solidFill>
                  <a:srgbClr val="E9207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algn="l" rtl="0" fontAlgn="base">
                  <a:spcBef>
                    <a:spcPct val="0"/>
                  </a:spcBef>
                  <a:spcAft>
                    <a:spcPct val="0"/>
                  </a:spcAft>
                </a:pPr>
                <a:endParaRPr lang="zh-CN" sz="1000" b="1">
                  <a:solidFill>
                    <a:srgbClr val="504C4C"/>
                  </a:solidFill>
                  <a:latin typeface="Arial" panose="020B0604020202020204" pitchFamily="34" charset="0"/>
                  <a:ea typeface="微软雅黑" panose="020B0503020204020204" pitchFamily="34" charset="-122"/>
                  <a:cs typeface="Arial" pitchFamily="34" charset="0"/>
                </a:endParaRPr>
              </a:p>
            </p:txBody>
          </p:sp>
          <p:sp>
            <p:nvSpPr>
              <p:cNvPr id="731" name="Freeform 409">
                <a:extLst>
                  <a:ext uri="{FF2B5EF4-FFF2-40B4-BE49-F238E27FC236}">
                    <a16:creationId xmlns:a16="http://schemas.microsoft.com/office/drawing/2014/main" id="{647E64B3-B4CD-43F7-84B4-24D26D8E979B}"/>
                  </a:ext>
                </a:extLst>
              </p:cNvPr>
              <p:cNvSpPr>
                <a:spLocks/>
              </p:cNvSpPr>
              <p:nvPr/>
            </p:nvSpPr>
            <p:spPr bwMode="auto">
              <a:xfrm>
                <a:off x="1748579" y="4056919"/>
                <a:ext cx="57355" cy="0"/>
              </a:xfrm>
              <a:custGeom>
                <a:avLst/>
                <a:gdLst>
                  <a:gd name="T0" fmla="*/ 0 w 42"/>
                  <a:gd name="T1" fmla="*/ 42 w 42"/>
                  <a:gd name="T2" fmla="*/ 0 w 42"/>
                </a:gdLst>
                <a:ahLst/>
                <a:cxnLst>
                  <a:cxn ang="0">
                    <a:pos x="T0" y="0"/>
                  </a:cxn>
                  <a:cxn ang="0">
                    <a:pos x="T1" y="0"/>
                  </a:cxn>
                  <a:cxn ang="0">
                    <a:pos x="T2" y="0"/>
                  </a:cxn>
                </a:cxnLst>
                <a:rect l="0" t="0" r="r" b="b"/>
                <a:pathLst>
                  <a:path w="42">
                    <a:moveTo>
                      <a:pt x="0" y="0"/>
                    </a:moveTo>
                    <a:lnTo>
                      <a:pt x="42" y="0"/>
                    </a:lnTo>
                    <a:lnTo>
                      <a:pt x="0" y="0"/>
                    </a:lnTo>
                    <a:close/>
                  </a:path>
                </a:pathLst>
              </a:custGeom>
              <a:solidFill>
                <a:srgbClr val="00983A"/>
              </a:solidFill>
              <a:ln w="9525">
                <a:solidFill>
                  <a:srgbClr val="E92076"/>
                </a:solidFill>
                <a:round/>
                <a:headEnd/>
                <a:tailEnd/>
              </a:ln>
            </p:spPr>
            <p:txBody>
              <a:bodyPr vert="horz" wrap="square" lIns="91440" tIns="45720" rIns="91440" bIns="45720" numCol="1" anchor="t" anchorCtr="0" compatLnSpc="1">
                <a:prstTxWarp prst="textNoShape">
                  <a:avLst/>
                </a:prstTxWarp>
              </a:bodyPr>
              <a:lstStyle/>
              <a:p>
                <a:pPr algn="l" rtl="0" fontAlgn="base">
                  <a:spcBef>
                    <a:spcPct val="0"/>
                  </a:spcBef>
                  <a:spcAft>
                    <a:spcPct val="0"/>
                  </a:spcAft>
                </a:pPr>
                <a:endParaRPr lang="zh-CN" sz="1000" b="1">
                  <a:solidFill>
                    <a:srgbClr val="504C4C"/>
                  </a:solidFill>
                  <a:latin typeface="Arial" panose="020B0604020202020204" pitchFamily="34" charset="0"/>
                  <a:ea typeface="微软雅黑" panose="020B0503020204020204" pitchFamily="34" charset="-122"/>
                  <a:cs typeface="Arial" pitchFamily="34" charset="0"/>
                </a:endParaRPr>
              </a:p>
            </p:txBody>
          </p:sp>
          <p:sp>
            <p:nvSpPr>
              <p:cNvPr id="732" name="Line 410">
                <a:extLst>
                  <a:ext uri="{FF2B5EF4-FFF2-40B4-BE49-F238E27FC236}">
                    <a16:creationId xmlns:a16="http://schemas.microsoft.com/office/drawing/2014/main" id="{9B667EDF-EF68-4CD2-8F82-6D0873E3AAFE}"/>
                  </a:ext>
                </a:extLst>
              </p:cNvPr>
              <p:cNvSpPr>
                <a:spLocks noChangeShapeType="1"/>
              </p:cNvSpPr>
              <p:nvPr/>
            </p:nvSpPr>
            <p:spPr bwMode="auto">
              <a:xfrm>
                <a:off x="1748579" y="4056919"/>
                <a:ext cx="57355" cy="0"/>
              </a:xfrm>
              <a:prstGeom prst="line">
                <a:avLst/>
              </a:prstGeom>
              <a:noFill/>
              <a:ln w="12700" cap="flat">
                <a:solidFill>
                  <a:srgbClr val="E9207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algn="l" rtl="0" fontAlgn="base">
                  <a:spcBef>
                    <a:spcPct val="0"/>
                  </a:spcBef>
                  <a:spcAft>
                    <a:spcPct val="0"/>
                  </a:spcAft>
                </a:pPr>
                <a:endParaRPr lang="zh-CN" sz="1000" b="1">
                  <a:solidFill>
                    <a:srgbClr val="504C4C"/>
                  </a:solidFill>
                  <a:latin typeface="Arial" panose="020B0604020202020204" pitchFamily="34" charset="0"/>
                  <a:ea typeface="微软雅黑" panose="020B0503020204020204" pitchFamily="34" charset="-122"/>
                  <a:cs typeface="Arial" pitchFamily="34" charset="0"/>
                </a:endParaRPr>
              </a:p>
            </p:txBody>
          </p:sp>
          <p:sp>
            <p:nvSpPr>
              <p:cNvPr id="733" name="Freeform 411">
                <a:extLst>
                  <a:ext uri="{FF2B5EF4-FFF2-40B4-BE49-F238E27FC236}">
                    <a16:creationId xmlns:a16="http://schemas.microsoft.com/office/drawing/2014/main" id="{911C752C-0974-4F8C-B228-C25D7F493728}"/>
                  </a:ext>
                </a:extLst>
              </p:cNvPr>
              <p:cNvSpPr>
                <a:spLocks/>
              </p:cNvSpPr>
              <p:nvPr/>
            </p:nvSpPr>
            <p:spPr bwMode="auto">
              <a:xfrm>
                <a:off x="1748579" y="4141586"/>
                <a:ext cx="57355" cy="0"/>
              </a:xfrm>
              <a:custGeom>
                <a:avLst/>
                <a:gdLst>
                  <a:gd name="T0" fmla="*/ 0 w 42"/>
                  <a:gd name="T1" fmla="*/ 42 w 42"/>
                  <a:gd name="T2" fmla="*/ 0 w 42"/>
                </a:gdLst>
                <a:ahLst/>
                <a:cxnLst>
                  <a:cxn ang="0">
                    <a:pos x="T0" y="0"/>
                  </a:cxn>
                  <a:cxn ang="0">
                    <a:pos x="T1" y="0"/>
                  </a:cxn>
                  <a:cxn ang="0">
                    <a:pos x="T2" y="0"/>
                  </a:cxn>
                </a:cxnLst>
                <a:rect l="0" t="0" r="r" b="b"/>
                <a:pathLst>
                  <a:path w="42">
                    <a:moveTo>
                      <a:pt x="0" y="0"/>
                    </a:moveTo>
                    <a:lnTo>
                      <a:pt x="42" y="0"/>
                    </a:lnTo>
                    <a:lnTo>
                      <a:pt x="0" y="0"/>
                    </a:lnTo>
                    <a:close/>
                  </a:path>
                </a:pathLst>
              </a:custGeom>
              <a:solidFill>
                <a:srgbClr val="00983A"/>
              </a:solidFill>
              <a:ln w="9525">
                <a:solidFill>
                  <a:srgbClr val="E92076"/>
                </a:solidFill>
                <a:round/>
                <a:headEnd/>
                <a:tailEnd/>
              </a:ln>
            </p:spPr>
            <p:txBody>
              <a:bodyPr vert="horz" wrap="square" lIns="91440" tIns="45720" rIns="91440" bIns="45720" numCol="1" anchor="t" anchorCtr="0" compatLnSpc="1">
                <a:prstTxWarp prst="textNoShape">
                  <a:avLst/>
                </a:prstTxWarp>
              </a:bodyPr>
              <a:lstStyle/>
              <a:p>
                <a:pPr algn="l" rtl="0" fontAlgn="base">
                  <a:spcBef>
                    <a:spcPct val="0"/>
                  </a:spcBef>
                  <a:spcAft>
                    <a:spcPct val="0"/>
                  </a:spcAft>
                </a:pPr>
                <a:endParaRPr lang="zh-CN" sz="1000" b="1">
                  <a:solidFill>
                    <a:srgbClr val="504C4C"/>
                  </a:solidFill>
                  <a:latin typeface="Arial" panose="020B0604020202020204" pitchFamily="34" charset="0"/>
                  <a:ea typeface="微软雅黑" panose="020B0503020204020204" pitchFamily="34" charset="-122"/>
                  <a:cs typeface="Arial" pitchFamily="34" charset="0"/>
                </a:endParaRPr>
              </a:p>
            </p:txBody>
          </p:sp>
          <p:sp>
            <p:nvSpPr>
              <p:cNvPr id="734" name="Line 412">
                <a:extLst>
                  <a:ext uri="{FF2B5EF4-FFF2-40B4-BE49-F238E27FC236}">
                    <a16:creationId xmlns:a16="http://schemas.microsoft.com/office/drawing/2014/main" id="{E44B581A-8F8D-4EB6-8510-8D9B01AC3FF7}"/>
                  </a:ext>
                </a:extLst>
              </p:cNvPr>
              <p:cNvSpPr>
                <a:spLocks noChangeShapeType="1"/>
              </p:cNvSpPr>
              <p:nvPr/>
            </p:nvSpPr>
            <p:spPr bwMode="auto">
              <a:xfrm>
                <a:off x="1748579" y="4141586"/>
                <a:ext cx="57355" cy="0"/>
              </a:xfrm>
              <a:prstGeom prst="line">
                <a:avLst/>
              </a:prstGeom>
              <a:noFill/>
              <a:ln w="12700" cap="flat">
                <a:solidFill>
                  <a:srgbClr val="E92076"/>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algn="l" rtl="0" fontAlgn="base">
                  <a:spcBef>
                    <a:spcPct val="0"/>
                  </a:spcBef>
                  <a:spcAft>
                    <a:spcPct val="0"/>
                  </a:spcAft>
                </a:pPr>
                <a:endParaRPr lang="zh-CN" sz="1000" b="1">
                  <a:solidFill>
                    <a:srgbClr val="504C4C"/>
                  </a:solidFill>
                  <a:latin typeface="Arial" panose="020B0604020202020204" pitchFamily="34" charset="0"/>
                  <a:ea typeface="微软雅黑" panose="020B0503020204020204" pitchFamily="34" charset="-122"/>
                  <a:cs typeface="Arial" pitchFamily="34" charset="0"/>
                </a:endParaRPr>
              </a:p>
            </p:txBody>
          </p:sp>
        </p:grpSp>
        <p:grpSp>
          <p:nvGrpSpPr>
            <p:cNvPr id="735" name="Group 87">
              <a:extLst>
                <a:ext uri="{FF2B5EF4-FFF2-40B4-BE49-F238E27FC236}">
                  <a16:creationId xmlns:a16="http://schemas.microsoft.com/office/drawing/2014/main" id="{A676FE1F-D7F8-47E5-9F73-896713D67602}"/>
                </a:ext>
              </a:extLst>
            </p:cNvPr>
            <p:cNvGrpSpPr/>
            <p:nvPr/>
          </p:nvGrpSpPr>
          <p:grpSpPr>
            <a:xfrm>
              <a:off x="7432588" y="5618886"/>
              <a:ext cx="4273035" cy="421747"/>
              <a:chOff x="1260120" y="3920596"/>
              <a:chExt cx="4910670" cy="850773"/>
            </a:xfrm>
          </p:grpSpPr>
          <p:sp>
            <p:nvSpPr>
              <p:cNvPr id="736" name="Isosceles Triangle 88">
                <a:extLst>
                  <a:ext uri="{FF2B5EF4-FFF2-40B4-BE49-F238E27FC236}">
                    <a16:creationId xmlns:a16="http://schemas.microsoft.com/office/drawing/2014/main" id="{83B47D6E-2965-4AF4-B1EC-D526F4EEE3A4}"/>
                  </a:ext>
                </a:extLst>
              </p:cNvPr>
              <p:cNvSpPr/>
              <p:nvPr/>
            </p:nvSpPr>
            <p:spPr>
              <a:xfrm>
                <a:off x="1732489" y="4314574"/>
                <a:ext cx="93432" cy="105152"/>
              </a:xfrm>
              <a:prstGeom prst="triangle">
                <a:avLst/>
              </a:prstGeom>
              <a:solidFill>
                <a:srgbClr val="0093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zh-CN" sz="1000">
                  <a:latin typeface="Arial" panose="020B0604020202020204" pitchFamily="34" charset="0"/>
                  <a:ea typeface="微软雅黑" panose="020B0503020204020204" pitchFamily="34" charset="-122"/>
                </a:endParaRPr>
              </a:p>
            </p:txBody>
          </p:sp>
          <p:sp>
            <p:nvSpPr>
              <p:cNvPr id="737" name="Isosceles Triangle 89">
                <a:extLst>
                  <a:ext uri="{FF2B5EF4-FFF2-40B4-BE49-F238E27FC236}">
                    <a16:creationId xmlns:a16="http://schemas.microsoft.com/office/drawing/2014/main" id="{D890D287-1608-411B-B576-F7AA2FEA517D}"/>
                  </a:ext>
                </a:extLst>
              </p:cNvPr>
              <p:cNvSpPr/>
              <p:nvPr/>
            </p:nvSpPr>
            <p:spPr>
              <a:xfrm>
                <a:off x="2637310" y="4472934"/>
                <a:ext cx="93432" cy="105152"/>
              </a:xfrm>
              <a:prstGeom prst="triangle">
                <a:avLst/>
              </a:prstGeom>
              <a:solidFill>
                <a:srgbClr val="0093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zh-CN" sz="1000">
                  <a:latin typeface="Arial" panose="020B0604020202020204" pitchFamily="34" charset="0"/>
                  <a:ea typeface="微软雅黑" panose="020B0503020204020204" pitchFamily="34" charset="-122"/>
                </a:endParaRPr>
              </a:p>
            </p:txBody>
          </p:sp>
          <p:sp>
            <p:nvSpPr>
              <p:cNvPr id="738" name="Isosceles Triangle 90">
                <a:extLst>
                  <a:ext uri="{FF2B5EF4-FFF2-40B4-BE49-F238E27FC236}">
                    <a16:creationId xmlns:a16="http://schemas.microsoft.com/office/drawing/2014/main" id="{63987D71-D7E6-450A-A513-B5C23A4E815C}"/>
                  </a:ext>
                </a:extLst>
              </p:cNvPr>
              <p:cNvSpPr/>
              <p:nvPr/>
            </p:nvSpPr>
            <p:spPr>
              <a:xfrm>
                <a:off x="3178321" y="4490008"/>
                <a:ext cx="93432" cy="105152"/>
              </a:xfrm>
              <a:prstGeom prst="triangle">
                <a:avLst/>
              </a:prstGeom>
              <a:solidFill>
                <a:srgbClr val="0093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zh-CN" sz="1000">
                  <a:latin typeface="Arial" panose="020B0604020202020204" pitchFamily="34" charset="0"/>
                  <a:ea typeface="微软雅黑" panose="020B0503020204020204" pitchFamily="34" charset="-122"/>
                </a:endParaRPr>
              </a:p>
            </p:txBody>
          </p:sp>
          <p:sp>
            <p:nvSpPr>
              <p:cNvPr id="739" name="Isosceles Triangle 91">
                <a:extLst>
                  <a:ext uri="{FF2B5EF4-FFF2-40B4-BE49-F238E27FC236}">
                    <a16:creationId xmlns:a16="http://schemas.microsoft.com/office/drawing/2014/main" id="{6AD9DCD8-5019-4CC4-8DDD-5838E77B5944}"/>
                  </a:ext>
                </a:extLst>
              </p:cNvPr>
              <p:cNvSpPr/>
              <p:nvPr/>
            </p:nvSpPr>
            <p:spPr>
              <a:xfrm>
                <a:off x="3900048" y="4543910"/>
                <a:ext cx="93432" cy="105152"/>
              </a:xfrm>
              <a:prstGeom prst="triangle">
                <a:avLst/>
              </a:prstGeom>
              <a:solidFill>
                <a:srgbClr val="0093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zh-CN" sz="1000">
                  <a:latin typeface="Arial" panose="020B0604020202020204" pitchFamily="34" charset="0"/>
                  <a:ea typeface="微软雅黑" panose="020B0503020204020204" pitchFamily="34" charset="-122"/>
                </a:endParaRPr>
              </a:p>
            </p:txBody>
          </p:sp>
          <p:sp>
            <p:nvSpPr>
              <p:cNvPr id="740" name="Isosceles Triangle 92">
                <a:extLst>
                  <a:ext uri="{FF2B5EF4-FFF2-40B4-BE49-F238E27FC236}">
                    <a16:creationId xmlns:a16="http://schemas.microsoft.com/office/drawing/2014/main" id="{B0344957-8E95-4C97-A4A6-DE9AEBAB3125}"/>
                  </a:ext>
                </a:extLst>
              </p:cNvPr>
              <p:cNvSpPr/>
              <p:nvPr/>
            </p:nvSpPr>
            <p:spPr>
              <a:xfrm>
                <a:off x="5357178" y="4575228"/>
                <a:ext cx="93432" cy="105152"/>
              </a:xfrm>
              <a:prstGeom prst="triangle">
                <a:avLst/>
              </a:prstGeom>
              <a:solidFill>
                <a:srgbClr val="0093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zh-CN" sz="1000">
                  <a:latin typeface="Arial" panose="020B0604020202020204" pitchFamily="34" charset="0"/>
                  <a:ea typeface="微软雅黑" panose="020B0503020204020204" pitchFamily="34" charset="-122"/>
                </a:endParaRPr>
              </a:p>
            </p:txBody>
          </p:sp>
          <p:sp>
            <p:nvSpPr>
              <p:cNvPr id="741" name="Isosceles Triangle 93">
                <a:extLst>
                  <a:ext uri="{FF2B5EF4-FFF2-40B4-BE49-F238E27FC236}">
                    <a16:creationId xmlns:a16="http://schemas.microsoft.com/office/drawing/2014/main" id="{9DC8F551-B8DF-4C95-88AB-2CDC8E719AF0}"/>
                  </a:ext>
                </a:extLst>
              </p:cNvPr>
              <p:cNvSpPr/>
              <p:nvPr/>
            </p:nvSpPr>
            <p:spPr>
              <a:xfrm>
                <a:off x="4627111" y="4554482"/>
                <a:ext cx="93432" cy="105152"/>
              </a:xfrm>
              <a:prstGeom prst="triangle">
                <a:avLst/>
              </a:prstGeom>
              <a:solidFill>
                <a:srgbClr val="0093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zh-CN" sz="1000">
                  <a:latin typeface="Arial" panose="020B0604020202020204" pitchFamily="34" charset="0"/>
                  <a:ea typeface="微软雅黑" panose="020B0503020204020204" pitchFamily="34" charset="-122"/>
                </a:endParaRPr>
              </a:p>
            </p:txBody>
          </p:sp>
          <p:grpSp>
            <p:nvGrpSpPr>
              <p:cNvPr id="742" name="Group 94">
                <a:extLst>
                  <a:ext uri="{FF2B5EF4-FFF2-40B4-BE49-F238E27FC236}">
                    <a16:creationId xmlns:a16="http://schemas.microsoft.com/office/drawing/2014/main" id="{3F5A2016-67A0-4EC4-B0E3-355548146AD2}"/>
                  </a:ext>
                </a:extLst>
              </p:cNvPr>
              <p:cNvGrpSpPr/>
              <p:nvPr/>
            </p:nvGrpSpPr>
            <p:grpSpPr>
              <a:xfrm>
                <a:off x="1260120" y="3920596"/>
                <a:ext cx="4898430" cy="850773"/>
                <a:chOff x="1265155" y="3934014"/>
                <a:chExt cx="4898430" cy="850773"/>
              </a:xfrm>
            </p:grpSpPr>
            <p:sp>
              <p:nvSpPr>
                <p:cNvPr id="744" name="Line 401">
                  <a:extLst>
                    <a:ext uri="{FF2B5EF4-FFF2-40B4-BE49-F238E27FC236}">
                      <a16:creationId xmlns:a16="http://schemas.microsoft.com/office/drawing/2014/main" id="{08C10B5E-41FE-401F-A45A-9623B66ABA3F}"/>
                    </a:ext>
                  </a:extLst>
                </p:cNvPr>
                <p:cNvSpPr>
                  <a:spLocks noChangeShapeType="1"/>
                </p:cNvSpPr>
                <p:nvPr/>
              </p:nvSpPr>
              <p:spPr bwMode="auto">
                <a:xfrm flipV="1">
                  <a:off x="4677805" y="4555366"/>
                  <a:ext cx="0" cy="128367"/>
                </a:xfrm>
                <a:prstGeom prst="line">
                  <a:avLst/>
                </a:prstGeom>
                <a:noFill/>
                <a:ln w="12700" cap="flat">
                  <a:solidFill>
                    <a:srgbClr val="0093D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algn="l" rtl="0" fontAlgn="base">
                    <a:spcBef>
                      <a:spcPct val="0"/>
                    </a:spcBef>
                    <a:spcAft>
                      <a:spcPct val="0"/>
                    </a:spcAft>
                  </a:pPr>
                  <a:endParaRPr lang="zh-CN" sz="1000" b="1">
                    <a:solidFill>
                      <a:srgbClr val="504C4C"/>
                    </a:solidFill>
                    <a:latin typeface="Arial" panose="020B0604020202020204" pitchFamily="34" charset="0"/>
                    <a:ea typeface="微软雅黑" panose="020B0503020204020204" pitchFamily="34" charset="-122"/>
                    <a:cs typeface="Arial" pitchFamily="34" charset="0"/>
                  </a:endParaRPr>
                </a:p>
              </p:txBody>
            </p:sp>
            <p:sp>
              <p:nvSpPr>
                <p:cNvPr id="745" name="Freeform 48">
                  <a:extLst>
                    <a:ext uri="{FF2B5EF4-FFF2-40B4-BE49-F238E27FC236}">
                      <a16:creationId xmlns:a16="http://schemas.microsoft.com/office/drawing/2014/main" id="{047096A9-09B0-4243-8AB6-FFBD95FF14BB}"/>
                    </a:ext>
                  </a:extLst>
                </p:cNvPr>
                <p:cNvSpPr>
                  <a:spLocks/>
                </p:cNvSpPr>
                <p:nvPr/>
              </p:nvSpPr>
              <p:spPr bwMode="auto">
                <a:xfrm>
                  <a:off x="1265155" y="3934014"/>
                  <a:ext cx="4857462" cy="733331"/>
                </a:xfrm>
                <a:custGeom>
                  <a:avLst/>
                  <a:gdLst>
                    <a:gd name="T0" fmla="*/ 0 w 3557"/>
                    <a:gd name="T1" fmla="*/ 0 h 537"/>
                    <a:gd name="T2" fmla="*/ 6 w 3557"/>
                    <a:gd name="T3" fmla="*/ 4 h 537"/>
                    <a:gd name="T4" fmla="*/ 380 w 3557"/>
                    <a:gd name="T5" fmla="*/ 329 h 537"/>
                    <a:gd name="T6" fmla="*/ 1038 w 3557"/>
                    <a:gd name="T7" fmla="*/ 451 h 537"/>
                    <a:gd name="T8" fmla="*/ 1434 w 3557"/>
                    <a:gd name="T9" fmla="*/ 459 h 537"/>
                    <a:gd name="T10" fmla="*/ 1971 w 3557"/>
                    <a:gd name="T11" fmla="*/ 503 h 537"/>
                    <a:gd name="T12" fmla="*/ 2503 w 3557"/>
                    <a:gd name="T13" fmla="*/ 505 h 537"/>
                    <a:gd name="T14" fmla="*/ 3027 w 3557"/>
                    <a:gd name="T15" fmla="*/ 523 h 537"/>
                    <a:gd name="T16" fmla="*/ 3557 w 3557"/>
                    <a:gd name="T17" fmla="*/ 537 h 5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57" h="537">
                      <a:moveTo>
                        <a:pt x="0" y="0"/>
                      </a:moveTo>
                      <a:lnTo>
                        <a:pt x="6" y="4"/>
                      </a:lnTo>
                      <a:lnTo>
                        <a:pt x="380" y="329"/>
                      </a:lnTo>
                      <a:lnTo>
                        <a:pt x="1038" y="451"/>
                      </a:lnTo>
                      <a:lnTo>
                        <a:pt x="1434" y="459"/>
                      </a:lnTo>
                      <a:lnTo>
                        <a:pt x="1971" y="503"/>
                      </a:lnTo>
                      <a:lnTo>
                        <a:pt x="2503" y="505"/>
                      </a:lnTo>
                      <a:lnTo>
                        <a:pt x="3027" y="523"/>
                      </a:lnTo>
                      <a:lnTo>
                        <a:pt x="3557" y="537"/>
                      </a:lnTo>
                    </a:path>
                  </a:pathLst>
                </a:custGeom>
                <a:noFill/>
                <a:ln w="28575" cap="flat">
                  <a:solidFill>
                    <a:srgbClr val="0093D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algn="l" rtl="0" fontAlgn="base">
                    <a:spcBef>
                      <a:spcPct val="0"/>
                    </a:spcBef>
                    <a:spcAft>
                      <a:spcPct val="0"/>
                    </a:spcAft>
                  </a:pPr>
                  <a:endParaRPr lang="zh-CN" sz="1000" b="1">
                    <a:solidFill>
                      <a:srgbClr val="504C4C"/>
                    </a:solidFill>
                    <a:latin typeface="Arial" panose="020B0604020202020204" pitchFamily="34" charset="0"/>
                    <a:ea typeface="微软雅黑" panose="020B0503020204020204" pitchFamily="34" charset="-122"/>
                    <a:cs typeface="Arial" pitchFamily="34" charset="0"/>
                  </a:endParaRPr>
                </a:p>
              </p:txBody>
            </p:sp>
            <p:sp>
              <p:nvSpPr>
                <p:cNvPr id="746" name="Freeform 77">
                  <a:extLst>
                    <a:ext uri="{FF2B5EF4-FFF2-40B4-BE49-F238E27FC236}">
                      <a16:creationId xmlns:a16="http://schemas.microsoft.com/office/drawing/2014/main" id="{8E6A72FC-7474-41DC-A037-E745DD7F1F82}"/>
                    </a:ext>
                  </a:extLst>
                </p:cNvPr>
                <p:cNvSpPr>
                  <a:spLocks/>
                </p:cNvSpPr>
                <p:nvPr/>
              </p:nvSpPr>
              <p:spPr bwMode="auto">
                <a:xfrm>
                  <a:off x="2658073" y="4631840"/>
                  <a:ext cx="54624" cy="57355"/>
                </a:xfrm>
                <a:custGeom>
                  <a:avLst/>
                  <a:gdLst>
                    <a:gd name="T0" fmla="*/ 40 w 40"/>
                    <a:gd name="T1" fmla="*/ 0 h 42"/>
                    <a:gd name="T2" fmla="*/ 0 w 40"/>
                    <a:gd name="T3" fmla="*/ 42 h 42"/>
                    <a:gd name="T4" fmla="*/ 40 w 40"/>
                    <a:gd name="T5" fmla="*/ 0 h 42"/>
                  </a:gdLst>
                  <a:ahLst/>
                  <a:cxnLst>
                    <a:cxn ang="0">
                      <a:pos x="T0" y="T1"/>
                    </a:cxn>
                    <a:cxn ang="0">
                      <a:pos x="T2" y="T3"/>
                    </a:cxn>
                    <a:cxn ang="0">
                      <a:pos x="T4" y="T5"/>
                    </a:cxn>
                  </a:cxnLst>
                  <a:rect l="0" t="0" r="r" b="b"/>
                  <a:pathLst>
                    <a:path w="40" h="42">
                      <a:moveTo>
                        <a:pt x="40" y="0"/>
                      </a:moveTo>
                      <a:lnTo>
                        <a:pt x="0" y="42"/>
                      </a:lnTo>
                      <a:lnTo>
                        <a:pt x="40" y="0"/>
                      </a:lnTo>
                      <a:close/>
                    </a:path>
                  </a:pathLst>
                </a:custGeom>
                <a:solidFill>
                  <a:srgbClr val="0098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l" rtl="0" fontAlgn="base">
                    <a:spcBef>
                      <a:spcPct val="0"/>
                    </a:spcBef>
                    <a:spcAft>
                      <a:spcPct val="0"/>
                    </a:spcAft>
                  </a:pPr>
                  <a:endParaRPr lang="zh-CN" sz="1000" b="1">
                    <a:solidFill>
                      <a:srgbClr val="504C4C"/>
                    </a:solidFill>
                    <a:latin typeface="Arial" panose="020B0604020202020204" pitchFamily="34" charset="0"/>
                    <a:ea typeface="微软雅黑" panose="020B0503020204020204" pitchFamily="34" charset="-122"/>
                    <a:cs typeface="Arial" pitchFamily="34" charset="0"/>
                  </a:endParaRPr>
                </a:p>
              </p:txBody>
            </p:sp>
            <p:sp>
              <p:nvSpPr>
                <p:cNvPr id="747" name="Freeform 85">
                  <a:extLst>
                    <a:ext uri="{FF2B5EF4-FFF2-40B4-BE49-F238E27FC236}">
                      <a16:creationId xmlns:a16="http://schemas.microsoft.com/office/drawing/2014/main" id="{240C60C6-4D98-4151-A5D4-CA9D48D4AD37}"/>
                    </a:ext>
                  </a:extLst>
                </p:cNvPr>
                <p:cNvSpPr>
                  <a:spLocks/>
                </p:cNvSpPr>
                <p:nvPr/>
              </p:nvSpPr>
              <p:spPr bwMode="auto">
                <a:xfrm>
                  <a:off x="3929453" y="4686464"/>
                  <a:ext cx="54624" cy="57355"/>
                </a:xfrm>
                <a:custGeom>
                  <a:avLst/>
                  <a:gdLst>
                    <a:gd name="T0" fmla="*/ 40 w 40"/>
                    <a:gd name="T1" fmla="*/ 0 h 42"/>
                    <a:gd name="T2" fmla="*/ 0 w 40"/>
                    <a:gd name="T3" fmla="*/ 42 h 42"/>
                    <a:gd name="T4" fmla="*/ 40 w 40"/>
                    <a:gd name="T5" fmla="*/ 0 h 42"/>
                  </a:gdLst>
                  <a:ahLst/>
                  <a:cxnLst>
                    <a:cxn ang="0">
                      <a:pos x="T0" y="T1"/>
                    </a:cxn>
                    <a:cxn ang="0">
                      <a:pos x="T2" y="T3"/>
                    </a:cxn>
                    <a:cxn ang="0">
                      <a:pos x="T4" y="T5"/>
                    </a:cxn>
                  </a:cxnLst>
                  <a:rect l="0" t="0" r="r" b="b"/>
                  <a:pathLst>
                    <a:path w="40" h="42">
                      <a:moveTo>
                        <a:pt x="40" y="0"/>
                      </a:moveTo>
                      <a:lnTo>
                        <a:pt x="0" y="42"/>
                      </a:lnTo>
                      <a:lnTo>
                        <a:pt x="40" y="0"/>
                      </a:lnTo>
                      <a:close/>
                    </a:path>
                  </a:pathLst>
                </a:custGeom>
                <a:solidFill>
                  <a:srgbClr val="0098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l" rtl="0" fontAlgn="base">
                    <a:spcBef>
                      <a:spcPct val="0"/>
                    </a:spcBef>
                    <a:spcAft>
                      <a:spcPct val="0"/>
                    </a:spcAft>
                  </a:pPr>
                  <a:endParaRPr lang="zh-CN" sz="1000" b="1">
                    <a:solidFill>
                      <a:srgbClr val="504C4C"/>
                    </a:solidFill>
                    <a:latin typeface="Arial" panose="020B0604020202020204" pitchFamily="34" charset="0"/>
                    <a:ea typeface="微软雅黑" panose="020B0503020204020204" pitchFamily="34" charset="-122"/>
                    <a:cs typeface="Arial" pitchFamily="34" charset="0"/>
                  </a:endParaRPr>
                </a:p>
              </p:txBody>
            </p:sp>
            <p:sp>
              <p:nvSpPr>
                <p:cNvPr id="748" name="Freeform 87">
                  <a:extLst>
                    <a:ext uri="{FF2B5EF4-FFF2-40B4-BE49-F238E27FC236}">
                      <a16:creationId xmlns:a16="http://schemas.microsoft.com/office/drawing/2014/main" id="{581D5B7B-D635-4306-989B-2A21AF276AF9}"/>
                    </a:ext>
                  </a:extLst>
                </p:cNvPr>
                <p:cNvSpPr>
                  <a:spLocks/>
                </p:cNvSpPr>
                <p:nvPr/>
              </p:nvSpPr>
              <p:spPr bwMode="auto">
                <a:xfrm>
                  <a:off x="3929453" y="4686464"/>
                  <a:ext cx="54624" cy="54624"/>
                </a:xfrm>
                <a:custGeom>
                  <a:avLst/>
                  <a:gdLst>
                    <a:gd name="T0" fmla="*/ 0 w 40"/>
                    <a:gd name="T1" fmla="*/ 0 h 40"/>
                    <a:gd name="T2" fmla="*/ 40 w 40"/>
                    <a:gd name="T3" fmla="*/ 40 h 40"/>
                    <a:gd name="T4" fmla="*/ 0 w 40"/>
                    <a:gd name="T5" fmla="*/ 0 h 40"/>
                  </a:gdLst>
                  <a:ahLst/>
                  <a:cxnLst>
                    <a:cxn ang="0">
                      <a:pos x="T0" y="T1"/>
                    </a:cxn>
                    <a:cxn ang="0">
                      <a:pos x="T2" y="T3"/>
                    </a:cxn>
                    <a:cxn ang="0">
                      <a:pos x="T4" y="T5"/>
                    </a:cxn>
                  </a:cxnLst>
                  <a:rect l="0" t="0" r="r" b="b"/>
                  <a:pathLst>
                    <a:path w="40" h="40">
                      <a:moveTo>
                        <a:pt x="0" y="0"/>
                      </a:moveTo>
                      <a:lnTo>
                        <a:pt x="40" y="40"/>
                      </a:lnTo>
                      <a:lnTo>
                        <a:pt x="0" y="0"/>
                      </a:lnTo>
                      <a:close/>
                    </a:path>
                  </a:pathLst>
                </a:custGeom>
                <a:solidFill>
                  <a:srgbClr val="0098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l" rtl="0" fontAlgn="base">
                    <a:spcBef>
                      <a:spcPct val="0"/>
                    </a:spcBef>
                    <a:spcAft>
                      <a:spcPct val="0"/>
                    </a:spcAft>
                  </a:pPr>
                  <a:endParaRPr lang="zh-CN" sz="1000" b="1">
                    <a:solidFill>
                      <a:srgbClr val="504C4C"/>
                    </a:solidFill>
                    <a:latin typeface="Arial" panose="020B0604020202020204" pitchFamily="34" charset="0"/>
                    <a:ea typeface="微软雅黑" panose="020B0503020204020204" pitchFamily="34" charset="-122"/>
                    <a:cs typeface="Arial" pitchFamily="34" charset="0"/>
                  </a:endParaRPr>
                </a:p>
              </p:txBody>
            </p:sp>
            <p:sp>
              <p:nvSpPr>
                <p:cNvPr id="749" name="Freeform 89">
                  <a:extLst>
                    <a:ext uri="{FF2B5EF4-FFF2-40B4-BE49-F238E27FC236}">
                      <a16:creationId xmlns:a16="http://schemas.microsoft.com/office/drawing/2014/main" id="{B8AC3CD1-07BC-4262-B72B-1C1CADE350E5}"/>
                    </a:ext>
                  </a:extLst>
                </p:cNvPr>
                <p:cNvSpPr>
                  <a:spLocks/>
                </p:cNvSpPr>
                <p:nvPr/>
              </p:nvSpPr>
              <p:spPr bwMode="auto">
                <a:xfrm>
                  <a:off x="4292704" y="4689195"/>
                  <a:ext cx="57355" cy="54624"/>
                </a:xfrm>
                <a:custGeom>
                  <a:avLst/>
                  <a:gdLst>
                    <a:gd name="T0" fmla="*/ 42 w 42"/>
                    <a:gd name="T1" fmla="*/ 0 h 40"/>
                    <a:gd name="T2" fmla="*/ 0 w 42"/>
                    <a:gd name="T3" fmla="*/ 40 h 40"/>
                    <a:gd name="T4" fmla="*/ 42 w 42"/>
                    <a:gd name="T5" fmla="*/ 0 h 40"/>
                  </a:gdLst>
                  <a:ahLst/>
                  <a:cxnLst>
                    <a:cxn ang="0">
                      <a:pos x="T0" y="T1"/>
                    </a:cxn>
                    <a:cxn ang="0">
                      <a:pos x="T2" y="T3"/>
                    </a:cxn>
                    <a:cxn ang="0">
                      <a:pos x="T4" y="T5"/>
                    </a:cxn>
                  </a:cxnLst>
                  <a:rect l="0" t="0" r="r" b="b"/>
                  <a:pathLst>
                    <a:path w="42" h="40">
                      <a:moveTo>
                        <a:pt x="42" y="0"/>
                      </a:moveTo>
                      <a:lnTo>
                        <a:pt x="0" y="40"/>
                      </a:lnTo>
                      <a:lnTo>
                        <a:pt x="42" y="0"/>
                      </a:lnTo>
                      <a:close/>
                    </a:path>
                  </a:pathLst>
                </a:custGeom>
                <a:solidFill>
                  <a:srgbClr val="0098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l" rtl="0" fontAlgn="base">
                    <a:spcBef>
                      <a:spcPct val="0"/>
                    </a:spcBef>
                    <a:spcAft>
                      <a:spcPct val="0"/>
                    </a:spcAft>
                  </a:pPr>
                  <a:endParaRPr lang="zh-CN" sz="1000" b="1">
                    <a:solidFill>
                      <a:srgbClr val="504C4C"/>
                    </a:solidFill>
                    <a:latin typeface="Arial" panose="020B0604020202020204" pitchFamily="34" charset="0"/>
                    <a:ea typeface="微软雅黑" panose="020B0503020204020204" pitchFamily="34" charset="-122"/>
                    <a:cs typeface="Arial" pitchFamily="34" charset="0"/>
                  </a:endParaRPr>
                </a:p>
              </p:txBody>
            </p:sp>
            <p:sp>
              <p:nvSpPr>
                <p:cNvPr id="750" name="Freeform 91">
                  <a:extLst>
                    <a:ext uri="{FF2B5EF4-FFF2-40B4-BE49-F238E27FC236}">
                      <a16:creationId xmlns:a16="http://schemas.microsoft.com/office/drawing/2014/main" id="{137E9494-2668-41BB-81CA-F9B336DF7460}"/>
                    </a:ext>
                  </a:extLst>
                </p:cNvPr>
                <p:cNvSpPr>
                  <a:spLocks/>
                </p:cNvSpPr>
                <p:nvPr/>
              </p:nvSpPr>
              <p:spPr bwMode="auto">
                <a:xfrm>
                  <a:off x="4292704" y="4686464"/>
                  <a:ext cx="57355" cy="57355"/>
                </a:xfrm>
                <a:custGeom>
                  <a:avLst/>
                  <a:gdLst>
                    <a:gd name="T0" fmla="*/ 0 w 42"/>
                    <a:gd name="T1" fmla="*/ 0 h 42"/>
                    <a:gd name="T2" fmla="*/ 42 w 42"/>
                    <a:gd name="T3" fmla="*/ 42 h 42"/>
                    <a:gd name="T4" fmla="*/ 0 w 42"/>
                    <a:gd name="T5" fmla="*/ 0 h 42"/>
                  </a:gdLst>
                  <a:ahLst/>
                  <a:cxnLst>
                    <a:cxn ang="0">
                      <a:pos x="T0" y="T1"/>
                    </a:cxn>
                    <a:cxn ang="0">
                      <a:pos x="T2" y="T3"/>
                    </a:cxn>
                    <a:cxn ang="0">
                      <a:pos x="T4" y="T5"/>
                    </a:cxn>
                  </a:cxnLst>
                  <a:rect l="0" t="0" r="r" b="b"/>
                  <a:pathLst>
                    <a:path w="42" h="42">
                      <a:moveTo>
                        <a:pt x="0" y="0"/>
                      </a:moveTo>
                      <a:lnTo>
                        <a:pt x="42" y="42"/>
                      </a:lnTo>
                      <a:lnTo>
                        <a:pt x="0" y="0"/>
                      </a:lnTo>
                      <a:close/>
                    </a:path>
                  </a:pathLst>
                </a:custGeom>
                <a:solidFill>
                  <a:srgbClr val="0098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l" rtl="0" fontAlgn="base">
                    <a:spcBef>
                      <a:spcPct val="0"/>
                    </a:spcBef>
                    <a:spcAft>
                      <a:spcPct val="0"/>
                    </a:spcAft>
                  </a:pPr>
                  <a:endParaRPr lang="zh-CN" sz="1000" b="1">
                    <a:solidFill>
                      <a:srgbClr val="504C4C"/>
                    </a:solidFill>
                    <a:latin typeface="Arial" panose="020B0604020202020204" pitchFamily="34" charset="0"/>
                    <a:ea typeface="微软雅黑" panose="020B0503020204020204" pitchFamily="34" charset="-122"/>
                    <a:cs typeface="Arial" pitchFamily="34" charset="0"/>
                  </a:endParaRPr>
                </a:p>
              </p:txBody>
            </p:sp>
            <p:sp>
              <p:nvSpPr>
                <p:cNvPr id="751" name="Freeform 93">
                  <a:extLst>
                    <a:ext uri="{FF2B5EF4-FFF2-40B4-BE49-F238E27FC236}">
                      <a16:creationId xmlns:a16="http://schemas.microsoft.com/office/drawing/2014/main" id="{2DCB077C-30FF-4545-9E0F-E8CB81A5892C}"/>
                    </a:ext>
                  </a:extLst>
                </p:cNvPr>
                <p:cNvSpPr>
                  <a:spLocks/>
                </p:cNvSpPr>
                <p:nvPr/>
              </p:nvSpPr>
              <p:spPr bwMode="auto">
                <a:xfrm>
                  <a:off x="6106229" y="4708314"/>
                  <a:ext cx="54624" cy="57355"/>
                </a:xfrm>
                <a:custGeom>
                  <a:avLst/>
                  <a:gdLst>
                    <a:gd name="T0" fmla="*/ 40 w 40"/>
                    <a:gd name="T1" fmla="*/ 0 h 42"/>
                    <a:gd name="T2" fmla="*/ 0 w 40"/>
                    <a:gd name="T3" fmla="*/ 42 h 42"/>
                    <a:gd name="T4" fmla="*/ 40 w 40"/>
                    <a:gd name="T5" fmla="*/ 0 h 42"/>
                  </a:gdLst>
                  <a:ahLst/>
                  <a:cxnLst>
                    <a:cxn ang="0">
                      <a:pos x="T0" y="T1"/>
                    </a:cxn>
                    <a:cxn ang="0">
                      <a:pos x="T2" y="T3"/>
                    </a:cxn>
                    <a:cxn ang="0">
                      <a:pos x="T4" y="T5"/>
                    </a:cxn>
                  </a:cxnLst>
                  <a:rect l="0" t="0" r="r" b="b"/>
                  <a:pathLst>
                    <a:path w="40" h="42">
                      <a:moveTo>
                        <a:pt x="40" y="0"/>
                      </a:moveTo>
                      <a:lnTo>
                        <a:pt x="0" y="42"/>
                      </a:lnTo>
                      <a:lnTo>
                        <a:pt x="40" y="0"/>
                      </a:lnTo>
                      <a:close/>
                    </a:path>
                  </a:pathLst>
                </a:custGeom>
                <a:solidFill>
                  <a:srgbClr val="0098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l" rtl="0" fontAlgn="base">
                    <a:spcBef>
                      <a:spcPct val="0"/>
                    </a:spcBef>
                    <a:spcAft>
                      <a:spcPct val="0"/>
                    </a:spcAft>
                  </a:pPr>
                  <a:endParaRPr lang="zh-CN" sz="1000" b="1">
                    <a:solidFill>
                      <a:srgbClr val="504C4C"/>
                    </a:solidFill>
                    <a:latin typeface="Arial" panose="020B0604020202020204" pitchFamily="34" charset="0"/>
                    <a:ea typeface="微软雅黑" panose="020B0503020204020204" pitchFamily="34" charset="-122"/>
                    <a:cs typeface="Arial" pitchFamily="34" charset="0"/>
                  </a:endParaRPr>
                </a:p>
              </p:txBody>
            </p:sp>
            <p:sp>
              <p:nvSpPr>
                <p:cNvPr id="752" name="Freeform 95">
                  <a:extLst>
                    <a:ext uri="{FF2B5EF4-FFF2-40B4-BE49-F238E27FC236}">
                      <a16:creationId xmlns:a16="http://schemas.microsoft.com/office/drawing/2014/main" id="{DE9E2000-124F-49B4-9747-4A20A83A6891}"/>
                    </a:ext>
                  </a:extLst>
                </p:cNvPr>
                <p:cNvSpPr>
                  <a:spLocks/>
                </p:cNvSpPr>
                <p:nvPr/>
              </p:nvSpPr>
              <p:spPr bwMode="auto">
                <a:xfrm>
                  <a:off x="6106229" y="4708314"/>
                  <a:ext cx="54624" cy="54624"/>
                </a:xfrm>
                <a:custGeom>
                  <a:avLst/>
                  <a:gdLst>
                    <a:gd name="T0" fmla="*/ 0 w 40"/>
                    <a:gd name="T1" fmla="*/ 0 h 40"/>
                    <a:gd name="T2" fmla="*/ 40 w 40"/>
                    <a:gd name="T3" fmla="*/ 40 h 40"/>
                    <a:gd name="T4" fmla="*/ 0 w 40"/>
                    <a:gd name="T5" fmla="*/ 0 h 40"/>
                  </a:gdLst>
                  <a:ahLst/>
                  <a:cxnLst>
                    <a:cxn ang="0">
                      <a:pos x="T0" y="T1"/>
                    </a:cxn>
                    <a:cxn ang="0">
                      <a:pos x="T2" y="T3"/>
                    </a:cxn>
                    <a:cxn ang="0">
                      <a:pos x="T4" y="T5"/>
                    </a:cxn>
                  </a:cxnLst>
                  <a:rect l="0" t="0" r="r" b="b"/>
                  <a:pathLst>
                    <a:path w="40" h="40">
                      <a:moveTo>
                        <a:pt x="0" y="0"/>
                      </a:moveTo>
                      <a:lnTo>
                        <a:pt x="40" y="40"/>
                      </a:lnTo>
                      <a:lnTo>
                        <a:pt x="0" y="0"/>
                      </a:lnTo>
                      <a:close/>
                    </a:path>
                  </a:pathLst>
                </a:custGeom>
                <a:solidFill>
                  <a:srgbClr val="0098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l" rtl="0" fontAlgn="base">
                    <a:spcBef>
                      <a:spcPct val="0"/>
                    </a:spcBef>
                    <a:spcAft>
                      <a:spcPct val="0"/>
                    </a:spcAft>
                  </a:pPr>
                  <a:endParaRPr lang="zh-CN" sz="1000" b="1">
                    <a:solidFill>
                      <a:srgbClr val="504C4C"/>
                    </a:solidFill>
                    <a:latin typeface="Arial" panose="020B0604020202020204" pitchFamily="34" charset="0"/>
                    <a:ea typeface="微软雅黑" panose="020B0503020204020204" pitchFamily="34" charset="-122"/>
                    <a:cs typeface="Arial" pitchFamily="34" charset="0"/>
                  </a:endParaRPr>
                </a:p>
              </p:txBody>
            </p:sp>
            <p:sp>
              <p:nvSpPr>
                <p:cNvPr id="753" name="Freeform 97">
                  <a:extLst>
                    <a:ext uri="{FF2B5EF4-FFF2-40B4-BE49-F238E27FC236}">
                      <a16:creationId xmlns:a16="http://schemas.microsoft.com/office/drawing/2014/main" id="{BFDDBBE5-4639-4EEF-A91A-8FF73A818C89}"/>
                    </a:ext>
                  </a:extLst>
                </p:cNvPr>
                <p:cNvSpPr>
                  <a:spLocks/>
                </p:cNvSpPr>
                <p:nvPr/>
              </p:nvSpPr>
              <p:spPr bwMode="auto">
                <a:xfrm>
                  <a:off x="1934302" y="4577215"/>
                  <a:ext cx="54624" cy="54624"/>
                </a:xfrm>
                <a:custGeom>
                  <a:avLst/>
                  <a:gdLst>
                    <a:gd name="T0" fmla="*/ 40 w 40"/>
                    <a:gd name="T1" fmla="*/ 0 h 40"/>
                    <a:gd name="T2" fmla="*/ 0 w 40"/>
                    <a:gd name="T3" fmla="*/ 40 h 40"/>
                    <a:gd name="T4" fmla="*/ 40 w 40"/>
                    <a:gd name="T5" fmla="*/ 0 h 40"/>
                  </a:gdLst>
                  <a:ahLst/>
                  <a:cxnLst>
                    <a:cxn ang="0">
                      <a:pos x="T0" y="T1"/>
                    </a:cxn>
                    <a:cxn ang="0">
                      <a:pos x="T2" y="T3"/>
                    </a:cxn>
                    <a:cxn ang="0">
                      <a:pos x="T4" y="T5"/>
                    </a:cxn>
                  </a:cxnLst>
                  <a:rect l="0" t="0" r="r" b="b"/>
                  <a:pathLst>
                    <a:path w="40" h="40">
                      <a:moveTo>
                        <a:pt x="40" y="0"/>
                      </a:moveTo>
                      <a:lnTo>
                        <a:pt x="0" y="40"/>
                      </a:lnTo>
                      <a:lnTo>
                        <a:pt x="40" y="0"/>
                      </a:lnTo>
                      <a:close/>
                    </a:path>
                  </a:pathLst>
                </a:custGeom>
                <a:solidFill>
                  <a:srgbClr val="0098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l" rtl="0" fontAlgn="base">
                    <a:spcBef>
                      <a:spcPct val="0"/>
                    </a:spcBef>
                    <a:spcAft>
                      <a:spcPct val="0"/>
                    </a:spcAft>
                  </a:pPr>
                  <a:endParaRPr lang="zh-CN" sz="1000" b="1">
                    <a:solidFill>
                      <a:srgbClr val="504C4C"/>
                    </a:solidFill>
                    <a:latin typeface="Arial" panose="020B0604020202020204" pitchFamily="34" charset="0"/>
                    <a:ea typeface="微软雅黑" panose="020B0503020204020204" pitchFamily="34" charset="-122"/>
                    <a:cs typeface="Arial" pitchFamily="34" charset="0"/>
                  </a:endParaRPr>
                </a:p>
              </p:txBody>
            </p:sp>
            <p:sp>
              <p:nvSpPr>
                <p:cNvPr id="754" name="Freeform 244">
                  <a:extLst>
                    <a:ext uri="{FF2B5EF4-FFF2-40B4-BE49-F238E27FC236}">
                      <a16:creationId xmlns:a16="http://schemas.microsoft.com/office/drawing/2014/main" id="{A8B93D49-F019-4028-A00B-3A2E6EC9E265}"/>
                    </a:ext>
                  </a:extLst>
                </p:cNvPr>
                <p:cNvSpPr>
                  <a:spLocks/>
                </p:cNvSpPr>
                <p:nvPr/>
              </p:nvSpPr>
              <p:spPr bwMode="auto">
                <a:xfrm>
                  <a:off x="6130810" y="4607259"/>
                  <a:ext cx="0" cy="120173"/>
                </a:xfrm>
                <a:custGeom>
                  <a:avLst/>
                  <a:gdLst>
                    <a:gd name="T0" fmla="*/ 88 h 88"/>
                    <a:gd name="T1" fmla="*/ 0 h 88"/>
                    <a:gd name="T2" fmla="*/ 88 h 88"/>
                  </a:gdLst>
                  <a:ahLst/>
                  <a:cxnLst>
                    <a:cxn ang="0">
                      <a:pos x="0" y="T0"/>
                    </a:cxn>
                    <a:cxn ang="0">
                      <a:pos x="0" y="T1"/>
                    </a:cxn>
                    <a:cxn ang="0">
                      <a:pos x="0" y="T2"/>
                    </a:cxn>
                  </a:cxnLst>
                  <a:rect l="0" t="0" r="r" b="b"/>
                  <a:pathLst>
                    <a:path h="88">
                      <a:moveTo>
                        <a:pt x="0" y="88"/>
                      </a:moveTo>
                      <a:lnTo>
                        <a:pt x="0" y="0"/>
                      </a:lnTo>
                      <a:lnTo>
                        <a:pt x="0" y="88"/>
                      </a:lnTo>
                      <a:close/>
                    </a:path>
                  </a:pathLst>
                </a:custGeom>
                <a:solidFill>
                  <a:srgbClr val="0098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l" rtl="0" fontAlgn="base">
                    <a:spcBef>
                      <a:spcPct val="0"/>
                    </a:spcBef>
                    <a:spcAft>
                      <a:spcPct val="0"/>
                    </a:spcAft>
                  </a:pPr>
                  <a:endParaRPr lang="zh-CN" sz="1000" b="1">
                    <a:solidFill>
                      <a:srgbClr val="504C4C"/>
                    </a:solidFill>
                    <a:latin typeface="Arial" panose="020B0604020202020204" pitchFamily="34" charset="0"/>
                    <a:ea typeface="微软雅黑" panose="020B0503020204020204" pitchFamily="34" charset="-122"/>
                    <a:cs typeface="Arial" pitchFamily="34" charset="0"/>
                  </a:endParaRPr>
                </a:p>
              </p:txBody>
            </p:sp>
            <p:sp>
              <p:nvSpPr>
                <p:cNvPr id="755" name="Line 245">
                  <a:extLst>
                    <a:ext uri="{FF2B5EF4-FFF2-40B4-BE49-F238E27FC236}">
                      <a16:creationId xmlns:a16="http://schemas.microsoft.com/office/drawing/2014/main" id="{8D2512FA-0B40-4A5E-8225-753626F6271D}"/>
                    </a:ext>
                  </a:extLst>
                </p:cNvPr>
                <p:cNvSpPr>
                  <a:spLocks noChangeShapeType="1"/>
                </p:cNvSpPr>
                <p:nvPr/>
              </p:nvSpPr>
              <p:spPr bwMode="auto">
                <a:xfrm flipV="1">
                  <a:off x="6130810" y="4607259"/>
                  <a:ext cx="0" cy="120173"/>
                </a:xfrm>
                <a:prstGeom prst="line">
                  <a:avLst/>
                </a:prstGeom>
                <a:noFill/>
                <a:ln w="12700" cap="flat">
                  <a:solidFill>
                    <a:srgbClr val="001C7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algn="l" rtl="0" fontAlgn="base">
                    <a:spcBef>
                      <a:spcPct val="0"/>
                    </a:spcBef>
                    <a:spcAft>
                      <a:spcPct val="0"/>
                    </a:spcAft>
                  </a:pPr>
                  <a:endParaRPr lang="zh-CN" sz="1000" b="1">
                    <a:solidFill>
                      <a:srgbClr val="504C4C"/>
                    </a:solidFill>
                    <a:latin typeface="Arial" panose="020B0604020202020204" pitchFamily="34" charset="0"/>
                    <a:ea typeface="微软雅黑" panose="020B0503020204020204" pitchFamily="34" charset="-122"/>
                    <a:cs typeface="Arial" pitchFamily="34" charset="0"/>
                  </a:endParaRPr>
                </a:p>
              </p:txBody>
            </p:sp>
            <p:sp>
              <p:nvSpPr>
                <p:cNvPr id="756" name="Freeform 246">
                  <a:extLst>
                    <a:ext uri="{FF2B5EF4-FFF2-40B4-BE49-F238E27FC236}">
                      <a16:creationId xmlns:a16="http://schemas.microsoft.com/office/drawing/2014/main" id="{6C2469F4-98E0-4C47-824F-1FACE7020F00}"/>
                    </a:ext>
                  </a:extLst>
                </p:cNvPr>
                <p:cNvSpPr>
                  <a:spLocks/>
                </p:cNvSpPr>
                <p:nvPr/>
              </p:nvSpPr>
              <p:spPr bwMode="auto">
                <a:xfrm>
                  <a:off x="6103498" y="4607259"/>
                  <a:ext cx="57355" cy="0"/>
                </a:xfrm>
                <a:custGeom>
                  <a:avLst/>
                  <a:gdLst>
                    <a:gd name="T0" fmla="*/ 0 w 42"/>
                    <a:gd name="T1" fmla="*/ 42 w 42"/>
                    <a:gd name="T2" fmla="*/ 0 w 42"/>
                  </a:gdLst>
                  <a:ahLst/>
                  <a:cxnLst>
                    <a:cxn ang="0">
                      <a:pos x="T0" y="0"/>
                    </a:cxn>
                    <a:cxn ang="0">
                      <a:pos x="T1" y="0"/>
                    </a:cxn>
                    <a:cxn ang="0">
                      <a:pos x="T2" y="0"/>
                    </a:cxn>
                  </a:cxnLst>
                  <a:rect l="0" t="0" r="r" b="b"/>
                  <a:pathLst>
                    <a:path w="42">
                      <a:moveTo>
                        <a:pt x="0" y="0"/>
                      </a:moveTo>
                      <a:lnTo>
                        <a:pt x="42" y="0"/>
                      </a:lnTo>
                      <a:lnTo>
                        <a:pt x="0" y="0"/>
                      </a:lnTo>
                      <a:close/>
                    </a:path>
                  </a:pathLst>
                </a:custGeom>
                <a:solidFill>
                  <a:srgbClr val="0098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l" rtl="0" fontAlgn="base">
                    <a:spcBef>
                      <a:spcPct val="0"/>
                    </a:spcBef>
                    <a:spcAft>
                      <a:spcPct val="0"/>
                    </a:spcAft>
                  </a:pPr>
                  <a:endParaRPr lang="zh-CN" sz="1000" b="1">
                    <a:solidFill>
                      <a:srgbClr val="504C4C"/>
                    </a:solidFill>
                    <a:latin typeface="Arial" panose="020B0604020202020204" pitchFamily="34" charset="0"/>
                    <a:ea typeface="微软雅黑" panose="020B0503020204020204" pitchFamily="34" charset="-122"/>
                    <a:cs typeface="Arial" pitchFamily="34" charset="0"/>
                  </a:endParaRPr>
                </a:p>
              </p:txBody>
            </p:sp>
            <p:sp>
              <p:nvSpPr>
                <p:cNvPr id="757" name="Line 247">
                  <a:extLst>
                    <a:ext uri="{FF2B5EF4-FFF2-40B4-BE49-F238E27FC236}">
                      <a16:creationId xmlns:a16="http://schemas.microsoft.com/office/drawing/2014/main" id="{CDDB645D-5FA1-4059-A20A-6E1621CDE1A5}"/>
                    </a:ext>
                  </a:extLst>
                </p:cNvPr>
                <p:cNvSpPr>
                  <a:spLocks noChangeShapeType="1"/>
                </p:cNvSpPr>
                <p:nvPr/>
              </p:nvSpPr>
              <p:spPr bwMode="auto">
                <a:xfrm>
                  <a:off x="6101117" y="4607259"/>
                  <a:ext cx="57355" cy="0"/>
                </a:xfrm>
                <a:prstGeom prst="line">
                  <a:avLst/>
                </a:prstGeom>
                <a:noFill/>
                <a:ln w="12700" cap="flat">
                  <a:solidFill>
                    <a:srgbClr val="0093D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algn="l" rtl="0" fontAlgn="base">
                    <a:spcBef>
                      <a:spcPct val="0"/>
                    </a:spcBef>
                    <a:spcAft>
                      <a:spcPct val="0"/>
                    </a:spcAft>
                  </a:pPr>
                  <a:endParaRPr lang="zh-CN" sz="1000" b="1">
                    <a:solidFill>
                      <a:srgbClr val="504C4C"/>
                    </a:solidFill>
                    <a:latin typeface="Arial" panose="020B0604020202020204" pitchFamily="34" charset="0"/>
                    <a:ea typeface="微软雅黑" panose="020B0503020204020204" pitchFamily="34" charset="-122"/>
                    <a:cs typeface="Arial" pitchFamily="34" charset="0"/>
                  </a:endParaRPr>
                </a:p>
              </p:txBody>
            </p:sp>
            <p:sp>
              <p:nvSpPr>
                <p:cNvPr id="758" name="Freeform 250">
                  <a:extLst>
                    <a:ext uri="{FF2B5EF4-FFF2-40B4-BE49-F238E27FC236}">
                      <a16:creationId xmlns:a16="http://schemas.microsoft.com/office/drawing/2014/main" id="{D1DFC5BE-E600-46E3-B249-B4B4697AAD80}"/>
                    </a:ext>
                  </a:extLst>
                </p:cNvPr>
                <p:cNvSpPr>
                  <a:spLocks/>
                </p:cNvSpPr>
                <p:nvPr/>
              </p:nvSpPr>
              <p:spPr bwMode="auto">
                <a:xfrm>
                  <a:off x="5407039" y="4582678"/>
                  <a:ext cx="0" cy="120173"/>
                </a:xfrm>
                <a:custGeom>
                  <a:avLst/>
                  <a:gdLst>
                    <a:gd name="T0" fmla="*/ 88 h 88"/>
                    <a:gd name="T1" fmla="*/ 0 h 88"/>
                    <a:gd name="T2" fmla="*/ 88 h 88"/>
                  </a:gdLst>
                  <a:ahLst/>
                  <a:cxnLst>
                    <a:cxn ang="0">
                      <a:pos x="0" y="T0"/>
                    </a:cxn>
                    <a:cxn ang="0">
                      <a:pos x="0" y="T1"/>
                    </a:cxn>
                    <a:cxn ang="0">
                      <a:pos x="0" y="T2"/>
                    </a:cxn>
                  </a:cxnLst>
                  <a:rect l="0" t="0" r="r" b="b"/>
                  <a:pathLst>
                    <a:path h="88">
                      <a:moveTo>
                        <a:pt x="0" y="88"/>
                      </a:moveTo>
                      <a:lnTo>
                        <a:pt x="0" y="0"/>
                      </a:lnTo>
                      <a:lnTo>
                        <a:pt x="0" y="88"/>
                      </a:lnTo>
                      <a:close/>
                    </a:path>
                  </a:pathLst>
                </a:custGeom>
                <a:solidFill>
                  <a:srgbClr val="0098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l" rtl="0" fontAlgn="base">
                    <a:spcBef>
                      <a:spcPct val="0"/>
                    </a:spcBef>
                    <a:spcAft>
                      <a:spcPct val="0"/>
                    </a:spcAft>
                  </a:pPr>
                  <a:endParaRPr lang="zh-CN" sz="1000" b="1">
                    <a:solidFill>
                      <a:srgbClr val="504C4C"/>
                    </a:solidFill>
                    <a:latin typeface="Arial" panose="020B0604020202020204" pitchFamily="34" charset="0"/>
                    <a:ea typeface="微软雅黑" panose="020B0503020204020204" pitchFamily="34" charset="-122"/>
                    <a:cs typeface="Arial" pitchFamily="34" charset="0"/>
                  </a:endParaRPr>
                </a:p>
              </p:txBody>
            </p:sp>
            <p:sp>
              <p:nvSpPr>
                <p:cNvPr id="759" name="Line 251">
                  <a:extLst>
                    <a:ext uri="{FF2B5EF4-FFF2-40B4-BE49-F238E27FC236}">
                      <a16:creationId xmlns:a16="http://schemas.microsoft.com/office/drawing/2014/main" id="{A113C661-073A-4530-84A5-D9B3ECCA0FB4}"/>
                    </a:ext>
                  </a:extLst>
                </p:cNvPr>
                <p:cNvSpPr>
                  <a:spLocks noChangeShapeType="1"/>
                </p:cNvSpPr>
                <p:nvPr/>
              </p:nvSpPr>
              <p:spPr bwMode="auto">
                <a:xfrm flipV="1">
                  <a:off x="5407039" y="4582678"/>
                  <a:ext cx="0" cy="120173"/>
                </a:xfrm>
                <a:prstGeom prst="line">
                  <a:avLst/>
                </a:prstGeom>
                <a:noFill/>
                <a:ln w="12700" cap="flat">
                  <a:solidFill>
                    <a:srgbClr val="0093D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algn="l" rtl="0" fontAlgn="base">
                    <a:spcBef>
                      <a:spcPct val="0"/>
                    </a:spcBef>
                    <a:spcAft>
                      <a:spcPct val="0"/>
                    </a:spcAft>
                  </a:pPr>
                  <a:endParaRPr lang="zh-CN" sz="1000" b="1">
                    <a:solidFill>
                      <a:srgbClr val="504C4C"/>
                    </a:solidFill>
                    <a:latin typeface="Arial" panose="020B0604020202020204" pitchFamily="34" charset="0"/>
                    <a:ea typeface="微软雅黑" panose="020B0503020204020204" pitchFamily="34" charset="-122"/>
                    <a:cs typeface="Arial" pitchFamily="34" charset="0"/>
                  </a:endParaRPr>
                </a:p>
              </p:txBody>
            </p:sp>
            <p:sp>
              <p:nvSpPr>
                <p:cNvPr id="760" name="Freeform 252">
                  <a:extLst>
                    <a:ext uri="{FF2B5EF4-FFF2-40B4-BE49-F238E27FC236}">
                      <a16:creationId xmlns:a16="http://schemas.microsoft.com/office/drawing/2014/main" id="{283B26DB-BE11-40FB-896E-D947C28D3F5D}"/>
                    </a:ext>
                  </a:extLst>
                </p:cNvPr>
                <p:cNvSpPr>
                  <a:spLocks/>
                </p:cNvSpPr>
                <p:nvPr/>
              </p:nvSpPr>
              <p:spPr bwMode="auto">
                <a:xfrm>
                  <a:off x="5376995" y="4582678"/>
                  <a:ext cx="57355" cy="0"/>
                </a:xfrm>
                <a:custGeom>
                  <a:avLst/>
                  <a:gdLst>
                    <a:gd name="T0" fmla="*/ 0 w 42"/>
                    <a:gd name="T1" fmla="*/ 42 w 42"/>
                    <a:gd name="T2" fmla="*/ 0 w 42"/>
                  </a:gdLst>
                  <a:ahLst/>
                  <a:cxnLst>
                    <a:cxn ang="0">
                      <a:pos x="T0" y="0"/>
                    </a:cxn>
                    <a:cxn ang="0">
                      <a:pos x="T1" y="0"/>
                    </a:cxn>
                    <a:cxn ang="0">
                      <a:pos x="T2" y="0"/>
                    </a:cxn>
                  </a:cxnLst>
                  <a:rect l="0" t="0" r="r" b="b"/>
                  <a:pathLst>
                    <a:path w="42">
                      <a:moveTo>
                        <a:pt x="0" y="0"/>
                      </a:moveTo>
                      <a:lnTo>
                        <a:pt x="42" y="0"/>
                      </a:lnTo>
                      <a:lnTo>
                        <a:pt x="0" y="0"/>
                      </a:lnTo>
                      <a:close/>
                    </a:path>
                  </a:pathLst>
                </a:custGeom>
                <a:solidFill>
                  <a:srgbClr val="0098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l" rtl="0" fontAlgn="base">
                    <a:spcBef>
                      <a:spcPct val="0"/>
                    </a:spcBef>
                    <a:spcAft>
                      <a:spcPct val="0"/>
                    </a:spcAft>
                  </a:pPr>
                  <a:endParaRPr lang="zh-CN" sz="1000" b="1">
                    <a:solidFill>
                      <a:srgbClr val="504C4C"/>
                    </a:solidFill>
                    <a:latin typeface="Arial" panose="020B0604020202020204" pitchFamily="34" charset="0"/>
                    <a:ea typeface="微软雅黑" panose="020B0503020204020204" pitchFamily="34" charset="-122"/>
                    <a:cs typeface="Arial" pitchFamily="34" charset="0"/>
                  </a:endParaRPr>
                </a:p>
              </p:txBody>
            </p:sp>
            <p:sp>
              <p:nvSpPr>
                <p:cNvPr id="761" name="Line 253">
                  <a:extLst>
                    <a:ext uri="{FF2B5EF4-FFF2-40B4-BE49-F238E27FC236}">
                      <a16:creationId xmlns:a16="http://schemas.microsoft.com/office/drawing/2014/main" id="{D0397510-E824-423E-B557-589F40485D5B}"/>
                    </a:ext>
                  </a:extLst>
                </p:cNvPr>
                <p:cNvSpPr>
                  <a:spLocks noChangeShapeType="1"/>
                </p:cNvSpPr>
                <p:nvPr/>
              </p:nvSpPr>
              <p:spPr bwMode="auto">
                <a:xfrm>
                  <a:off x="5376995" y="4582678"/>
                  <a:ext cx="57355" cy="0"/>
                </a:xfrm>
                <a:prstGeom prst="line">
                  <a:avLst/>
                </a:prstGeom>
                <a:noFill/>
                <a:ln w="12700" cap="flat">
                  <a:solidFill>
                    <a:srgbClr val="0093D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algn="l" rtl="0" fontAlgn="base">
                    <a:spcBef>
                      <a:spcPct val="0"/>
                    </a:spcBef>
                    <a:spcAft>
                      <a:spcPct val="0"/>
                    </a:spcAft>
                  </a:pPr>
                  <a:endParaRPr lang="zh-CN" sz="1000" b="1">
                    <a:solidFill>
                      <a:srgbClr val="504C4C"/>
                    </a:solidFill>
                    <a:latin typeface="Arial" panose="020B0604020202020204" pitchFamily="34" charset="0"/>
                    <a:ea typeface="微软雅黑" panose="020B0503020204020204" pitchFamily="34" charset="-122"/>
                    <a:cs typeface="Arial" pitchFamily="34" charset="0"/>
                  </a:endParaRPr>
                </a:p>
              </p:txBody>
            </p:sp>
            <p:sp>
              <p:nvSpPr>
                <p:cNvPr id="762" name="Freeform 254">
                  <a:extLst>
                    <a:ext uri="{FF2B5EF4-FFF2-40B4-BE49-F238E27FC236}">
                      <a16:creationId xmlns:a16="http://schemas.microsoft.com/office/drawing/2014/main" id="{FE3D0AC5-68B6-4692-AD68-721715C32BF9}"/>
                    </a:ext>
                  </a:extLst>
                </p:cNvPr>
                <p:cNvSpPr>
                  <a:spLocks/>
                </p:cNvSpPr>
                <p:nvPr/>
              </p:nvSpPr>
              <p:spPr bwMode="auto">
                <a:xfrm>
                  <a:off x="5376995" y="4702851"/>
                  <a:ext cx="57355" cy="0"/>
                </a:xfrm>
                <a:custGeom>
                  <a:avLst/>
                  <a:gdLst>
                    <a:gd name="T0" fmla="*/ 0 w 42"/>
                    <a:gd name="T1" fmla="*/ 42 w 42"/>
                    <a:gd name="T2" fmla="*/ 0 w 42"/>
                  </a:gdLst>
                  <a:ahLst/>
                  <a:cxnLst>
                    <a:cxn ang="0">
                      <a:pos x="T0" y="0"/>
                    </a:cxn>
                    <a:cxn ang="0">
                      <a:pos x="T1" y="0"/>
                    </a:cxn>
                    <a:cxn ang="0">
                      <a:pos x="T2" y="0"/>
                    </a:cxn>
                  </a:cxnLst>
                  <a:rect l="0" t="0" r="r" b="b"/>
                  <a:pathLst>
                    <a:path w="42">
                      <a:moveTo>
                        <a:pt x="0" y="0"/>
                      </a:moveTo>
                      <a:lnTo>
                        <a:pt x="42" y="0"/>
                      </a:lnTo>
                      <a:lnTo>
                        <a:pt x="0" y="0"/>
                      </a:lnTo>
                      <a:close/>
                    </a:path>
                  </a:pathLst>
                </a:custGeom>
                <a:solidFill>
                  <a:srgbClr val="0098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l" rtl="0" fontAlgn="base">
                    <a:spcBef>
                      <a:spcPct val="0"/>
                    </a:spcBef>
                    <a:spcAft>
                      <a:spcPct val="0"/>
                    </a:spcAft>
                  </a:pPr>
                  <a:endParaRPr lang="zh-CN" sz="1000" b="1">
                    <a:solidFill>
                      <a:srgbClr val="504C4C"/>
                    </a:solidFill>
                    <a:latin typeface="Arial" panose="020B0604020202020204" pitchFamily="34" charset="0"/>
                    <a:ea typeface="微软雅黑" panose="020B0503020204020204" pitchFamily="34" charset="-122"/>
                    <a:cs typeface="Arial" pitchFamily="34" charset="0"/>
                  </a:endParaRPr>
                </a:p>
              </p:txBody>
            </p:sp>
            <p:sp>
              <p:nvSpPr>
                <p:cNvPr id="763" name="Line 255">
                  <a:extLst>
                    <a:ext uri="{FF2B5EF4-FFF2-40B4-BE49-F238E27FC236}">
                      <a16:creationId xmlns:a16="http://schemas.microsoft.com/office/drawing/2014/main" id="{24B47DF7-7B0C-406D-9A13-D862E2ECE72D}"/>
                    </a:ext>
                  </a:extLst>
                </p:cNvPr>
                <p:cNvSpPr>
                  <a:spLocks noChangeShapeType="1"/>
                </p:cNvSpPr>
                <p:nvPr/>
              </p:nvSpPr>
              <p:spPr bwMode="auto">
                <a:xfrm>
                  <a:off x="5376995" y="4702851"/>
                  <a:ext cx="57355" cy="0"/>
                </a:xfrm>
                <a:prstGeom prst="line">
                  <a:avLst/>
                </a:prstGeom>
                <a:noFill/>
                <a:ln w="12700" cap="flat">
                  <a:solidFill>
                    <a:srgbClr val="0093D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algn="l" rtl="0" fontAlgn="base">
                    <a:spcBef>
                      <a:spcPct val="0"/>
                    </a:spcBef>
                    <a:spcAft>
                      <a:spcPct val="0"/>
                    </a:spcAft>
                  </a:pPr>
                  <a:endParaRPr lang="zh-CN" sz="1000" b="1">
                    <a:solidFill>
                      <a:srgbClr val="504C4C"/>
                    </a:solidFill>
                    <a:latin typeface="Arial" panose="020B0604020202020204" pitchFamily="34" charset="0"/>
                    <a:ea typeface="微软雅黑" panose="020B0503020204020204" pitchFamily="34" charset="-122"/>
                    <a:cs typeface="Arial" pitchFamily="34" charset="0"/>
                  </a:endParaRPr>
                </a:p>
              </p:txBody>
            </p:sp>
            <p:sp>
              <p:nvSpPr>
                <p:cNvPr id="764" name="Freeform 256">
                  <a:extLst>
                    <a:ext uri="{FF2B5EF4-FFF2-40B4-BE49-F238E27FC236}">
                      <a16:creationId xmlns:a16="http://schemas.microsoft.com/office/drawing/2014/main" id="{1B2A61AA-F8DC-4242-B06F-C3580E8ADD26}"/>
                    </a:ext>
                  </a:extLst>
                </p:cNvPr>
                <p:cNvSpPr>
                  <a:spLocks/>
                </p:cNvSpPr>
                <p:nvPr/>
              </p:nvSpPr>
              <p:spPr bwMode="auto">
                <a:xfrm>
                  <a:off x="3954033" y="4544441"/>
                  <a:ext cx="0" cy="133829"/>
                </a:xfrm>
                <a:custGeom>
                  <a:avLst/>
                  <a:gdLst>
                    <a:gd name="T0" fmla="*/ 98 h 98"/>
                    <a:gd name="T1" fmla="*/ 0 h 98"/>
                    <a:gd name="T2" fmla="*/ 98 h 98"/>
                  </a:gdLst>
                  <a:ahLst/>
                  <a:cxnLst>
                    <a:cxn ang="0">
                      <a:pos x="0" y="T0"/>
                    </a:cxn>
                    <a:cxn ang="0">
                      <a:pos x="0" y="T1"/>
                    </a:cxn>
                    <a:cxn ang="0">
                      <a:pos x="0" y="T2"/>
                    </a:cxn>
                  </a:cxnLst>
                  <a:rect l="0" t="0" r="r" b="b"/>
                  <a:pathLst>
                    <a:path h="98">
                      <a:moveTo>
                        <a:pt x="0" y="98"/>
                      </a:moveTo>
                      <a:lnTo>
                        <a:pt x="0" y="0"/>
                      </a:lnTo>
                      <a:lnTo>
                        <a:pt x="0" y="98"/>
                      </a:lnTo>
                      <a:close/>
                    </a:path>
                  </a:pathLst>
                </a:custGeom>
                <a:solidFill>
                  <a:srgbClr val="0098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l" rtl="0" fontAlgn="base">
                    <a:spcBef>
                      <a:spcPct val="0"/>
                    </a:spcBef>
                    <a:spcAft>
                      <a:spcPct val="0"/>
                    </a:spcAft>
                  </a:pPr>
                  <a:endParaRPr lang="zh-CN" sz="1000" b="1">
                    <a:solidFill>
                      <a:srgbClr val="504C4C"/>
                    </a:solidFill>
                    <a:latin typeface="Arial" panose="020B0604020202020204" pitchFamily="34" charset="0"/>
                    <a:ea typeface="微软雅黑" panose="020B0503020204020204" pitchFamily="34" charset="-122"/>
                    <a:cs typeface="Arial" pitchFamily="34" charset="0"/>
                  </a:endParaRPr>
                </a:p>
              </p:txBody>
            </p:sp>
            <p:sp>
              <p:nvSpPr>
                <p:cNvPr id="765" name="Line 257">
                  <a:extLst>
                    <a:ext uri="{FF2B5EF4-FFF2-40B4-BE49-F238E27FC236}">
                      <a16:creationId xmlns:a16="http://schemas.microsoft.com/office/drawing/2014/main" id="{12E09637-F1A3-4B3A-9AD2-19CA854DF492}"/>
                    </a:ext>
                  </a:extLst>
                </p:cNvPr>
                <p:cNvSpPr>
                  <a:spLocks noChangeShapeType="1"/>
                </p:cNvSpPr>
                <p:nvPr/>
              </p:nvSpPr>
              <p:spPr bwMode="auto">
                <a:xfrm flipV="1">
                  <a:off x="3954033" y="4544441"/>
                  <a:ext cx="0" cy="133829"/>
                </a:xfrm>
                <a:prstGeom prst="line">
                  <a:avLst/>
                </a:prstGeom>
                <a:noFill/>
                <a:ln w="12700" cap="flat">
                  <a:solidFill>
                    <a:srgbClr val="0093D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algn="l" rtl="0" fontAlgn="base">
                    <a:spcBef>
                      <a:spcPct val="0"/>
                    </a:spcBef>
                    <a:spcAft>
                      <a:spcPct val="0"/>
                    </a:spcAft>
                  </a:pPr>
                  <a:endParaRPr lang="zh-CN" sz="1000" b="1">
                    <a:solidFill>
                      <a:srgbClr val="504C4C"/>
                    </a:solidFill>
                    <a:latin typeface="Arial" panose="020B0604020202020204" pitchFamily="34" charset="0"/>
                    <a:ea typeface="微软雅黑" panose="020B0503020204020204" pitchFamily="34" charset="-122"/>
                    <a:cs typeface="Arial" pitchFamily="34" charset="0"/>
                  </a:endParaRPr>
                </a:p>
              </p:txBody>
            </p:sp>
            <p:sp>
              <p:nvSpPr>
                <p:cNvPr id="766" name="Freeform 258">
                  <a:extLst>
                    <a:ext uri="{FF2B5EF4-FFF2-40B4-BE49-F238E27FC236}">
                      <a16:creationId xmlns:a16="http://schemas.microsoft.com/office/drawing/2014/main" id="{DFAF8FA1-BED0-4E32-8861-4B1774ADEF13}"/>
                    </a:ext>
                  </a:extLst>
                </p:cNvPr>
                <p:cNvSpPr>
                  <a:spLocks/>
                </p:cNvSpPr>
                <p:nvPr/>
              </p:nvSpPr>
              <p:spPr bwMode="auto">
                <a:xfrm>
                  <a:off x="3923990" y="4544441"/>
                  <a:ext cx="57355" cy="0"/>
                </a:xfrm>
                <a:custGeom>
                  <a:avLst/>
                  <a:gdLst>
                    <a:gd name="T0" fmla="*/ 0 w 42"/>
                    <a:gd name="T1" fmla="*/ 42 w 42"/>
                    <a:gd name="T2" fmla="*/ 0 w 42"/>
                  </a:gdLst>
                  <a:ahLst/>
                  <a:cxnLst>
                    <a:cxn ang="0">
                      <a:pos x="T0" y="0"/>
                    </a:cxn>
                    <a:cxn ang="0">
                      <a:pos x="T1" y="0"/>
                    </a:cxn>
                    <a:cxn ang="0">
                      <a:pos x="T2" y="0"/>
                    </a:cxn>
                  </a:cxnLst>
                  <a:rect l="0" t="0" r="r" b="b"/>
                  <a:pathLst>
                    <a:path w="42">
                      <a:moveTo>
                        <a:pt x="0" y="0"/>
                      </a:moveTo>
                      <a:lnTo>
                        <a:pt x="42" y="0"/>
                      </a:lnTo>
                      <a:lnTo>
                        <a:pt x="0" y="0"/>
                      </a:lnTo>
                      <a:close/>
                    </a:path>
                  </a:pathLst>
                </a:custGeom>
                <a:solidFill>
                  <a:srgbClr val="0098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l" rtl="0" fontAlgn="base">
                    <a:spcBef>
                      <a:spcPct val="0"/>
                    </a:spcBef>
                    <a:spcAft>
                      <a:spcPct val="0"/>
                    </a:spcAft>
                  </a:pPr>
                  <a:endParaRPr lang="zh-CN" sz="1000" b="1">
                    <a:solidFill>
                      <a:srgbClr val="504C4C"/>
                    </a:solidFill>
                    <a:latin typeface="Arial" panose="020B0604020202020204" pitchFamily="34" charset="0"/>
                    <a:ea typeface="微软雅黑" panose="020B0503020204020204" pitchFamily="34" charset="-122"/>
                    <a:cs typeface="Arial" pitchFamily="34" charset="0"/>
                  </a:endParaRPr>
                </a:p>
              </p:txBody>
            </p:sp>
            <p:sp>
              <p:nvSpPr>
                <p:cNvPr id="767" name="Line 259">
                  <a:extLst>
                    <a:ext uri="{FF2B5EF4-FFF2-40B4-BE49-F238E27FC236}">
                      <a16:creationId xmlns:a16="http://schemas.microsoft.com/office/drawing/2014/main" id="{123846DA-8395-4E7E-A922-B9DF22FE1EE6}"/>
                    </a:ext>
                  </a:extLst>
                </p:cNvPr>
                <p:cNvSpPr>
                  <a:spLocks noChangeShapeType="1"/>
                </p:cNvSpPr>
                <p:nvPr/>
              </p:nvSpPr>
              <p:spPr bwMode="auto">
                <a:xfrm>
                  <a:off x="3923990" y="4544441"/>
                  <a:ext cx="57355" cy="0"/>
                </a:xfrm>
                <a:prstGeom prst="line">
                  <a:avLst/>
                </a:prstGeom>
                <a:noFill/>
                <a:ln w="12700" cap="flat">
                  <a:solidFill>
                    <a:srgbClr val="0093D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algn="l" rtl="0" fontAlgn="base">
                    <a:spcBef>
                      <a:spcPct val="0"/>
                    </a:spcBef>
                    <a:spcAft>
                      <a:spcPct val="0"/>
                    </a:spcAft>
                  </a:pPr>
                  <a:endParaRPr lang="zh-CN" sz="1000" b="1">
                    <a:solidFill>
                      <a:srgbClr val="504C4C"/>
                    </a:solidFill>
                    <a:latin typeface="Arial" panose="020B0604020202020204" pitchFamily="34" charset="0"/>
                    <a:ea typeface="微软雅黑" panose="020B0503020204020204" pitchFamily="34" charset="-122"/>
                    <a:cs typeface="Arial" pitchFamily="34" charset="0"/>
                  </a:endParaRPr>
                </a:p>
              </p:txBody>
            </p:sp>
            <p:sp>
              <p:nvSpPr>
                <p:cNvPr id="768" name="Freeform 260">
                  <a:extLst>
                    <a:ext uri="{FF2B5EF4-FFF2-40B4-BE49-F238E27FC236}">
                      <a16:creationId xmlns:a16="http://schemas.microsoft.com/office/drawing/2014/main" id="{C72D1EA9-7D4B-4C3F-92EE-1E500F88A046}"/>
                    </a:ext>
                  </a:extLst>
                </p:cNvPr>
                <p:cNvSpPr>
                  <a:spLocks/>
                </p:cNvSpPr>
                <p:nvPr/>
              </p:nvSpPr>
              <p:spPr bwMode="auto">
                <a:xfrm>
                  <a:off x="3923990" y="4678270"/>
                  <a:ext cx="57355" cy="0"/>
                </a:xfrm>
                <a:custGeom>
                  <a:avLst/>
                  <a:gdLst>
                    <a:gd name="T0" fmla="*/ 0 w 42"/>
                    <a:gd name="T1" fmla="*/ 42 w 42"/>
                    <a:gd name="T2" fmla="*/ 0 w 42"/>
                  </a:gdLst>
                  <a:ahLst/>
                  <a:cxnLst>
                    <a:cxn ang="0">
                      <a:pos x="T0" y="0"/>
                    </a:cxn>
                    <a:cxn ang="0">
                      <a:pos x="T1" y="0"/>
                    </a:cxn>
                    <a:cxn ang="0">
                      <a:pos x="T2" y="0"/>
                    </a:cxn>
                  </a:cxnLst>
                  <a:rect l="0" t="0" r="r" b="b"/>
                  <a:pathLst>
                    <a:path w="42">
                      <a:moveTo>
                        <a:pt x="0" y="0"/>
                      </a:moveTo>
                      <a:lnTo>
                        <a:pt x="42" y="0"/>
                      </a:lnTo>
                      <a:lnTo>
                        <a:pt x="0" y="0"/>
                      </a:lnTo>
                      <a:close/>
                    </a:path>
                  </a:pathLst>
                </a:custGeom>
                <a:solidFill>
                  <a:srgbClr val="0098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l" rtl="0" fontAlgn="base">
                    <a:spcBef>
                      <a:spcPct val="0"/>
                    </a:spcBef>
                    <a:spcAft>
                      <a:spcPct val="0"/>
                    </a:spcAft>
                  </a:pPr>
                  <a:endParaRPr lang="zh-CN" sz="1000" b="1">
                    <a:solidFill>
                      <a:srgbClr val="504C4C"/>
                    </a:solidFill>
                    <a:latin typeface="Arial" panose="020B0604020202020204" pitchFamily="34" charset="0"/>
                    <a:ea typeface="微软雅黑" panose="020B0503020204020204" pitchFamily="34" charset="-122"/>
                    <a:cs typeface="Arial" pitchFamily="34" charset="0"/>
                  </a:endParaRPr>
                </a:p>
              </p:txBody>
            </p:sp>
            <p:sp>
              <p:nvSpPr>
                <p:cNvPr id="769" name="Line 261">
                  <a:extLst>
                    <a:ext uri="{FF2B5EF4-FFF2-40B4-BE49-F238E27FC236}">
                      <a16:creationId xmlns:a16="http://schemas.microsoft.com/office/drawing/2014/main" id="{6548B18B-1E7B-4804-9A27-68EA70DCBFE0}"/>
                    </a:ext>
                  </a:extLst>
                </p:cNvPr>
                <p:cNvSpPr>
                  <a:spLocks noChangeShapeType="1"/>
                </p:cNvSpPr>
                <p:nvPr/>
              </p:nvSpPr>
              <p:spPr bwMode="auto">
                <a:xfrm>
                  <a:off x="3923990" y="4678270"/>
                  <a:ext cx="57355" cy="0"/>
                </a:xfrm>
                <a:prstGeom prst="line">
                  <a:avLst/>
                </a:prstGeom>
                <a:noFill/>
                <a:ln w="12700" cap="flat">
                  <a:solidFill>
                    <a:srgbClr val="0093D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algn="l" rtl="0" fontAlgn="base">
                    <a:spcBef>
                      <a:spcPct val="0"/>
                    </a:spcBef>
                    <a:spcAft>
                      <a:spcPct val="0"/>
                    </a:spcAft>
                  </a:pPr>
                  <a:endParaRPr lang="zh-CN" sz="1000" b="1">
                    <a:solidFill>
                      <a:srgbClr val="504C4C"/>
                    </a:solidFill>
                    <a:latin typeface="Arial" panose="020B0604020202020204" pitchFamily="34" charset="0"/>
                    <a:ea typeface="微软雅黑" panose="020B0503020204020204" pitchFamily="34" charset="-122"/>
                    <a:cs typeface="Arial" pitchFamily="34" charset="0"/>
                  </a:endParaRPr>
                </a:p>
              </p:txBody>
            </p:sp>
            <p:sp>
              <p:nvSpPr>
                <p:cNvPr id="770" name="Freeform 262">
                  <a:extLst>
                    <a:ext uri="{FF2B5EF4-FFF2-40B4-BE49-F238E27FC236}">
                      <a16:creationId xmlns:a16="http://schemas.microsoft.com/office/drawing/2014/main" id="{8BBE45FE-3729-4AB4-BDF0-3BB29F0342C4}"/>
                    </a:ext>
                  </a:extLst>
                </p:cNvPr>
                <p:cNvSpPr>
                  <a:spLocks/>
                </p:cNvSpPr>
                <p:nvPr/>
              </p:nvSpPr>
              <p:spPr bwMode="auto">
                <a:xfrm>
                  <a:off x="3228897" y="4484354"/>
                  <a:ext cx="0" cy="152948"/>
                </a:xfrm>
                <a:custGeom>
                  <a:avLst/>
                  <a:gdLst>
                    <a:gd name="T0" fmla="*/ 112 h 112"/>
                    <a:gd name="T1" fmla="*/ 0 h 112"/>
                    <a:gd name="T2" fmla="*/ 112 h 112"/>
                  </a:gdLst>
                  <a:ahLst/>
                  <a:cxnLst>
                    <a:cxn ang="0">
                      <a:pos x="0" y="T0"/>
                    </a:cxn>
                    <a:cxn ang="0">
                      <a:pos x="0" y="T1"/>
                    </a:cxn>
                    <a:cxn ang="0">
                      <a:pos x="0" y="T2"/>
                    </a:cxn>
                  </a:cxnLst>
                  <a:rect l="0" t="0" r="r" b="b"/>
                  <a:pathLst>
                    <a:path h="112">
                      <a:moveTo>
                        <a:pt x="0" y="112"/>
                      </a:moveTo>
                      <a:lnTo>
                        <a:pt x="0" y="0"/>
                      </a:lnTo>
                      <a:lnTo>
                        <a:pt x="0" y="112"/>
                      </a:lnTo>
                      <a:close/>
                    </a:path>
                  </a:pathLst>
                </a:custGeom>
                <a:solidFill>
                  <a:srgbClr val="0098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l" rtl="0" fontAlgn="base">
                    <a:spcBef>
                      <a:spcPct val="0"/>
                    </a:spcBef>
                    <a:spcAft>
                      <a:spcPct val="0"/>
                    </a:spcAft>
                  </a:pPr>
                  <a:endParaRPr lang="zh-CN" sz="1000" b="1">
                    <a:solidFill>
                      <a:srgbClr val="504C4C"/>
                    </a:solidFill>
                    <a:latin typeface="Arial" panose="020B0604020202020204" pitchFamily="34" charset="0"/>
                    <a:ea typeface="微软雅黑" panose="020B0503020204020204" pitchFamily="34" charset="-122"/>
                    <a:cs typeface="Arial" pitchFamily="34" charset="0"/>
                  </a:endParaRPr>
                </a:p>
              </p:txBody>
            </p:sp>
            <p:sp>
              <p:nvSpPr>
                <p:cNvPr id="771" name="Line 263">
                  <a:extLst>
                    <a:ext uri="{FF2B5EF4-FFF2-40B4-BE49-F238E27FC236}">
                      <a16:creationId xmlns:a16="http://schemas.microsoft.com/office/drawing/2014/main" id="{9087C76F-495B-4D71-8BF4-3A82AE4442DC}"/>
                    </a:ext>
                  </a:extLst>
                </p:cNvPr>
                <p:cNvSpPr>
                  <a:spLocks noChangeShapeType="1"/>
                </p:cNvSpPr>
                <p:nvPr/>
              </p:nvSpPr>
              <p:spPr bwMode="auto">
                <a:xfrm flipV="1">
                  <a:off x="3228897" y="4484354"/>
                  <a:ext cx="0" cy="152948"/>
                </a:xfrm>
                <a:prstGeom prst="line">
                  <a:avLst/>
                </a:prstGeom>
                <a:noFill/>
                <a:ln w="12700" cap="flat">
                  <a:solidFill>
                    <a:srgbClr val="0093D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algn="l" rtl="0" fontAlgn="base">
                    <a:spcBef>
                      <a:spcPct val="0"/>
                    </a:spcBef>
                    <a:spcAft>
                      <a:spcPct val="0"/>
                    </a:spcAft>
                  </a:pPr>
                  <a:endParaRPr lang="zh-CN" sz="1000" b="1">
                    <a:solidFill>
                      <a:srgbClr val="504C4C"/>
                    </a:solidFill>
                    <a:latin typeface="Arial" panose="020B0604020202020204" pitchFamily="34" charset="0"/>
                    <a:ea typeface="微软雅黑" panose="020B0503020204020204" pitchFamily="34" charset="-122"/>
                    <a:cs typeface="Arial" pitchFamily="34" charset="0"/>
                  </a:endParaRPr>
                </a:p>
              </p:txBody>
            </p:sp>
            <p:sp>
              <p:nvSpPr>
                <p:cNvPr id="772" name="Freeform 264">
                  <a:extLst>
                    <a:ext uri="{FF2B5EF4-FFF2-40B4-BE49-F238E27FC236}">
                      <a16:creationId xmlns:a16="http://schemas.microsoft.com/office/drawing/2014/main" id="{B29491E5-429E-4029-B409-7A07750CCF5D}"/>
                    </a:ext>
                  </a:extLst>
                </p:cNvPr>
                <p:cNvSpPr>
                  <a:spLocks/>
                </p:cNvSpPr>
                <p:nvPr/>
              </p:nvSpPr>
              <p:spPr bwMode="auto">
                <a:xfrm>
                  <a:off x="3198854" y="4484354"/>
                  <a:ext cx="57355" cy="0"/>
                </a:xfrm>
                <a:custGeom>
                  <a:avLst/>
                  <a:gdLst>
                    <a:gd name="T0" fmla="*/ 0 w 42"/>
                    <a:gd name="T1" fmla="*/ 42 w 42"/>
                    <a:gd name="T2" fmla="*/ 0 w 42"/>
                  </a:gdLst>
                  <a:ahLst/>
                  <a:cxnLst>
                    <a:cxn ang="0">
                      <a:pos x="T0" y="0"/>
                    </a:cxn>
                    <a:cxn ang="0">
                      <a:pos x="T1" y="0"/>
                    </a:cxn>
                    <a:cxn ang="0">
                      <a:pos x="T2" y="0"/>
                    </a:cxn>
                  </a:cxnLst>
                  <a:rect l="0" t="0" r="r" b="b"/>
                  <a:pathLst>
                    <a:path w="42">
                      <a:moveTo>
                        <a:pt x="0" y="0"/>
                      </a:moveTo>
                      <a:lnTo>
                        <a:pt x="42" y="0"/>
                      </a:lnTo>
                      <a:lnTo>
                        <a:pt x="0" y="0"/>
                      </a:lnTo>
                      <a:close/>
                    </a:path>
                  </a:pathLst>
                </a:custGeom>
                <a:solidFill>
                  <a:srgbClr val="0098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l" rtl="0" fontAlgn="base">
                    <a:spcBef>
                      <a:spcPct val="0"/>
                    </a:spcBef>
                    <a:spcAft>
                      <a:spcPct val="0"/>
                    </a:spcAft>
                  </a:pPr>
                  <a:endParaRPr lang="zh-CN" sz="1000" b="1">
                    <a:solidFill>
                      <a:srgbClr val="504C4C"/>
                    </a:solidFill>
                    <a:latin typeface="Arial" panose="020B0604020202020204" pitchFamily="34" charset="0"/>
                    <a:ea typeface="微软雅黑" panose="020B0503020204020204" pitchFamily="34" charset="-122"/>
                    <a:cs typeface="Arial" pitchFamily="34" charset="0"/>
                  </a:endParaRPr>
                </a:p>
              </p:txBody>
            </p:sp>
            <p:sp>
              <p:nvSpPr>
                <p:cNvPr id="773" name="Line 265">
                  <a:extLst>
                    <a:ext uri="{FF2B5EF4-FFF2-40B4-BE49-F238E27FC236}">
                      <a16:creationId xmlns:a16="http://schemas.microsoft.com/office/drawing/2014/main" id="{7675F689-A61F-4212-890E-3E86B8CE9D00}"/>
                    </a:ext>
                  </a:extLst>
                </p:cNvPr>
                <p:cNvSpPr>
                  <a:spLocks noChangeShapeType="1"/>
                </p:cNvSpPr>
                <p:nvPr/>
              </p:nvSpPr>
              <p:spPr bwMode="auto">
                <a:xfrm>
                  <a:off x="3198854" y="4484354"/>
                  <a:ext cx="57355" cy="0"/>
                </a:xfrm>
                <a:prstGeom prst="line">
                  <a:avLst/>
                </a:prstGeom>
                <a:noFill/>
                <a:ln w="12700" cap="flat">
                  <a:solidFill>
                    <a:srgbClr val="0093D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algn="l" rtl="0" fontAlgn="base">
                    <a:spcBef>
                      <a:spcPct val="0"/>
                    </a:spcBef>
                    <a:spcAft>
                      <a:spcPct val="0"/>
                    </a:spcAft>
                  </a:pPr>
                  <a:endParaRPr lang="zh-CN" sz="1000" b="1">
                    <a:solidFill>
                      <a:srgbClr val="504C4C"/>
                    </a:solidFill>
                    <a:latin typeface="Arial" panose="020B0604020202020204" pitchFamily="34" charset="0"/>
                    <a:ea typeface="微软雅黑" panose="020B0503020204020204" pitchFamily="34" charset="-122"/>
                    <a:cs typeface="Arial" pitchFamily="34" charset="0"/>
                  </a:endParaRPr>
                </a:p>
              </p:txBody>
            </p:sp>
            <p:sp>
              <p:nvSpPr>
                <p:cNvPr id="774" name="Freeform 266">
                  <a:extLst>
                    <a:ext uri="{FF2B5EF4-FFF2-40B4-BE49-F238E27FC236}">
                      <a16:creationId xmlns:a16="http://schemas.microsoft.com/office/drawing/2014/main" id="{C838597F-6B72-4F0C-918D-82F0ADA0F5AC}"/>
                    </a:ext>
                  </a:extLst>
                </p:cNvPr>
                <p:cNvSpPr>
                  <a:spLocks/>
                </p:cNvSpPr>
                <p:nvPr/>
              </p:nvSpPr>
              <p:spPr bwMode="auto">
                <a:xfrm>
                  <a:off x="3198854" y="4637302"/>
                  <a:ext cx="57355" cy="0"/>
                </a:xfrm>
                <a:custGeom>
                  <a:avLst/>
                  <a:gdLst>
                    <a:gd name="T0" fmla="*/ 0 w 42"/>
                    <a:gd name="T1" fmla="*/ 42 w 42"/>
                    <a:gd name="T2" fmla="*/ 0 w 42"/>
                  </a:gdLst>
                  <a:ahLst/>
                  <a:cxnLst>
                    <a:cxn ang="0">
                      <a:pos x="T0" y="0"/>
                    </a:cxn>
                    <a:cxn ang="0">
                      <a:pos x="T1" y="0"/>
                    </a:cxn>
                    <a:cxn ang="0">
                      <a:pos x="T2" y="0"/>
                    </a:cxn>
                  </a:cxnLst>
                  <a:rect l="0" t="0" r="r" b="b"/>
                  <a:pathLst>
                    <a:path w="42">
                      <a:moveTo>
                        <a:pt x="0" y="0"/>
                      </a:moveTo>
                      <a:lnTo>
                        <a:pt x="42" y="0"/>
                      </a:lnTo>
                      <a:lnTo>
                        <a:pt x="0" y="0"/>
                      </a:lnTo>
                      <a:close/>
                    </a:path>
                  </a:pathLst>
                </a:custGeom>
                <a:solidFill>
                  <a:srgbClr val="0098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l" rtl="0" fontAlgn="base">
                    <a:spcBef>
                      <a:spcPct val="0"/>
                    </a:spcBef>
                    <a:spcAft>
                      <a:spcPct val="0"/>
                    </a:spcAft>
                  </a:pPr>
                  <a:endParaRPr lang="zh-CN" sz="1000" b="1">
                    <a:solidFill>
                      <a:srgbClr val="504C4C"/>
                    </a:solidFill>
                    <a:latin typeface="Arial" panose="020B0604020202020204" pitchFamily="34" charset="0"/>
                    <a:ea typeface="微软雅黑" panose="020B0503020204020204" pitchFamily="34" charset="-122"/>
                    <a:cs typeface="Arial" pitchFamily="34" charset="0"/>
                  </a:endParaRPr>
                </a:p>
              </p:txBody>
            </p:sp>
            <p:sp>
              <p:nvSpPr>
                <p:cNvPr id="775" name="Line 267">
                  <a:extLst>
                    <a:ext uri="{FF2B5EF4-FFF2-40B4-BE49-F238E27FC236}">
                      <a16:creationId xmlns:a16="http://schemas.microsoft.com/office/drawing/2014/main" id="{CA04C9DC-DFE9-437A-BB53-0C1EC35D2B6F}"/>
                    </a:ext>
                  </a:extLst>
                </p:cNvPr>
                <p:cNvSpPr>
                  <a:spLocks noChangeShapeType="1"/>
                </p:cNvSpPr>
                <p:nvPr/>
              </p:nvSpPr>
              <p:spPr bwMode="auto">
                <a:xfrm>
                  <a:off x="3198854" y="4637302"/>
                  <a:ext cx="57355" cy="0"/>
                </a:xfrm>
                <a:prstGeom prst="line">
                  <a:avLst/>
                </a:prstGeom>
                <a:noFill/>
                <a:ln w="12700" cap="flat">
                  <a:solidFill>
                    <a:srgbClr val="0093D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algn="l" rtl="0" fontAlgn="base">
                    <a:spcBef>
                      <a:spcPct val="0"/>
                    </a:spcBef>
                    <a:spcAft>
                      <a:spcPct val="0"/>
                    </a:spcAft>
                  </a:pPr>
                  <a:endParaRPr lang="zh-CN" sz="1000" b="1">
                    <a:solidFill>
                      <a:srgbClr val="504C4C"/>
                    </a:solidFill>
                    <a:latin typeface="Arial" panose="020B0604020202020204" pitchFamily="34" charset="0"/>
                    <a:ea typeface="微软雅黑" panose="020B0503020204020204" pitchFamily="34" charset="-122"/>
                    <a:cs typeface="Arial" pitchFamily="34" charset="0"/>
                  </a:endParaRPr>
                </a:p>
              </p:txBody>
            </p:sp>
            <p:sp>
              <p:nvSpPr>
                <p:cNvPr id="776" name="Freeform 268">
                  <a:extLst>
                    <a:ext uri="{FF2B5EF4-FFF2-40B4-BE49-F238E27FC236}">
                      <a16:creationId xmlns:a16="http://schemas.microsoft.com/office/drawing/2014/main" id="{0113CE4B-F915-4EB9-9797-A02A7B576CCD}"/>
                    </a:ext>
                  </a:extLst>
                </p:cNvPr>
                <p:cNvSpPr>
                  <a:spLocks/>
                </p:cNvSpPr>
                <p:nvPr/>
              </p:nvSpPr>
              <p:spPr bwMode="auto">
                <a:xfrm>
                  <a:off x="2685385" y="4462504"/>
                  <a:ext cx="0" cy="169335"/>
                </a:xfrm>
                <a:custGeom>
                  <a:avLst/>
                  <a:gdLst>
                    <a:gd name="T0" fmla="*/ 124 h 124"/>
                    <a:gd name="T1" fmla="*/ 0 h 124"/>
                    <a:gd name="T2" fmla="*/ 124 h 124"/>
                  </a:gdLst>
                  <a:ahLst/>
                  <a:cxnLst>
                    <a:cxn ang="0">
                      <a:pos x="0" y="T0"/>
                    </a:cxn>
                    <a:cxn ang="0">
                      <a:pos x="0" y="T1"/>
                    </a:cxn>
                    <a:cxn ang="0">
                      <a:pos x="0" y="T2"/>
                    </a:cxn>
                  </a:cxnLst>
                  <a:rect l="0" t="0" r="r" b="b"/>
                  <a:pathLst>
                    <a:path h="124">
                      <a:moveTo>
                        <a:pt x="0" y="124"/>
                      </a:moveTo>
                      <a:lnTo>
                        <a:pt x="0" y="0"/>
                      </a:lnTo>
                      <a:lnTo>
                        <a:pt x="0" y="124"/>
                      </a:lnTo>
                      <a:close/>
                    </a:path>
                  </a:pathLst>
                </a:custGeom>
                <a:solidFill>
                  <a:srgbClr val="0098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l" rtl="0" fontAlgn="base">
                    <a:spcBef>
                      <a:spcPct val="0"/>
                    </a:spcBef>
                    <a:spcAft>
                      <a:spcPct val="0"/>
                    </a:spcAft>
                  </a:pPr>
                  <a:endParaRPr lang="zh-CN" sz="1000" b="1">
                    <a:solidFill>
                      <a:srgbClr val="504C4C"/>
                    </a:solidFill>
                    <a:latin typeface="Arial" panose="020B0604020202020204" pitchFamily="34" charset="0"/>
                    <a:ea typeface="微软雅黑" panose="020B0503020204020204" pitchFamily="34" charset="-122"/>
                    <a:cs typeface="Arial" pitchFamily="34" charset="0"/>
                  </a:endParaRPr>
                </a:p>
              </p:txBody>
            </p:sp>
            <p:sp>
              <p:nvSpPr>
                <p:cNvPr id="777" name="Line 269">
                  <a:extLst>
                    <a:ext uri="{FF2B5EF4-FFF2-40B4-BE49-F238E27FC236}">
                      <a16:creationId xmlns:a16="http://schemas.microsoft.com/office/drawing/2014/main" id="{FE4B6B35-899E-4A58-8CE4-51CC27758265}"/>
                    </a:ext>
                  </a:extLst>
                </p:cNvPr>
                <p:cNvSpPr>
                  <a:spLocks noChangeShapeType="1"/>
                </p:cNvSpPr>
                <p:nvPr/>
              </p:nvSpPr>
              <p:spPr bwMode="auto">
                <a:xfrm flipV="1">
                  <a:off x="2685385" y="4462504"/>
                  <a:ext cx="0" cy="169335"/>
                </a:xfrm>
                <a:prstGeom prst="line">
                  <a:avLst/>
                </a:prstGeom>
                <a:noFill/>
                <a:ln w="12700" cap="flat">
                  <a:solidFill>
                    <a:srgbClr val="0093D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algn="l" rtl="0" fontAlgn="base">
                    <a:spcBef>
                      <a:spcPct val="0"/>
                    </a:spcBef>
                    <a:spcAft>
                      <a:spcPct val="0"/>
                    </a:spcAft>
                  </a:pPr>
                  <a:endParaRPr lang="zh-CN" sz="1000" b="1">
                    <a:solidFill>
                      <a:srgbClr val="504C4C"/>
                    </a:solidFill>
                    <a:latin typeface="Arial" panose="020B0604020202020204" pitchFamily="34" charset="0"/>
                    <a:ea typeface="微软雅黑" panose="020B0503020204020204" pitchFamily="34" charset="-122"/>
                    <a:cs typeface="Arial" pitchFamily="34" charset="0"/>
                  </a:endParaRPr>
                </a:p>
              </p:txBody>
            </p:sp>
            <p:sp>
              <p:nvSpPr>
                <p:cNvPr id="778" name="Freeform 270">
                  <a:extLst>
                    <a:ext uri="{FF2B5EF4-FFF2-40B4-BE49-F238E27FC236}">
                      <a16:creationId xmlns:a16="http://schemas.microsoft.com/office/drawing/2014/main" id="{CF85A7C8-1AA1-4BCF-B2D4-63CE18FF8A5A}"/>
                    </a:ext>
                  </a:extLst>
                </p:cNvPr>
                <p:cNvSpPr>
                  <a:spLocks/>
                </p:cNvSpPr>
                <p:nvPr/>
              </p:nvSpPr>
              <p:spPr bwMode="auto">
                <a:xfrm>
                  <a:off x="2658073" y="4462504"/>
                  <a:ext cx="57355" cy="0"/>
                </a:xfrm>
                <a:custGeom>
                  <a:avLst/>
                  <a:gdLst>
                    <a:gd name="T0" fmla="*/ 0 w 42"/>
                    <a:gd name="T1" fmla="*/ 42 w 42"/>
                    <a:gd name="T2" fmla="*/ 0 w 42"/>
                  </a:gdLst>
                  <a:ahLst/>
                  <a:cxnLst>
                    <a:cxn ang="0">
                      <a:pos x="T0" y="0"/>
                    </a:cxn>
                    <a:cxn ang="0">
                      <a:pos x="T1" y="0"/>
                    </a:cxn>
                    <a:cxn ang="0">
                      <a:pos x="T2" y="0"/>
                    </a:cxn>
                  </a:cxnLst>
                  <a:rect l="0" t="0" r="r" b="b"/>
                  <a:pathLst>
                    <a:path w="42">
                      <a:moveTo>
                        <a:pt x="0" y="0"/>
                      </a:moveTo>
                      <a:lnTo>
                        <a:pt x="42" y="0"/>
                      </a:lnTo>
                      <a:lnTo>
                        <a:pt x="0" y="0"/>
                      </a:lnTo>
                      <a:close/>
                    </a:path>
                  </a:pathLst>
                </a:custGeom>
                <a:solidFill>
                  <a:srgbClr val="0098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l" rtl="0" fontAlgn="base">
                    <a:spcBef>
                      <a:spcPct val="0"/>
                    </a:spcBef>
                    <a:spcAft>
                      <a:spcPct val="0"/>
                    </a:spcAft>
                  </a:pPr>
                  <a:endParaRPr lang="zh-CN" sz="1000" b="1">
                    <a:solidFill>
                      <a:srgbClr val="504C4C"/>
                    </a:solidFill>
                    <a:latin typeface="Arial" panose="020B0604020202020204" pitchFamily="34" charset="0"/>
                    <a:ea typeface="微软雅黑" panose="020B0503020204020204" pitchFamily="34" charset="-122"/>
                    <a:cs typeface="Arial" pitchFamily="34" charset="0"/>
                  </a:endParaRPr>
                </a:p>
              </p:txBody>
            </p:sp>
            <p:sp>
              <p:nvSpPr>
                <p:cNvPr id="779" name="Line 271">
                  <a:extLst>
                    <a:ext uri="{FF2B5EF4-FFF2-40B4-BE49-F238E27FC236}">
                      <a16:creationId xmlns:a16="http://schemas.microsoft.com/office/drawing/2014/main" id="{43266470-BE97-4557-987A-9DDF28C808AF}"/>
                    </a:ext>
                  </a:extLst>
                </p:cNvPr>
                <p:cNvSpPr>
                  <a:spLocks noChangeShapeType="1"/>
                </p:cNvSpPr>
                <p:nvPr/>
              </p:nvSpPr>
              <p:spPr bwMode="auto">
                <a:xfrm>
                  <a:off x="2658073" y="4462504"/>
                  <a:ext cx="57355" cy="0"/>
                </a:xfrm>
                <a:prstGeom prst="line">
                  <a:avLst/>
                </a:prstGeom>
                <a:noFill/>
                <a:ln w="12700" cap="flat">
                  <a:solidFill>
                    <a:srgbClr val="0093D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algn="l" rtl="0" fontAlgn="base">
                    <a:spcBef>
                      <a:spcPct val="0"/>
                    </a:spcBef>
                    <a:spcAft>
                      <a:spcPct val="0"/>
                    </a:spcAft>
                  </a:pPr>
                  <a:endParaRPr lang="zh-CN" sz="1000" b="1">
                    <a:solidFill>
                      <a:srgbClr val="504C4C"/>
                    </a:solidFill>
                    <a:latin typeface="Arial" panose="020B0604020202020204" pitchFamily="34" charset="0"/>
                    <a:ea typeface="微软雅黑" panose="020B0503020204020204" pitchFamily="34" charset="-122"/>
                    <a:cs typeface="Arial" pitchFamily="34" charset="0"/>
                  </a:endParaRPr>
                </a:p>
              </p:txBody>
            </p:sp>
            <p:sp>
              <p:nvSpPr>
                <p:cNvPr id="780" name="Freeform 272">
                  <a:extLst>
                    <a:ext uri="{FF2B5EF4-FFF2-40B4-BE49-F238E27FC236}">
                      <a16:creationId xmlns:a16="http://schemas.microsoft.com/office/drawing/2014/main" id="{8F582BD1-383F-4387-9505-D073827012EC}"/>
                    </a:ext>
                  </a:extLst>
                </p:cNvPr>
                <p:cNvSpPr>
                  <a:spLocks/>
                </p:cNvSpPr>
                <p:nvPr/>
              </p:nvSpPr>
              <p:spPr bwMode="auto">
                <a:xfrm>
                  <a:off x="2658073" y="4631840"/>
                  <a:ext cx="57355" cy="0"/>
                </a:xfrm>
                <a:custGeom>
                  <a:avLst/>
                  <a:gdLst>
                    <a:gd name="T0" fmla="*/ 0 w 42"/>
                    <a:gd name="T1" fmla="*/ 42 w 42"/>
                    <a:gd name="T2" fmla="*/ 0 w 42"/>
                  </a:gdLst>
                  <a:ahLst/>
                  <a:cxnLst>
                    <a:cxn ang="0">
                      <a:pos x="T0" y="0"/>
                    </a:cxn>
                    <a:cxn ang="0">
                      <a:pos x="T1" y="0"/>
                    </a:cxn>
                    <a:cxn ang="0">
                      <a:pos x="T2" y="0"/>
                    </a:cxn>
                  </a:cxnLst>
                  <a:rect l="0" t="0" r="r" b="b"/>
                  <a:pathLst>
                    <a:path w="42">
                      <a:moveTo>
                        <a:pt x="0" y="0"/>
                      </a:moveTo>
                      <a:lnTo>
                        <a:pt x="42" y="0"/>
                      </a:lnTo>
                      <a:lnTo>
                        <a:pt x="0" y="0"/>
                      </a:lnTo>
                      <a:close/>
                    </a:path>
                  </a:pathLst>
                </a:custGeom>
                <a:solidFill>
                  <a:srgbClr val="0098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l" rtl="0" fontAlgn="base">
                    <a:spcBef>
                      <a:spcPct val="0"/>
                    </a:spcBef>
                    <a:spcAft>
                      <a:spcPct val="0"/>
                    </a:spcAft>
                  </a:pPr>
                  <a:endParaRPr lang="zh-CN" sz="1000" b="1">
                    <a:solidFill>
                      <a:srgbClr val="504C4C"/>
                    </a:solidFill>
                    <a:latin typeface="Arial" panose="020B0604020202020204" pitchFamily="34" charset="0"/>
                    <a:ea typeface="微软雅黑" panose="020B0503020204020204" pitchFamily="34" charset="-122"/>
                    <a:cs typeface="Arial" pitchFamily="34" charset="0"/>
                  </a:endParaRPr>
                </a:p>
              </p:txBody>
            </p:sp>
            <p:sp>
              <p:nvSpPr>
                <p:cNvPr id="781" name="Line 273">
                  <a:extLst>
                    <a:ext uri="{FF2B5EF4-FFF2-40B4-BE49-F238E27FC236}">
                      <a16:creationId xmlns:a16="http://schemas.microsoft.com/office/drawing/2014/main" id="{B194F8F4-A230-4ED0-BA2F-3BA5DF2E11C6}"/>
                    </a:ext>
                  </a:extLst>
                </p:cNvPr>
                <p:cNvSpPr>
                  <a:spLocks noChangeShapeType="1"/>
                </p:cNvSpPr>
                <p:nvPr/>
              </p:nvSpPr>
              <p:spPr bwMode="auto">
                <a:xfrm>
                  <a:off x="2658073" y="4631840"/>
                  <a:ext cx="57355" cy="0"/>
                </a:xfrm>
                <a:prstGeom prst="line">
                  <a:avLst/>
                </a:prstGeom>
                <a:noFill/>
                <a:ln w="12700" cap="flat">
                  <a:solidFill>
                    <a:srgbClr val="0093D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algn="l" rtl="0" fontAlgn="base">
                    <a:spcBef>
                      <a:spcPct val="0"/>
                    </a:spcBef>
                    <a:spcAft>
                      <a:spcPct val="0"/>
                    </a:spcAft>
                  </a:pPr>
                  <a:endParaRPr lang="zh-CN" sz="1000" b="1">
                    <a:solidFill>
                      <a:srgbClr val="504C4C"/>
                    </a:solidFill>
                    <a:latin typeface="Arial" panose="020B0604020202020204" pitchFamily="34" charset="0"/>
                    <a:ea typeface="微软雅黑" panose="020B0503020204020204" pitchFamily="34" charset="-122"/>
                    <a:cs typeface="Arial" pitchFamily="34" charset="0"/>
                  </a:endParaRPr>
                </a:p>
              </p:txBody>
            </p:sp>
            <p:sp>
              <p:nvSpPr>
                <p:cNvPr id="782" name="Freeform 274">
                  <a:extLst>
                    <a:ext uri="{FF2B5EF4-FFF2-40B4-BE49-F238E27FC236}">
                      <a16:creationId xmlns:a16="http://schemas.microsoft.com/office/drawing/2014/main" id="{A3E7C4DD-6856-41AE-A2E1-83AF1627952A}"/>
                    </a:ext>
                  </a:extLst>
                </p:cNvPr>
                <p:cNvSpPr>
                  <a:spLocks/>
                </p:cNvSpPr>
                <p:nvPr/>
              </p:nvSpPr>
              <p:spPr bwMode="auto">
                <a:xfrm>
                  <a:off x="1781354" y="4310922"/>
                  <a:ext cx="0" cy="146120"/>
                </a:xfrm>
                <a:custGeom>
                  <a:avLst/>
                  <a:gdLst>
                    <a:gd name="T0" fmla="*/ 107 h 107"/>
                    <a:gd name="T1" fmla="*/ 0 h 107"/>
                    <a:gd name="T2" fmla="*/ 107 h 107"/>
                  </a:gdLst>
                  <a:ahLst/>
                  <a:cxnLst>
                    <a:cxn ang="0">
                      <a:pos x="0" y="T0"/>
                    </a:cxn>
                    <a:cxn ang="0">
                      <a:pos x="0" y="T1"/>
                    </a:cxn>
                    <a:cxn ang="0">
                      <a:pos x="0" y="T2"/>
                    </a:cxn>
                  </a:cxnLst>
                  <a:rect l="0" t="0" r="r" b="b"/>
                  <a:pathLst>
                    <a:path h="107">
                      <a:moveTo>
                        <a:pt x="0" y="107"/>
                      </a:moveTo>
                      <a:lnTo>
                        <a:pt x="0" y="0"/>
                      </a:lnTo>
                      <a:lnTo>
                        <a:pt x="0" y="107"/>
                      </a:lnTo>
                      <a:close/>
                    </a:path>
                  </a:pathLst>
                </a:custGeom>
                <a:solidFill>
                  <a:srgbClr val="0098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l" rtl="0" fontAlgn="base">
                    <a:spcBef>
                      <a:spcPct val="0"/>
                    </a:spcBef>
                    <a:spcAft>
                      <a:spcPct val="0"/>
                    </a:spcAft>
                  </a:pPr>
                  <a:endParaRPr lang="zh-CN" sz="1000" b="1">
                    <a:solidFill>
                      <a:srgbClr val="504C4C"/>
                    </a:solidFill>
                    <a:latin typeface="Arial" panose="020B0604020202020204" pitchFamily="34" charset="0"/>
                    <a:ea typeface="微软雅黑" panose="020B0503020204020204" pitchFamily="34" charset="-122"/>
                    <a:cs typeface="Arial" pitchFamily="34" charset="0"/>
                  </a:endParaRPr>
                </a:p>
              </p:txBody>
            </p:sp>
            <p:sp>
              <p:nvSpPr>
                <p:cNvPr id="783" name="Line 275">
                  <a:extLst>
                    <a:ext uri="{FF2B5EF4-FFF2-40B4-BE49-F238E27FC236}">
                      <a16:creationId xmlns:a16="http://schemas.microsoft.com/office/drawing/2014/main" id="{A9536A2D-C299-4B69-8F07-8C55B5E8FBB7}"/>
                    </a:ext>
                  </a:extLst>
                </p:cNvPr>
                <p:cNvSpPr>
                  <a:spLocks noChangeShapeType="1"/>
                </p:cNvSpPr>
                <p:nvPr/>
              </p:nvSpPr>
              <p:spPr bwMode="auto">
                <a:xfrm flipV="1">
                  <a:off x="1781354" y="4310922"/>
                  <a:ext cx="0" cy="146120"/>
                </a:xfrm>
                <a:prstGeom prst="line">
                  <a:avLst/>
                </a:prstGeom>
                <a:noFill/>
                <a:ln w="12700" cap="flat">
                  <a:solidFill>
                    <a:srgbClr val="0093D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algn="l" rtl="0" fontAlgn="base">
                    <a:spcBef>
                      <a:spcPct val="0"/>
                    </a:spcBef>
                    <a:spcAft>
                      <a:spcPct val="0"/>
                    </a:spcAft>
                  </a:pPr>
                  <a:endParaRPr lang="zh-CN" sz="1000" b="1">
                    <a:solidFill>
                      <a:srgbClr val="504C4C"/>
                    </a:solidFill>
                    <a:latin typeface="Arial" panose="020B0604020202020204" pitchFamily="34" charset="0"/>
                    <a:ea typeface="微软雅黑" panose="020B0503020204020204" pitchFamily="34" charset="-122"/>
                    <a:cs typeface="Arial" pitchFamily="34" charset="0"/>
                  </a:endParaRPr>
                </a:p>
              </p:txBody>
            </p:sp>
            <p:sp>
              <p:nvSpPr>
                <p:cNvPr id="784" name="Freeform 276">
                  <a:extLst>
                    <a:ext uri="{FF2B5EF4-FFF2-40B4-BE49-F238E27FC236}">
                      <a16:creationId xmlns:a16="http://schemas.microsoft.com/office/drawing/2014/main" id="{8B496EE4-710F-41E5-9B81-1DCC90A132A2}"/>
                    </a:ext>
                  </a:extLst>
                </p:cNvPr>
                <p:cNvSpPr>
                  <a:spLocks/>
                </p:cNvSpPr>
                <p:nvPr/>
              </p:nvSpPr>
              <p:spPr bwMode="auto">
                <a:xfrm>
                  <a:off x="1751311" y="4310922"/>
                  <a:ext cx="60087" cy="0"/>
                </a:xfrm>
                <a:custGeom>
                  <a:avLst/>
                  <a:gdLst>
                    <a:gd name="T0" fmla="*/ 0 w 44"/>
                    <a:gd name="T1" fmla="*/ 44 w 44"/>
                    <a:gd name="T2" fmla="*/ 0 w 44"/>
                  </a:gdLst>
                  <a:ahLst/>
                  <a:cxnLst>
                    <a:cxn ang="0">
                      <a:pos x="T0" y="0"/>
                    </a:cxn>
                    <a:cxn ang="0">
                      <a:pos x="T1" y="0"/>
                    </a:cxn>
                    <a:cxn ang="0">
                      <a:pos x="T2" y="0"/>
                    </a:cxn>
                  </a:cxnLst>
                  <a:rect l="0" t="0" r="r" b="b"/>
                  <a:pathLst>
                    <a:path w="44">
                      <a:moveTo>
                        <a:pt x="0" y="0"/>
                      </a:moveTo>
                      <a:lnTo>
                        <a:pt x="44" y="0"/>
                      </a:lnTo>
                      <a:lnTo>
                        <a:pt x="0" y="0"/>
                      </a:lnTo>
                      <a:close/>
                    </a:path>
                  </a:pathLst>
                </a:custGeom>
                <a:solidFill>
                  <a:srgbClr val="0098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l" rtl="0" fontAlgn="base">
                    <a:spcBef>
                      <a:spcPct val="0"/>
                    </a:spcBef>
                    <a:spcAft>
                      <a:spcPct val="0"/>
                    </a:spcAft>
                  </a:pPr>
                  <a:endParaRPr lang="zh-CN" sz="1000" b="1">
                    <a:solidFill>
                      <a:srgbClr val="504C4C"/>
                    </a:solidFill>
                    <a:latin typeface="Arial" panose="020B0604020202020204" pitchFamily="34" charset="0"/>
                    <a:ea typeface="微软雅黑" panose="020B0503020204020204" pitchFamily="34" charset="-122"/>
                    <a:cs typeface="Arial" pitchFamily="34" charset="0"/>
                  </a:endParaRPr>
                </a:p>
              </p:txBody>
            </p:sp>
            <p:sp>
              <p:nvSpPr>
                <p:cNvPr id="785" name="Line 277">
                  <a:extLst>
                    <a:ext uri="{FF2B5EF4-FFF2-40B4-BE49-F238E27FC236}">
                      <a16:creationId xmlns:a16="http://schemas.microsoft.com/office/drawing/2014/main" id="{3F2A3202-4E54-4E50-833D-A92F125349F8}"/>
                    </a:ext>
                  </a:extLst>
                </p:cNvPr>
                <p:cNvSpPr>
                  <a:spLocks noChangeShapeType="1"/>
                </p:cNvSpPr>
                <p:nvPr/>
              </p:nvSpPr>
              <p:spPr bwMode="auto">
                <a:xfrm>
                  <a:off x="1751311" y="4310922"/>
                  <a:ext cx="60087" cy="0"/>
                </a:xfrm>
                <a:prstGeom prst="line">
                  <a:avLst/>
                </a:prstGeom>
                <a:noFill/>
                <a:ln w="12700" cap="flat">
                  <a:solidFill>
                    <a:srgbClr val="0093D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algn="l" rtl="0" fontAlgn="base">
                    <a:spcBef>
                      <a:spcPct val="0"/>
                    </a:spcBef>
                    <a:spcAft>
                      <a:spcPct val="0"/>
                    </a:spcAft>
                  </a:pPr>
                  <a:endParaRPr lang="zh-CN" sz="1000" b="1">
                    <a:solidFill>
                      <a:srgbClr val="504C4C"/>
                    </a:solidFill>
                    <a:latin typeface="Arial" panose="020B0604020202020204" pitchFamily="34" charset="0"/>
                    <a:ea typeface="微软雅黑" panose="020B0503020204020204" pitchFamily="34" charset="-122"/>
                    <a:cs typeface="Arial" pitchFamily="34" charset="0"/>
                  </a:endParaRPr>
                </a:p>
              </p:txBody>
            </p:sp>
            <p:sp>
              <p:nvSpPr>
                <p:cNvPr id="786" name="Freeform 278">
                  <a:extLst>
                    <a:ext uri="{FF2B5EF4-FFF2-40B4-BE49-F238E27FC236}">
                      <a16:creationId xmlns:a16="http://schemas.microsoft.com/office/drawing/2014/main" id="{42411D3E-E147-403A-A73C-4DBEC166BB55}"/>
                    </a:ext>
                  </a:extLst>
                </p:cNvPr>
                <p:cNvSpPr>
                  <a:spLocks/>
                </p:cNvSpPr>
                <p:nvPr/>
              </p:nvSpPr>
              <p:spPr bwMode="auto">
                <a:xfrm>
                  <a:off x="1751311" y="4457042"/>
                  <a:ext cx="60087" cy="0"/>
                </a:xfrm>
                <a:custGeom>
                  <a:avLst/>
                  <a:gdLst>
                    <a:gd name="T0" fmla="*/ 0 w 44"/>
                    <a:gd name="T1" fmla="*/ 44 w 44"/>
                    <a:gd name="T2" fmla="*/ 0 w 44"/>
                  </a:gdLst>
                  <a:ahLst/>
                  <a:cxnLst>
                    <a:cxn ang="0">
                      <a:pos x="T0" y="0"/>
                    </a:cxn>
                    <a:cxn ang="0">
                      <a:pos x="T1" y="0"/>
                    </a:cxn>
                    <a:cxn ang="0">
                      <a:pos x="T2" y="0"/>
                    </a:cxn>
                  </a:cxnLst>
                  <a:rect l="0" t="0" r="r" b="b"/>
                  <a:pathLst>
                    <a:path w="44">
                      <a:moveTo>
                        <a:pt x="0" y="0"/>
                      </a:moveTo>
                      <a:lnTo>
                        <a:pt x="44" y="0"/>
                      </a:lnTo>
                      <a:lnTo>
                        <a:pt x="0" y="0"/>
                      </a:lnTo>
                      <a:close/>
                    </a:path>
                  </a:pathLst>
                </a:custGeom>
                <a:solidFill>
                  <a:srgbClr val="0098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l" rtl="0" fontAlgn="base">
                    <a:spcBef>
                      <a:spcPct val="0"/>
                    </a:spcBef>
                    <a:spcAft>
                      <a:spcPct val="0"/>
                    </a:spcAft>
                  </a:pPr>
                  <a:endParaRPr lang="zh-CN" sz="1000" b="1">
                    <a:solidFill>
                      <a:srgbClr val="504C4C"/>
                    </a:solidFill>
                    <a:latin typeface="Arial" panose="020B0604020202020204" pitchFamily="34" charset="0"/>
                    <a:ea typeface="微软雅黑" panose="020B0503020204020204" pitchFamily="34" charset="-122"/>
                    <a:cs typeface="Arial" pitchFamily="34" charset="0"/>
                  </a:endParaRPr>
                </a:p>
              </p:txBody>
            </p:sp>
            <p:sp>
              <p:nvSpPr>
                <p:cNvPr id="787" name="Line 279">
                  <a:extLst>
                    <a:ext uri="{FF2B5EF4-FFF2-40B4-BE49-F238E27FC236}">
                      <a16:creationId xmlns:a16="http://schemas.microsoft.com/office/drawing/2014/main" id="{4427FD6A-62AF-4CDA-9F4F-7E6FF190A5F7}"/>
                    </a:ext>
                  </a:extLst>
                </p:cNvPr>
                <p:cNvSpPr>
                  <a:spLocks noChangeShapeType="1"/>
                </p:cNvSpPr>
                <p:nvPr/>
              </p:nvSpPr>
              <p:spPr bwMode="auto">
                <a:xfrm>
                  <a:off x="1751311" y="4457042"/>
                  <a:ext cx="60087" cy="0"/>
                </a:xfrm>
                <a:prstGeom prst="line">
                  <a:avLst/>
                </a:prstGeom>
                <a:noFill/>
                <a:ln w="12700" cap="flat">
                  <a:solidFill>
                    <a:srgbClr val="0093D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algn="l" rtl="0" fontAlgn="base">
                    <a:spcBef>
                      <a:spcPct val="0"/>
                    </a:spcBef>
                    <a:spcAft>
                      <a:spcPct val="0"/>
                    </a:spcAft>
                  </a:pPr>
                  <a:endParaRPr lang="zh-CN" sz="1000" b="1">
                    <a:solidFill>
                      <a:srgbClr val="504C4C"/>
                    </a:solidFill>
                    <a:latin typeface="Arial" panose="020B0604020202020204" pitchFamily="34" charset="0"/>
                    <a:ea typeface="微软雅黑" panose="020B0503020204020204" pitchFamily="34" charset="-122"/>
                    <a:cs typeface="Arial" pitchFamily="34" charset="0"/>
                  </a:endParaRPr>
                </a:p>
              </p:txBody>
            </p:sp>
            <p:sp>
              <p:nvSpPr>
                <p:cNvPr id="788" name="Freeform 280">
                  <a:extLst>
                    <a:ext uri="{FF2B5EF4-FFF2-40B4-BE49-F238E27FC236}">
                      <a16:creationId xmlns:a16="http://schemas.microsoft.com/office/drawing/2014/main" id="{7543FCBE-01FD-4481-990F-BA45E75FD7D7}"/>
                    </a:ext>
                  </a:extLst>
                </p:cNvPr>
                <p:cNvSpPr>
                  <a:spLocks/>
                </p:cNvSpPr>
                <p:nvPr/>
              </p:nvSpPr>
              <p:spPr bwMode="auto">
                <a:xfrm>
                  <a:off x="1961614" y="4396955"/>
                  <a:ext cx="0" cy="278584"/>
                </a:xfrm>
                <a:custGeom>
                  <a:avLst/>
                  <a:gdLst>
                    <a:gd name="T0" fmla="*/ 204 h 204"/>
                    <a:gd name="T1" fmla="*/ 0 h 204"/>
                    <a:gd name="T2" fmla="*/ 204 h 204"/>
                  </a:gdLst>
                  <a:ahLst/>
                  <a:cxnLst>
                    <a:cxn ang="0">
                      <a:pos x="0" y="T0"/>
                    </a:cxn>
                    <a:cxn ang="0">
                      <a:pos x="0" y="T1"/>
                    </a:cxn>
                    <a:cxn ang="0">
                      <a:pos x="0" y="T2"/>
                    </a:cxn>
                  </a:cxnLst>
                  <a:rect l="0" t="0" r="r" b="b"/>
                  <a:pathLst>
                    <a:path h="204">
                      <a:moveTo>
                        <a:pt x="0" y="204"/>
                      </a:moveTo>
                      <a:lnTo>
                        <a:pt x="0" y="0"/>
                      </a:lnTo>
                      <a:lnTo>
                        <a:pt x="0" y="204"/>
                      </a:lnTo>
                      <a:close/>
                    </a:path>
                  </a:pathLst>
                </a:custGeom>
                <a:solidFill>
                  <a:srgbClr val="0098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l" rtl="0" fontAlgn="base">
                    <a:spcBef>
                      <a:spcPct val="0"/>
                    </a:spcBef>
                    <a:spcAft>
                      <a:spcPct val="0"/>
                    </a:spcAft>
                  </a:pPr>
                  <a:endParaRPr lang="zh-CN" sz="1000" b="1">
                    <a:solidFill>
                      <a:srgbClr val="504C4C"/>
                    </a:solidFill>
                    <a:latin typeface="Arial" panose="020B0604020202020204" pitchFamily="34" charset="0"/>
                    <a:ea typeface="微软雅黑" panose="020B0503020204020204" pitchFamily="34" charset="-122"/>
                    <a:cs typeface="Arial" pitchFamily="34" charset="0"/>
                  </a:endParaRPr>
                </a:p>
              </p:txBody>
            </p:sp>
            <p:sp>
              <p:nvSpPr>
                <p:cNvPr id="789" name="Freeform 282">
                  <a:extLst>
                    <a:ext uri="{FF2B5EF4-FFF2-40B4-BE49-F238E27FC236}">
                      <a16:creationId xmlns:a16="http://schemas.microsoft.com/office/drawing/2014/main" id="{7257F9D0-A47B-481C-8FDA-2448668296BD}"/>
                    </a:ext>
                  </a:extLst>
                </p:cNvPr>
                <p:cNvSpPr>
                  <a:spLocks/>
                </p:cNvSpPr>
                <p:nvPr/>
              </p:nvSpPr>
              <p:spPr bwMode="auto">
                <a:xfrm>
                  <a:off x="1931571" y="4396955"/>
                  <a:ext cx="57355" cy="0"/>
                </a:xfrm>
                <a:custGeom>
                  <a:avLst/>
                  <a:gdLst>
                    <a:gd name="T0" fmla="*/ 0 w 42"/>
                    <a:gd name="T1" fmla="*/ 42 w 42"/>
                    <a:gd name="T2" fmla="*/ 0 w 42"/>
                  </a:gdLst>
                  <a:ahLst/>
                  <a:cxnLst>
                    <a:cxn ang="0">
                      <a:pos x="T0" y="0"/>
                    </a:cxn>
                    <a:cxn ang="0">
                      <a:pos x="T1" y="0"/>
                    </a:cxn>
                    <a:cxn ang="0">
                      <a:pos x="T2" y="0"/>
                    </a:cxn>
                  </a:cxnLst>
                  <a:rect l="0" t="0" r="r" b="b"/>
                  <a:pathLst>
                    <a:path w="42">
                      <a:moveTo>
                        <a:pt x="0" y="0"/>
                      </a:moveTo>
                      <a:lnTo>
                        <a:pt x="42" y="0"/>
                      </a:lnTo>
                      <a:lnTo>
                        <a:pt x="0" y="0"/>
                      </a:lnTo>
                      <a:close/>
                    </a:path>
                  </a:pathLst>
                </a:custGeom>
                <a:solidFill>
                  <a:srgbClr val="0098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l" rtl="0" fontAlgn="base">
                    <a:spcBef>
                      <a:spcPct val="0"/>
                    </a:spcBef>
                    <a:spcAft>
                      <a:spcPct val="0"/>
                    </a:spcAft>
                  </a:pPr>
                  <a:endParaRPr lang="zh-CN" sz="1000" b="1">
                    <a:solidFill>
                      <a:srgbClr val="504C4C"/>
                    </a:solidFill>
                    <a:latin typeface="Arial" panose="020B0604020202020204" pitchFamily="34" charset="0"/>
                    <a:ea typeface="微软雅黑" panose="020B0503020204020204" pitchFamily="34" charset="-122"/>
                    <a:cs typeface="Arial" pitchFamily="34" charset="0"/>
                  </a:endParaRPr>
                </a:p>
              </p:txBody>
            </p:sp>
            <p:sp>
              <p:nvSpPr>
                <p:cNvPr id="790" name="Freeform 284">
                  <a:extLst>
                    <a:ext uri="{FF2B5EF4-FFF2-40B4-BE49-F238E27FC236}">
                      <a16:creationId xmlns:a16="http://schemas.microsoft.com/office/drawing/2014/main" id="{08CDAEE1-311B-45EB-9D14-7D0095EC495B}"/>
                    </a:ext>
                  </a:extLst>
                </p:cNvPr>
                <p:cNvSpPr>
                  <a:spLocks/>
                </p:cNvSpPr>
                <p:nvPr/>
              </p:nvSpPr>
              <p:spPr bwMode="auto">
                <a:xfrm>
                  <a:off x="1931571" y="4675539"/>
                  <a:ext cx="57355" cy="0"/>
                </a:xfrm>
                <a:custGeom>
                  <a:avLst/>
                  <a:gdLst>
                    <a:gd name="T0" fmla="*/ 0 w 42"/>
                    <a:gd name="T1" fmla="*/ 42 w 42"/>
                    <a:gd name="T2" fmla="*/ 0 w 42"/>
                  </a:gdLst>
                  <a:ahLst/>
                  <a:cxnLst>
                    <a:cxn ang="0">
                      <a:pos x="T0" y="0"/>
                    </a:cxn>
                    <a:cxn ang="0">
                      <a:pos x="T1" y="0"/>
                    </a:cxn>
                    <a:cxn ang="0">
                      <a:pos x="T2" y="0"/>
                    </a:cxn>
                  </a:cxnLst>
                  <a:rect l="0" t="0" r="r" b="b"/>
                  <a:pathLst>
                    <a:path w="42">
                      <a:moveTo>
                        <a:pt x="0" y="0"/>
                      </a:moveTo>
                      <a:lnTo>
                        <a:pt x="42" y="0"/>
                      </a:lnTo>
                      <a:lnTo>
                        <a:pt x="0" y="0"/>
                      </a:lnTo>
                      <a:close/>
                    </a:path>
                  </a:pathLst>
                </a:custGeom>
                <a:solidFill>
                  <a:srgbClr val="0098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l" rtl="0" fontAlgn="base">
                    <a:spcBef>
                      <a:spcPct val="0"/>
                    </a:spcBef>
                    <a:spcAft>
                      <a:spcPct val="0"/>
                    </a:spcAft>
                  </a:pPr>
                  <a:endParaRPr lang="zh-CN" sz="1000" b="1">
                    <a:solidFill>
                      <a:srgbClr val="504C4C"/>
                    </a:solidFill>
                    <a:latin typeface="Arial" panose="020B0604020202020204" pitchFamily="34" charset="0"/>
                    <a:ea typeface="微软雅黑" panose="020B0503020204020204" pitchFamily="34" charset="-122"/>
                    <a:cs typeface="Arial" pitchFamily="34" charset="0"/>
                  </a:endParaRPr>
                </a:p>
              </p:txBody>
            </p:sp>
            <p:sp>
              <p:nvSpPr>
                <p:cNvPr id="791" name="Freeform 286">
                  <a:extLst>
                    <a:ext uri="{FF2B5EF4-FFF2-40B4-BE49-F238E27FC236}">
                      <a16:creationId xmlns:a16="http://schemas.microsoft.com/office/drawing/2014/main" id="{D04693B9-71CE-455C-8EA9-C949456F7485}"/>
                    </a:ext>
                  </a:extLst>
                </p:cNvPr>
                <p:cNvSpPr>
                  <a:spLocks/>
                </p:cNvSpPr>
                <p:nvPr/>
              </p:nvSpPr>
              <p:spPr bwMode="auto">
                <a:xfrm>
                  <a:off x="1781354" y="4310922"/>
                  <a:ext cx="0" cy="279950"/>
                </a:xfrm>
                <a:custGeom>
                  <a:avLst/>
                  <a:gdLst>
                    <a:gd name="T0" fmla="*/ 205 h 205"/>
                    <a:gd name="T1" fmla="*/ 0 h 205"/>
                    <a:gd name="T2" fmla="*/ 205 h 205"/>
                  </a:gdLst>
                  <a:ahLst/>
                  <a:cxnLst>
                    <a:cxn ang="0">
                      <a:pos x="0" y="T0"/>
                    </a:cxn>
                    <a:cxn ang="0">
                      <a:pos x="0" y="T1"/>
                    </a:cxn>
                    <a:cxn ang="0">
                      <a:pos x="0" y="T2"/>
                    </a:cxn>
                  </a:cxnLst>
                  <a:rect l="0" t="0" r="r" b="b"/>
                  <a:pathLst>
                    <a:path h="205">
                      <a:moveTo>
                        <a:pt x="0" y="205"/>
                      </a:moveTo>
                      <a:lnTo>
                        <a:pt x="0" y="0"/>
                      </a:lnTo>
                      <a:lnTo>
                        <a:pt x="0" y="205"/>
                      </a:lnTo>
                      <a:close/>
                    </a:path>
                  </a:pathLst>
                </a:custGeom>
                <a:solidFill>
                  <a:srgbClr val="0098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l" rtl="0" fontAlgn="base">
                    <a:spcBef>
                      <a:spcPct val="0"/>
                    </a:spcBef>
                    <a:spcAft>
                      <a:spcPct val="0"/>
                    </a:spcAft>
                  </a:pPr>
                  <a:endParaRPr lang="zh-CN" sz="1000" b="1">
                    <a:solidFill>
                      <a:srgbClr val="504C4C"/>
                    </a:solidFill>
                    <a:latin typeface="Arial" panose="020B0604020202020204" pitchFamily="34" charset="0"/>
                    <a:ea typeface="微软雅黑" panose="020B0503020204020204" pitchFamily="34" charset="-122"/>
                    <a:cs typeface="Arial" pitchFamily="34" charset="0"/>
                  </a:endParaRPr>
                </a:p>
              </p:txBody>
            </p:sp>
            <p:sp>
              <p:nvSpPr>
                <p:cNvPr id="792" name="Freeform 288">
                  <a:extLst>
                    <a:ext uri="{FF2B5EF4-FFF2-40B4-BE49-F238E27FC236}">
                      <a16:creationId xmlns:a16="http://schemas.microsoft.com/office/drawing/2014/main" id="{4A95DFC7-922B-4E6E-B8B1-C003CA17EF5C}"/>
                    </a:ext>
                  </a:extLst>
                </p:cNvPr>
                <p:cNvSpPr>
                  <a:spLocks/>
                </p:cNvSpPr>
                <p:nvPr/>
              </p:nvSpPr>
              <p:spPr bwMode="auto">
                <a:xfrm>
                  <a:off x="1751311" y="4310922"/>
                  <a:ext cx="57355" cy="0"/>
                </a:xfrm>
                <a:custGeom>
                  <a:avLst/>
                  <a:gdLst>
                    <a:gd name="T0" fmla="*/ 0 w 42"/>
                    <a:gd name="T1" fmla="*/ 42 w 42"/>
                    <a:gd name="T2" fmla="*/ 0 w 42"/>
                  </a:gdLst>
                  <a:ahLst/>
                  <a:cxnLst>
                    <a:cxn ang="0">
                      <a:pos x="T0" y="0"/>
                    </a:cxn>
                    <a:cxn ang="0">
                      <a:pos x="T1" y="0"/>
                    </a:cxn>
                    <a:cxn ang="0">
                      <a:pos x="T2" y="0"/>
                    </a:cxn>
                  </a:cxnLst>
                  <a:rect l="0" t="0" r="r" b="b"/>
                  <a:pathLst>
                    <a:path w="42">
                      <a:moveTo>
                        <a:pt x="0" y="0"/>
                      </a:moveTo>
                      <a:lnTo>
                        <a:pt x="42" y="0"/>
                      </a:lnTo>
                      <a:lnTo>
                        <a:pt x="0" y="0"/>
                      </a:lnTo>
                      <a:close/>
                    </a:path>
                  </a:pathLst>
                </a:custGeom>
                <a:solidFill>
                  <a:srgbClr val="0098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l" rtl="0" fontAlgn="base">
                    <a:spcBef>
                      <a:spcPct val="0"/>
                    </a:spcBef>
                    <a:spcAft>
                      <a:spcPct val="0"/>
                    </a:spcAft>
                  </a:pPr>
                  <a:endParaRPr lang="zh-CN" sz="1000" b="1">
                    <a:solidFill>
                      <a:srgbClr val="504C4C"/>
                    </a:solidFill>
                    <a:latin typeface="Arial" panose="020B0604020202020204" pitchFamily="34" charset="0"/>
                    <a:ea typeface="微软雅黑" panose="020B0503020204020204" pitchFamily="34" charset="-122"/>
                    <a:cs typeface="Arial" pitchFamily="34" charset="0"/>
                  </a:endParaRPr>
                </a:p>
              </p:txBody>
            </p:sp>
            <p:sp>
              <p:nvSpPr>
                <p:cNvPr id="793" name="Freeform 290">
                  <a:extLst>
                    <a:ext uri="{FF2B5EF4-FFF2-40B4-BE49-F238E27FC236}">
                      <a16:creationId xmlns:a16="http://schemas.microsoft.com/office/drawing/2014/main" id="{B005D98A-6ED1-48F7-ACA1-64E6D8226166}"/>
                    </a:ext>
                  </a:extLst>
                </p:cNvPr>
                <p:cNvSpPr>
                  <a:spLocks/>
                </p:cNvSpPr>
                <p:nvPr/>
              </p:nvSpPr>
              <p:spPr bwMode="auto">
                <a:xfrm>
                  <a:off x="1751311" y="4590871"/>
                  <a:ext cx="57355" cy="0"/>
                </a:xfrm>
                <a:custGeom>
                  <a:avLst/>
                  <a:gdLst>
                    <a:gd name="T0" fmla="*/ 0 w 42"/>
                    <a:gd name="T1" fmla="*/ 42 w 42"/>
                    <a:gd name="T2" fmla="*/ 0 w 42"/>
                  </a:gdLst>
                  <a:ahLst/>
                  <a:cxnLst>
                    <a:cxn ang="0">
                      <a:pos x="T0" y="0"/>
                    </a:cxn>
                    <a:cxn ang="0">
                      <a:pos x="T1" y="0"/>
                    </a:cxn>
                    <a:cxn ang="0">
                      <a:pos x="T2" y="0"/>
                    </a:cxn>
                  </a:cxnLst>
                  <a:rect l="0" t="0" r="r" b="b"/>
                  <a:pathLst>
                    <a:path w="42">
                      <a:moveTo>
                        <a:pt x="0" y="0"/>
                      </a:moveTo>
                      <a:lnTo>
                        <a:pt x="42" y="0"/>
                      </a:lnTo>
                      <a:lnTo>
                        <a:pt x="0" y="0"/>
                      </a:lnTo>
                      <a:close/>
                    </a:path>
                  </a:pathLst>
                </a:custGeom>
                <a:solidFill>
                  <a:srgbClr val="0098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l" rtl="0" fontAlgn="base">
                    <a:spcBef>
                      <a:spcPct val="0"/>
                    </a:spcBef>
                    <a:spcAft>
                      <a:spcPct val="0"/>
                    </a:spcAft>
                  </a:pPr>
                  <a:endParaRPr lang="zh-CN" sz="1000" b="1">
                    <a:solidFill>
                      <a:srgbClr val="504C4C"/>
                    </a:solidFill>
                    <a:latin typeface="Arial" panose="020B0604020202020204" pitchFamily="34" charset="0"/>
                    <a:ea typeface="微软雅黑" panose="020B0503020204020204" pitchFamily="34" charset="-122"/>
                    <a:cs typeface="Arial" pitchFamily="34" charset="0"/>
                  </a:endParaRPr>
                </a:p>
              </p:txBody>
            </p:sp>
            <p:sp>
              <p:nvSpPr>
                <p:cNvPr id="794" name="Freeform 292">
                  <a:extLst>
                    <a:ext uri="{FF2B5EF4-FFF2-40B4-BE49-F238E27FC236}">
                      <a16:creationId xmlns:a16="http://schemas.microsoft.com/office/drawing/2014/main" id="{C6785666-224E-43D6-933E-872EB3938856}"/>
                    </a:ext>
                  </a:extLst>
                </p:cNvPr>
                <p:cNvSpPr>
                  <a:spLocks/>
                </p:cNvSpPr>
                <p:nvPr/>
              </p:nvSpPr>
              <p:spPr bwMode="auto">
                <a:xfrm>
                  <a:off x="1781354" y="4473429"/>
                  <a:ext cx="0" cy="243078"/>
                </a:xfrm>
                <a:custGeom>
                  <a:avLst/>
                  <a:gdLst>
                    <a:gd name="T0" fmla="*/ 178 h 178"/>
                    <a:gd name="T1" fmla="*/ 0 h 178"/>
                    <a:gd name="T2" fmla="*/ 178 h 178"/>
                  </a:gdLst>
                  <a:ahLst/>
                  <a:cxnLst>
                    <a:cxn ang="0">
                      <a:pos x="0" y="T0"/>
                    </a:cxn>
                    <a:cxn ang="0">
                      <a:pos x="0" y="T1"/>
                    </a:cxn>
                    <a:cxn ang="0">
                      <a:pos x="0" y="T2"/>
                    </a:cxn>
                  </a:cxnLst>
                  <a:rect l="0" t="0" r="r" b="b"/>
                  <a:pathLst>
                    <a:path h="178">
                      <a:moveTo>
                        <a:pt x="0" y="178"/>
                      </a:moveTo>
                      <a:lnTo>
                        <a:pt x="0" y="0"/>
                      </a:lnTo>
                      <a:lnTo>
                        <a:pt x="0" y="178"/>
                      </a:lnTo>
                      <a:close/>
                    </a:path>
                  </a:pathLst>
                </a:custGeom>
                <a:solidFill>
                  <a:srgbClr val="0098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l" rtl="0" fontAlgn="base">
                    <a:spcBef>
                      <a:spcPct val="0"/>
                    </a:spcBef>
                    <a:spcAft>
                      <a:spcPct val="0"/>
                    </a:spcAft>
                  </a:pPr>
                  <a:endParaRPr lang="zh-CN" sz="1000" b="1">
                    <a:solidFill>
                      <a:srgbClr val="504C4C"/>
                    </a:solidFill>
                    <a:latin typeface="Arial" panose="020B0604020202020204" pitchFamily="34" charset="0"/>
                    <a:ea typeface="微软雅黑" panose="020B0503020204020204" pitchFamily="34" charset="-122"/>
                    <a:cs typeface="Arial" pitchFamily="34" charset="0"/>
                  </a:endParaRPr>
                </a:p>
              </p:txBody>
            </p:sp>
            <p:sp>
              <p:nvSpPr>
                <p:cNvPr id="795" name="Freeform 294">
                  <a:extLst>
                    <a:ext uri="{FF2B5EF4-FFF2-40B4-BE49-F238E27FC236}">
                      <a16:creationId xmlns:a16="http://schemas.microsoft.com/office/drawing/2014/main" id="{78A62A2F-D5DE-44D6-871F-E95A56EEA30A}"/>
                    </a:ext>
                  </a:extLst>
                </p:cNvPr>
                <p:cNvSpPr>
                  <a:spLocks/>
                </p:cNvSpPr>
                <p:nvPr/>
              </p:nvSpPr>
              <p:spPr bwMode="auto">
                <a:xfrm>
                  <a:off x="1751311" y="4473429"/>
                  <a:ext cx="57355" cy="0"/>
                </a:xfrm>
                <a:custGeom>
                  <a:avLst/>
                  <a:gdLst>
                    <a:gd name="T0" fmla="*/ 0 w 42"/>
                    <a:gd name="T1" fmla="*/ 42 w 42"/>
                    <a:gd name="T2" fmla="*/ 0 w 42"/>
                  </a:gdLst>
                  <a:ahLst/>
                  <a:cxnLst>
                    <a:cxn ang="0">
                      <a:pos x="T0" y="0"/>
                    </a:cxn>
                    <a:cxn ang="0">
                      <a:pos x="T1" y="0"/>
                    </a:cxn>
                    <a:cxn ang="0">
                      <a:pos x="T2" y="0"/>
                    </a:cxn>
                  </a:cxnLst>
                  <a:rect l="0" t="0" r="r" b="b"/>
                  <a:pathLst>
                    <a:path w="42">
                      <a:moveTo>
                        <a:pt x="0" y="0"/>
                      </a:moveTo>
                      <a:lnTo>
                        <a:pt x="42" y="0"/>
                      </a:lnTo>
                      <a:lnTo>
                        <a:pt x="0" y="0"/>
                      </a:lnTo>
                      <a:close/>
                    </a:path>
                  </a:pathLst>
                </a:custGeom>
                <a:solidFill>
                  <a:srgbClr val="0098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l" rtl="0" fontAlgn="base">
                    <a:spcBef>
                      <a:spcPct val="0"/>
                    </a:spcBef>
                    <a:spcAft>
                      <a:spcPct val="0"/>
                    </a:spcAft>
                  </a:pPr>
                  <a:endParaRPr lang="zh-CN" sz="1000" b="1">
                    <a:solidFill>
                      <a:srgbClr val="504C4C"/>
                    </a:solidFill>
                    <a:latin typeface="Arial" panose="020B0604020202020204" pitchFamily="34" charset="0"/>
                    <a:ea typeface="微软雅黑" panose="020B0503020204020204" pitchFamily="34" charset="-122"/>
                    <a:cs typeface="Arial" pitchFamily="34" charset="0"/>
                  </a:endParaRPr>
                </a:p>
              </p:txBody>
            </p:sp>
            <p:sp>
              <p:nvSpPr>
                <p:cNvPr id="796" name="Freeform 296">
                  <a:extLst>
                    <a:ext uri="{FF2B5EF4-FFF2-40B4-BE49-F238E27FC236}">
                      <a16:creationId xmlns:a16="http://schemas.microsoft.com/office/drawing/2014/main" id="{01436249-1EEC-4BC8-B71C-C41221CE26F2}"/>
                    </a:ext>
                  </a:extLst>
                </p:cNvPr>
                <p:cNvSpPr>
                  <a:spLocks/>
                </p:cNvSpPr>
                <p:nvPr/>
              </p:nvSpPr>
              <p:spPr bwMode="auto">
                <a:xfrm>
                  <a:off x="1751311" y="4716507"/>
                  <a:ext cx="57355" cy="0"/>
                </a:xfrm>
                <a:custGeom>
                  <a:avLst/>
                  <a:gdLst>
                    <a:gd name="T0" fmla="*/ 0 w 42"/>
                    <a:gd name="T1" fmla="*/ 42 w 42"/>
                    <a:gd name="T2" fmla="*/ 0 w 42"/>
                  </a:gdLst>
                  <a:ahLst/>
                  <a:cxnLst>
                    <a:cxn ang="0">
                      <a:pos x="T0" y="0"/>
                    </a:cxn>
                    <a:cxn ang="0">
                      <a:pos x="T1" y="0"/>
                    </a:cxn>
                    <a:cxn ang="0">
                      <a:pos x="T2" y="0"/>
                    </a:cxn>
                  </a:cxnLst>
                  <a:rect l="0" t="0" r="r" b="b"/>
                  <a:pathLst>
                    <a:path w="42">
                      <a:moveTo>
                        <a:pt x="0" y="0"/>
                      </a:moveTo>
                      <a:lnTo>
                        <a:pt x="42" y="0"/>
                      </a:lnTo>
                      <a:lnTo>
                        <a:pt x="0" y="0"/>
                      </a:lnTo>
                      <a:close/>
                    </a:path>
                  </a:pathLst>
                </a:custGeom>
                <a:solidFill>
                  <a:srgbClr val="0098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l" rtl="0" fontAlgn="base">
                    <a:spcBef>
                      <a:spcPct val="0"/>
                    </a:spcBef>
                    <a:spcAft>
                      <a:spcPct val="0"/>
                    </a:spcAft>
                  </a:pPr>
                  <a:endParaRPr lang="zh-CN" sz="1000" b="1">
                    <a:solidFill>
                      <a:srgbClr val="504C4C"/>
                    </a:solidFill>
                    <a:latin typeface="Arial" panose="020B0604020202020204" pitchFamily="34" charset="0"/>
                    <a:ea typeface="微软雅黑" panose="020B0503020204020204" pitchFamily="34" charset="-122"/>
                    <a:cs typeface="Arial" pitchFamily="34" charset="0"/>
                  </a:endParaRPr>
                </a:p>
              </p:txBody>
            </p:sp>
            <p:sp>
              <p:nvSpPr>
                <p:cNvPr id="797" name="Freeform 298">
                  <a:extLst>
                    <a:ext uri="{FF2B5EF4-FFF2-40B4-BE49-F238E27FC236}">
                      <a16:creationId xmlns:a16="http://schemas.microsoft.com/office/drawing/2014/main" id="{8895A317-C376-42A5-8AB8-404E54AF0F3E}"/>
                    </a:ext>
                  </a:extLst>
                </p:cNvPr>
                <p:cNvSpPr>
                  <a:spLocks/>
                </p:cNvSpPr>
                <p:nvPr/>
              </p:nvSpPr>
              <p:spPr bwMode="auto">
                <a:xfrm>
                  <a:off x="1961614" y="4481623"/>
                  <a:ext cx="0" cy="259465"/>
                </a:xfrm>
                <a:custGeom>
                  <a:avLst/>
                  <a:gdLst>
                    <a:gd name="T0" fmla="*/ 190 h 190"/>
                    <a:gd name="T1" fmla="*/ 0 h 190"/>
                    <a:gd name="T2" fmla="*/ 190 h 190"/>
                  </a:gdLst>
                  <a:ahLst/>
                  <a:cxnLst>
                    <a:cxn ang="0">
                      <a:pos x="0" y="T0"/>
                    </a:cxn>
                    <a:cxn ang="0">
                      <a:pos x="0" y="T1"/>
                    </a:cxn>
                    <a:cxn ang="0">
                      <a:pos x="0" y="T2"/>
                    </a:cxn>
                  </a:cxnLst>
                  <a:rect l="0" t="0" r="r" b="b"/>
                  <a:pathLst>
                    <a:path h="190">
                      <a:moveTo>
                        <a:pt x="0" y="190"/>
                      </a:moveTo>
                      <a:lnTo>
                        <a:pt x="0" y="0"/>
                      </a:lnTo>
                      <a:lnTo>
                        <a:pt x="0" y="190"/>
                      </a:lnTo>
                      <a:close/>
                    </a:path>
                  </a:pathLst>
                </a:custGeom>
                <a:solidFill>
                  <a:srgbClr val="0098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l" rtl="0" fontAlgn="base">
                    <a:spcBef>
                      <a:spcPct val="0"/>
                    </a:spcBef>
                    <a:spcAft>
                      <a:spcPct val="0"/>
                    </a:spcAft>
                  </a:pPr>
                  <a:endParaRPr lang="zh-CN" sz="1000" b="1">
                    <a:solidFill>
                      <a:srgbClr val="504C4C"/>
                    </a:solidFill>
                    <a:latin typeface="Arial" panose="020B0604020202020204" pitchFamily="34" charset="0"/>
                    <a:ea typeface="微软雅黑" panose="020B0503020204020204" pitchFamily="34" charset="-122"/>
                    <a:cs typeface="Arial" pitchFamily="34" charset="0"/>
                  </a:endParaRPr>
                </a:p>
              </p:txBody>
            </p:sp>
            <p:sp>
              <p:nvSpPr>
                <p:cNvPr id="798" name="Freeform 300">
                  <a:extLst>
                    <a:ext uri="{FF2B5EF4-FFF2-40B4-BE49-F238E27FC236}">
                      <a16:creationId xmlns:a16="http://schemas.microsoft.com/office/drawing/2014/main" id="{FDF73787-C80C-4F6A-8FDE-0EBFEBFABBFD}"/>
                    </a:ext>
                  </a:extLst>
                </p:cNvPr>
                <p:cNvSpPr>
                  <a:spLocks/>
                </p:cNvSpPr>
                <p:nvPr/>
              </p:nvSpPr>
              <p:spPr bwMode="auto">
                <a:xfrm>
                  <a:off x="1931571" y="4481623"/>
                  <a:ext cx="57355" cy="0"/>
                </a:xfrm>
                <a:custGeom>
                  <a:avLst/>
                  <a:gdLst>
                    <a:gd name="T0" fmla="*/ 0 w 42"/>
                    <a:gd name="T1" fmla="*/ 42 w 42"/>
                    <a:gd name="T2" fmla="*/ 0 w 42"/>
                  </a:gdLst>
                  <a:ahLst/>
                  <a:cxnLst>
                    <a:cxn ang="0">
                      <a:pos x="T0" y="0"/>
                    </a:cxn>
                    <a:cxn ang="0">
                      <a:pos x="T1" y="0"/>
                    </a:cxn>
                    <a:cxn ang="0">
                      <a:pos x="T2" y="0"/>
                    </a:cxn>
                  </a:cxnLst>
                  <a:rect l="0" t="0" r="r" b="b"/>
                  <a:pathLst>
                    <a:path w="42">
                      <a:moveTo>
                        <a:pt x="0" y="0"/>
                      </a:moveTo>
                      <a:lnTo>
                        <a:pt x="42" y="0"/>
                      </a:lnTo>
                      <a:lnTo>
                        <a:pt x="0" y="0"/>
                      </a:lnTo>
                      <a:close/>
                    </a:path>
                  </a:pathLst>
                </a:custGeom>
                <a:solidFill>
                  <a:srgbClr val="0098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l" rtl="0" fontAlgn="base">
                    <a:spcBef>
                      <a:spcPct val="0"/>
                    </a:spcBef>
                    <a:spcAft>
                      <a:spcPct val="0"/>
                    </a:spcAft>
                  </a:pPr>
                  <a:endParaRPr lang="zh-CN" sz="1000" b="1">
                    <a:solidFill>
                      <a:srgbClr val="504C4C"/>
                    </a:solidFill>
                    <a:latin typeface="Arial" panose="020B0604020202020204" pitchFamily="34" charset="0"/>
                    <a:ea typeface="微软雅黑" panose="020B0503020204020204" pitchFamily="34" charset="-122"/>
                    <a:cs typeface="Arial" pitchFamily="34" charset="0"/>
                  </a:endParaRPr>
                </a:p>
              </p:txBody>
            </p:sp>
            <p:sp>
              <p:nvSpPr>
                <p:cNvPr id="799" name="Freeform 304">
                  <a:extLst>
                    <a:ext uri="{FF2B5EF4-FFF2-40B4-BE49-F238E27FC236}">
                      <a16:creationId xmlns:a16="http://schemas.microsoft.com/office/drawing/2014/main" id="{EC4FCF49-2C34-4E00-BFEC-86A035D36726}"/>
                    </a:ext>
                  </a:extLst>
                </p:cNvPr>
                <p:cNvSpPr>
                  <a:spLocks/>
                </p:cNvSpPr>
                <p:nvPr/>
              </p:nvSpPr>
              <p:spPr bwMode="auto">
                <a:xfrm>
                  <a:off x="2688117" y="4536247"/>
                  <a:ext cx="0" cy="226691"/>
                </a:xfrm>
                <a:custGeom>
                  <a:avLst/>
                  <a:gdLst>
                    <a:gd name="T0" fmla="*/ 166 h 166"/>
                    <a:gd name="T1" fmla="*/ 0 h 166"/>
                    <a:gd name="T2" fmla="*/ 166 h 166"/>
                  </a:gdLst>
                  <a:ahLst/>
                  <a:cxnLst>
                    <a:cxn ang="0">
                      <a:pos x="0" y="T0"/>
                    </a:cxn>
                    <a:cxn ang="0">
                      <a:pos x="0" y="T1"/>
                    </a:cxn>
                    <a:cxn ang="0">
                      <a:pos x="0" y="T2"/>
                    </a:cxn>
                  </a:cxnLst>
                  <a:rect l="0" t="0" r="r" b="b"/>
                  <a:pathLst>
                    <a:path h="166">
                      <a:moveTo>
                        <a:pt x="0" y="166"/>
                      </a:moveTo>
                      <a:lnTo>
                        <a:pt x="0" y="0"/>
                      </a:lnTo>
                      <a:lnTo>
                        <a:pt x="0" y="166"/>
                      </a:lnTo>
                      <a:close/>
                    </a:path>
                  </a:pathLst>
                </a:custGeom>
                <a:solidFill>
                  <a:srgbClr val="0098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l" rtl="0" fontAlgn="base">
                    <a:spcBef>
                      <a:spcPct val="0"/>
                    </a:spcBef>
                    <a:spcAft>
                      <a:spcPct val="0"/>
                    </a:spcAft>
                  </a:pPr>
                  <a:endParaRPr lang="zh-CN" sz="1000" b="1">
                    <a:solidFill>
                      <a:srgbClr val="504C4C"/>
                    </a:solidFill>
                    <a:latin typeface="Arial" panose="020B0604020202020204" pitchFamily="34" charset="0"/>
                    <a:ea typeface="微软雅黑" panose="020B0503020204020204" pitchFamily="34" charset="-122"/>
                    <a:cs typeface="Arial" pitchFamily="34" charset="0"/>
                  </a:endParaRPr>
                </a:p>
              </p:txBody>
            </p:sp>
            <p:sp>
              <p:nvSpPr>
                <p:cNvPr id="800" name="Freeform 306">
                  <a:extLst>
                    <a:ext uri="{FF2B5EF4-FFF2-40B4-BE49-F238E27FC236}">
                      <a16:creationId xmlns:a16="http://schemas.microsoft.com/office/drawing/2014/main" id="{743DE093-14E1-49B9-ACBE-6E191A69DFEA}"/>
                    </a:ext>
                  </a:extLst>
                </p:cNvPr>
                <p:cNvSpPr>
                  <a:spLocks/>
                </p:cNvSpPr>
                <p:nvPr/>
              </p:nvSpPr>
              <p:spPr bwMode="auto">
                <a:xfrm>
                  <a:off x="2658073" y="4536247"/>
                  <a:ext cx="57355" cy="0"/>
                </a:xfrm>
                <a:custGeom>
                  <a:avLst/>
                  <a:gdLst>
                    <a:gd name="T0" fmla="*/ 0 w 42"/>
                    <a:gd name="T1" fmla="*/ 42 w 42"/>
                    <a:gd name="T2" fmla="*/ 0 w 42"/>
                  </a:gdLst>
                  <a:ahLst/>
                  <a:cxnLst>
                    <a:cxn ang="0">
                      <a:pos x="T0" y="0"/>
                    </a:cxn>
                    <a:cxn ang="0">
                      <a:pos x="T1" y="0"/>
                    </a:cxn>
                    <a:cxn ang="0">
                      <a:pos x="T2" y="0"/>
                    </a:cxn>
                  </a:cxnLst>
                  <a:rect l="0" t="0" r="r" b="b"/>
                  <a:pathLst>
                    <a:path w="42">
                      <a:moveTo>
                        <a:pt x="0" y="0"/>
                      </a:moveTo>
                      <a:lnTo>
                        <a:pt x="42" y="0"/>
                      </a:lnTo>
                      <a:lnTo>
                        <a:pt x="0" y="0"/>
                      </a:lnTo>
                      <a:close/>
                    </a:path>
                  </a:pathLst>
                </a:custGeom>
                <a:solidFill>
                  <a:srgbClr val="0098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l" rtl="0" fontAlgn="base">
                    <a:spcBef>
                      <a:spcPct val="0"/>
                    </a:spcBef>
                    <a:spcAft>
                      <a:spcPct val="0"/>
                    </a:spcAft>
                  </a:pPr>
                  <a:endParaRPr lang="zh-CN" sz="1000" b="1">
                    <a:solidFill>
                      <a:srgbClr val="504C4C"/>
                    </a:solidFill>
                    <a:latin typeface="Arial" panose="020B0604020202020204" pitchFamily="34" charset="0"/>
                    <a:ea typeface="微软雅黑" panose="020B0503020204020204" pitchFamily="34" charset="-122"/>
                    <a:cs typeface="Arial" pitchFamily="34" charset="0"/>
                  </a:endParaRPr>
                </a:p>
              </p:txBody>
            </p:sp>
            <p:sp>
              <p:nvSpPr>
                <p:cNvPr id="801" name="Freeform 310">
                  <a:extLst>
                    <a:ext uri="{FF2B5EF4-FFF2-40B4-BE49-F238E27FC236}">
                      <a16:creationId xmlns:a16="http://schemas.microsoft.com/office/drawing/2014/main" id="{B5F179FF-9272-4130-9CE2-372D88F51370}"/>
                    </a:ext>
                  </a:extLst>
                </p:cNvPr>
                <p:cNvSpPr>
                  <a:spLocks/>
                </p:cNvSpPr>
                <p:nvPr/>
              </p:nvSpPr>
              <p:spPr bwMode="auto">
                <a:xfrm>
                  <a:off x="3228897" y="4541710"/>
                  <a:ext cx="0" cy="223960"/>
                </a:xfrm>
                <a:custGeom>
                  <a:avLst/>
                  <a:gdLst>
                    <a:gd name="T0" fmla="*/ 164 h 164"/>
                    <a:gd name="T1" fmla="*/ 0 h 164"/>
                    <a:gd name="T2" fmla="*/ 164 h 164"/>
                  </a:gdLst>
                  <a:ahLst/>
                  <a:cxnLst>
                    <a:cxn ang="0">
                      <a:pos x="0" y="T0"/>
                    </a:cxn>
                    <a:cxn ang="0">
                      <a:pos x="0" y="T1"/>
                    </a:cxn>
                    <a:cxn ang="0">
                      <a:pos x="0" y="T2"/>
                    </a:cxn>
                  </a:cxnLst>
                  <a:rect l="0" t="0" r="r" b="b"/>
                  <a:pathLst>
                    <a:path h="164">
                      <a:moveTo>
                        <a:pt x="0" y="164"/>
                      </a:moveTo>
                      <a:lnTo>
                        <a:pt x="0" y="0"/>
                      </a:lnTo>
                      <a:lnTo>
                        <a:pt x="0" y="164"/>
                      </a:lnTo>
                      <a:close/>
                    </a:path>
                  </a:pathLst>
                </a:custGeom>
                <a:solidFill>
                  <a:srgbClr val="0098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l" rtl="0" fontAlgn="base">
                    <a:spcBef>
                      <a:spcPct val="0"/>
                    </a:spcBef>
                    <a:spcAft>
                      <a:spcPct val="0"/>
                    </a:spcAft>
                  </a:pPr>
                  <a:endParaRPr lang="zh-CN" sz="1000" b="1">
                    <a:solidFill>
                      <a:srgbClr val="504C4C"/>
                    </a:solidFill>
                    <a:latin typeface="Arial" panose="020B0604020202020204" pitchFamily="34" charset="0"/>
                    <a:ea typeface="微软雅黑" panose="020B0503020204020204" pitchFamily="34" charset="-122"/>
                    <a:cs typeface="Arial" pitchFamily="34" charset="0"/>
                  </a:endParaRPr>
                </a:p>
              </p:txBody>
            </p:sp>
            <p:sp>
              <p:nvSpPr>
                <p:cNvPr id="802" name="Freeform 312">
                  <a:extLst>
                    <a:ext uri="{FF2B5EF4-FFF2-40B4-BE49-F238E27FC236}">
                      <a16:creationId xmlns:a16="http://schemas.microsoft.com/office/drawing/2014/main" id="{901677DE-1452-4011-A622-8322705B6B49}"/>
                    </a:ext>
                  </a:extLst>
                </p:cNvPr>
                <p:cNvSpPr>
                  <a:spLocks/>
                </p:cNvSpPr>
                <p:nvPr/>
              </p:nvSpPr>
              <p:spPr bwMode="auto">
                <a:xfrm>
                  <a:off x="3198854" y="4541710"/>
                  <a:ext cx="57355" cy="0"/>
                </a:xfrm>
                <a:custGeom>
                  <a:avLst/>
                  <a:gdLst>
                    <a:gd name="T0" fmla="*/ 0 w 42"/>
                    <a:gd name="T1" fmla="*/ 42 w 42"/>
                    <a:gd name="T2" fmla="*/ 0 w 42"/>
                  </a:gdLst>
                  <a:ahLst/>
                  <a:cxnLst>
                    <a:cxn ang="0">
                      <a:pos x="T0" y="0"/>
                    </a:cxn>
                    <a:cxn ang="0">
                      <a:pos x="T1" y="0"/>
                    </a:cxn>
                    <a:cxn ang="0">
                      <a:pos x="T2" y="0"/>
                    </a:cxn>
                  </a:cxnLst>
                  <a:rect l="0" t="0" r="r" b="b"/>
                  <a:pathLst>
                    <a:path w="42">
                      <a:moveTo>
                        <a:pt x="0" y="0"/>
                      </a:moveTo>
                      <a:lnTo>
                        <a:pt x="42" y="0"/>
                      </a:lnTo>
                      <a:lnTo>
                        <a:pt x="0" y="0"/>
                      </a:lnTo>
                      <a:close/>
                    </a:path>
                  </a:pathLst>
                </a:custGeom>
                <a:solidFill>
                  <a:srgbClr val="0098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l" rtl="0" fontAlgn="base">
                    <a:spcBef>
                      <a:spcPct val="0"/>
                    </a:spcBef>
                    <a:spcAft>
                      <a:spcPct val="0"/>
                    </a:spcAft>
                  </a:pPr>
                  <a:endParaRPr lang="zh-CN" sz="1000" b="1">
                    <a:solidFill>
                      <a:srgbClr val="504C4C"/>
                    </a:solidFill>
                    <a:latin typeface="Arial" panose="020B0604020202020204" pitchFamily="34" charset="0"/>
                    <a:ea typeface="微软雅黑" panose="020B0503020204020204" pitchFamily="34" charset="-122"/>
                    <a:cs typeface="Arial" pitchFamily="34" charset="0"/>
                  </a:endParaRPr>
                </a:p>
              </p:txBody>
            </p:sp>
            <p:sp>
              <p:nvSpPr>
                <p:cNvPr id="803" name="Freeform 316">
                  <a:extLst>
                    <a:ext uri="{FF2B5EF4-FFF2-40B4-BE49-F238E27FC236}">
                      <a16:creationId xmlns:a16="http://schemas.microsoft.com/office/drawing/2014/main" id="{9549C615-2842-4C20-92A5-44907F306396}"/>
                    </a:ext>
                  </a:extLst>
                </p:cNvPr>
                <p:cNvSpPr>
                  <a:spLocks/>
                </p:cNvSpPr>
                <p:nvPr/>
              </p:nvSpPr>
              <p:spPr bwMode="auto">
                <a:xfrm>
                  <a:off x="3956765" y="4541710"/>
                  <a:ext cx="0" cy="223960"/>
                </a:xfrm>
                <a:custGeom>
                  <a:avLst/>
                  <a:gdLst>
                    <a:gd name="T0" fmla="*/ 164 h 164"/>
                    <a:gd name="T1" fmla="*/ 0 h 164"/>
                    <a:gd name="T2" fmla="*/ 164 h 164"/>
                  </a:gdLst>
                  <a:ahLst/>
                  <a:cxnLst>
                    <a:cxn ang="0">
                      <a:pos x="0" y="T0"/>
                    </a:cxn>
                    <a:cxn ang="0">
                      <a:pos x="0" y="T1"/>
                    </a:cxn>
                    <a:cxn ang="0">
                      <a:pos x="0" y="T2"/>
                    </a:cxn>
                  </a:cxnLst>
                  <a:rect l="0" t="0" r="r" b="b"/>
                  <a:pathLst>
                    <a:path h="164">
                      <a:moveTo>
                        <a:pt x="0" y="164"/>
                      </a:moveTo>
                      <a:lnTo>
                        <a:pt x="0" y="0"/>
                      </a:lnTo>
                      <a:lnTo>
                        <a:pt x="0" y="164"/>
                      </a:lnTo>
                      <a:close/>
                    </a:path>
                  </a:pathLst>
                </a:custGeom>
                <a:solidFill>
                  <a:srgbClr val="0098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l" rtl="0" fontAlgn="base">
                    <a:spcBef>
                      <a:spcPct val="0"/>
                    </a:spcBef>
                    <a:spcAft>
                      <a:spcPct val="0"/>
                    </a:spcAft>
                  </a:pPr>
                  <a:endParaRPr lang="zh-CN" sz="1000" b="1">
                    <a:solidFill>
                      <a:srgbClr val="504C4C"/>
                    </a:solidFill>
                    <a:latin typeface="Arial" panose="020B0604020202020204" pitchFamily="34" charset="0"/>
                    <a:ea typeface="微软雅黑" panose="020B0503020204020204" pitchFamily="34" charset="-122"/>
                    <a:cs typeface="Arial" pitchFamily="34" charset="0"/>
                  </a:endParaRPr>
                </a:p>
              </p:txBody>
            </p:sp>
            <p:sp>
              <p:nvSpPr>
                <p:cNvPr id="804" name="Freeform 318">
                  <a:extLst>
                    <a:ext uri="{FF2B5EF4-FFF2-40B4-BE49-F238E27FC236}">
                      <a16:creationId xmlns:a16="http://schemas.microsoft.com/office/drawing/2014/main" id="{BBBBBF40-4E2E-4771-BD52-C4CF3FC59B23}"/>
                    </a:ext>
                  </a:extLst>
                </p:cNvPr>
                <p:cNvSpPr>
                  <a:spLocks/>
                </p:cNvSpPr>
                <p:nvPr/>
              </p:nvSpPr>
              <p:spPr bwMode="auto">
                <a:xfrm>
                  <a:off x="3929453" y="4541710"/>
                  <a:ext cx="57355" cy="0"/>
                </a:xfrm>
                <a:custGeom>
                  <a:avLst/>
                  <a:gdLst>
                    <a:gd name="T0" fmla="*/ 0 w 42"/>
                    <a:gd name="T1" fmla="*/ 42 w 42"/>
                    <a:gd name="T2" fmla="*/ 0 w 42"/>
                  </a:gdLst>
                  <a:ahLst/>
                  <a:cxnLst>
                    <a:cxn ang="0">
                      <a:pos x="T0" y="0"/>
                    </a:cxn>
                    <a:cxn ang="0">
                      <a:pos x="T1" y="0"/>
                    </a:cxn>
                    <a:cxn ang="0">
                      <a:pos x="T2" y="0"/>
                    </a:cxn>
                  </a:cxnLst>
                  <a:rect l="0" t="0" r="r" b="b"/>
                  <a:pathLst>
                    <a:path w="42">
                      <a:moveTo>
                        <a:pt x="0" y="0"/>
                      </a:moveTo>
                      <a:lnTo>
                        <a:pt x="42" y="0"/>
                      </a:lnTo>
                      <a:lnTo>
                        <a:pt x="0" y="0"/>
                      </a:lnTo>
                      <a:close/>
                    </a:path>
                  </a:pathLst>
                </a:custGeom>
                <a:solidFill>
                  <a:srgbClr val="0098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l" rtl="0" fontAlgn="base">
                    <a:spcBef>
                      <a:spcPct val="0"/>
                    </a:spcBef>
                    <a:spcAft>
                      <a:spcPct val="0"/>
                    </a:spcAft>
                  </a:pPr>
                  <a:endParaRPr lang="zh-CN" sz="1000" b="1">
                    <a:solidFill>
                      <a:srgbClr val="504C4C"/>
                    </a:solidFill>
                    <a:latin typeface="Arial" panose="020B0604020202020204" pitchFamily="34" charset="0"/>
                    <a:ea typeface="微软雅黑" panose="020B0503020204020204" pitchFamily="34" charset="-122"/>
                    <a:cs typeface="Arial" pitchFamily="34" charset="0"/>
                  </a:endParaRPr>
                </a:p>
              </p:txBody>
            </p:sp>
            <p:sp>
              <p:nvSpPr>
                <p:cNvPr id="805" name="Freeform 322">
                  <a:extLst>
                    <a:ext uri="{FF2B5EF4-FFF2-40B4-BE49-F238E27FC236}">
                      <a16:creationId xmlns:a16="http://schemas.microsoft.com/office/drawing/2014/main" id="{F617BD4D-A62C-4E21-8688-1E04EF35C044}"/>
                    </a:ext>
                  </a:extLst>
                </p:cNvPr>
                <p:cNvSpPr>
                  <a:spLocks/>
                </p:cNvSpPr>
                <p:nvPr/>
              </p:nvSpPr>
              <p:spPr bwMode="auto">
                <a:xfrm>
                  <a:off x="4314554" y="4678270"/>
                  <a:ext cx="0" cy="87399"/>
                </a:xfrm>
                <a:custGeom>
                  <a:avLst/>
                  <a:gdLst>
                    <a:gd name="T0" fmla="*/ 64 h 64"/>
                    <a:gd name="T1" fmla="*/ 0 h 64"/>
                    <a:gd name="T2" fmla="*/ 64 h 64"/>
                  </a:gdLst>
                  <a:ahLst/>
                  <a:cxnLst>
                    <a:cxn ang="0">
                      <a:pos x="0" y="T0"/>
                    </a:cxn>
                    <a:cxn ang="0">
                      <a:pos x="0" y="T1"/>
                    </a:cxn>
                    <a:cxn ang="0">
                      <a:pos x="0" y="T2"/>
                    </a:cxn>
                  </a:cxnLst>
                  <a:rect l="0" t="0" r="r" b="b"/>
                  <a:pathLst>
                    <a:path h="64">
                      <a:moveTo>
                        <a:pt x="0" y="64"/>
                      </a:moveTo>
                      <a:lnTo>
                        <a:pt x="0" y="0"/>
                      </a:lnTo>
                      <a:lnTo>
                        <a:pt x="0" y="64"/>
                      </a:lnTo>
                      <a:close/>
                    </a:path>
                  </a:pathLst>
                </a:custGeom>
                <a:solidFill>
                  <a:srgbClr val="0098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l" rtl="0" fontAlgn="base">
                    <a:spcBef>
                      <a:spcPct val="0"/>
                    </a:spcBef>
                    <a:spcAft>
                      <a:spcPct val="0"/>
                    </a:spcAft>
                  </a:pPr>
                  <a:endParaRPr lang="zh-CN" sz="1000" b="1">
                    <a:solidFill>
                      <a:srgbClr val="504C4C"/>
                    </a:solidFill>
                    <a:latin typeface="Arial" panose="020B0604020202020204" pitchFamily="34" charset="0"/>
                    <a:ea typeface="微软雅黑" panose="020B0503020204020204" pitchFamily="34" charset="-122"/>
                    <a:cs typeface="Arial" pitchFamily="34" charset="0"/>
                  </a:endParaRPr>
                </a:p>
              </p:txBody>
            </p:sp>
            <p:sp>
              <p:nvSpPr>
                <p:cNvPr id="806" name="Freeform 324">
                  <a:extLst>
                    <a:ext uri="{FF2B5EF4-FFF2-40B4-BE49-F238E27FC236}">
                      <a16:creationId xmlns:a16="http://schemas.microsoft.com/office/drawing/2014/main" id="{3BD3E1E9-8B50-4485-B109-C41D4B89D364}"/>
                    </a:ext>
                  </a:extLst>
                </p:cNvPr>
                <p:cNvSpPr>
                  <a:spLocks/>
                </p:cNvSpPr>
                <p:nvPr/>
              </p:nvSpPr>
              <p:spPr bwMode="auto">
                <a:xfrm>
                  <a:off x="4287241" y="4678270"/>
                  <a:ext cx="57355" cy="0"/>
                </a:xfrm>
                <a:custGeom>
                  <a:avLst/>
                  <a:gdLst>
                    <a:gd name="T0" fmla="*/ 0 w 42"/>
                    <a:gd name="T1" fmla="*/ 42 w 42"/>
                    <a:gd name="T2" fmla="*/ 0 w 42"/>
                  </a:gdLst>
                  <a:ahLst/>
                  <a:cxnLst>
                    <a:cxn ang="0">
                      <a:pos x="T0" y="0"/>
                    </a:cxn>
                    <a:cxn ang="0">
                      <a:pos x="T1" y="0"/>
                    </a:cxn>
                    <a:cxn ang="0">
                      <a:pos x="T2" y="0"/>
                    </a:cxn>
                  </a:cxnLst>
                  <a:rect l="0" t="0" r="r" b="b"/>
                  <a:pathLst>
                    <a:path w="42">
                      <a:moveTo>
                        <a:pt x="0" y="0"/>
                      </a:moveTo>
                      <a:lnTo>
                        <a:pt x="42" y="0"/>
                      </a:lnTo>
                      <a:lnTo>
                        <a:pt x="0" y="0"/>
                      </a:lnTo>
                      <a:close/>
                    </a:path>
                  </a:pathLst>
                </a:custGeom>
                <a:solidFill>
                  <a:srgbClr val="0098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l" rtl="0" fontAlgn="base">
                    <a:spcBef>
                      <a:spcPct val="0"/>
                    </a:spcBef>
                    <a:spcAft>
                      <a:spcPct val="0"/>
                    </a:spcAft>
                  </a:pPr>
                  <a:endParaRPr lang="zh-CN" sz="1000" b="1">
                    <a:solidFill>
                      <a:srgbClr val="504C4C"/>
                    </a:solidFill>
                    <a:latin typeface="Arial" panose="020B0604020202020204" pitchFamily="34" charset="0"/>
                    <a:ea typeface="微软雅黑" panose="020B0503020204020204" pitchFamily="34" charset="-122"/>
                    <a:cs typeface="Arial" pitchFamily="34" charset="0"/>
                  </a:endParaRPr>
                </a:p>
              </p:txBody>
            </p:sp>
            <p:sp>
              <p:nvSpPr>
                <p:cNvPr id="807" name="Freeform 328">
                  <a:extLst>
                    <a:ext uri="{FF2B5EF4-FFF2-40B4-BE49-F238E27FC236}">
                      <a16:creationId xmlns:a16="http://schemas.microsoft.com/office/drawing/2014/main" id="{510A8382-922D-401A-B6CA-0E488B205F63}"/>
                    </a:ext>
                  </a:extLst>
                </p:cNvPr>
                <p:cNvSpPr>
                  <a:spLocks/>
                </p:cNvSpPr>
                <p:nvPr/>
              </p:nvSpPr>
              <p:spPr bwMode="auto">
                <a:xfrm>
                  <a:off x="5043787" y="4683733"/>
                  <a:ext cx="0" cy="81936"/>
                </a:xfrm>
                <a:custGeom>
                  <a:avLst/>
                  <a:gdLst>
                    <a:gd name="T0" fmla="*/ 60 h 60"/>
                    <a:gd name="T1" fmla="*/ 0 h 60"/>
                    <a:gd name="T2" fmla="*/ 60 h 60"/>
                  </a:gdLst>
                  <a:ahLst/>
                  <a:cxnLst>
                    <a:cxn ang="0">
                      <a:pos x="0" y="T0"/>
                    </a:cxn>
                    <a:cxn ang="0">
                      <a:pos x="0" y="T1"/>
                    </a:cxn>
                    <a:cxn ang="0">
                      <a:pos x="0" y="T2"/>
                    </a:cxn>
                  </a:cxnLst>
                  <a:rect l="0" t="0" r="r" b="b"/>
                  <a:pathLst>
                    <a:path h="60">
                      <a:moveTo>
                        <a:pt x="0" y="60"/>
                      </a:moveTo>
                      <a:lnTo>
                        <a:pt x="0" y="0"/>
                      </a:lnTo>
                      <a:lnTo>
                        <a:pt x="0" y="60"/>
                      </a:lnTo>
                      <a:close/>
                    </a:path>
                  </a:pathLst>
                </a:custGeom>
                <a:solidFill>
                  <a:srgbClr val="0098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l" rtl="0" fontAlgn="base">
                    <a:spcBef>
                      <a:spcPct val="0"/>
                    </a:spcBef>
                    <a:spcAft>
                      <a:spcPct val="0"/>
                    </a:spcAft>
                  </a:pPr>
                  <a:endParaRPr lang="zh-CN" sz="1000" b="1">
                    <a:solidFill>
                      <a:srgbClr val="504C4C"/>
                    </a:solidFill>
                    <a:latin typeface="Arial" panose="020B0604020202020204" pitchFamily="34" charset="0"/>
                    <a:ea typeface="微软雅黑" panose="020B0503020204020204" pitchFamily="34" charset="-122"/>
                    <a:cs typeface="Arial" pitchFamily="34" charset="0"/>
                  </a:endParaRPr>
                </a:p>
              </p:txBody>
            </p:sp>
            <p:sp>
              <p:nvSpPr>
                <p:cNvPr id="808" name="Freeform 330">
                  <a:extLst>
                    <a:ext uri="{FF2B5EF4-FFF2-40B4-BE49-F238E27FC236}">
                      <a16:creationId xmlns:a16="http://schemas.microsoft.com/office/drawing/2014/main" id="{8E7C6066-95D3-444C-9F36-425E3634FD70}"/>
                    </a:ext>
                  </a:extLst>
                </p:cNvPr>
                <p:cNvSpPr>
                  <a:spLocks/>
                </p:cNvSpPr>
                <p:nvPr/>
              </p:nvSpPr>
              <p:spPr bwMode="auto">
                <a:xfrm>
                  <a:off x="5016475" y="4683733"/>
                  <a:ext cx="57355" cy="0"/>
                </a:xfrm>
                <a:custGeom>
                  <a:avLst/>
                  <a:gdLst>
                    <a:gd name="T0" fmla="*/ 0 w 42"/>
                    <a:gd name="T1" fmla="*/ 42 w 42"/>
                    <a:gd name="T2" fmla="*/ 0 w 42"/>
                  </a:gdLst>
                  <a:ahLst/>
                  <a:cxnLst>
                    <a:cxn ang="0">
                      <a:pos x="T0" y="0"/>
                    </a:cxn>
                    <a:cxn ang="0">
                      <a:pos x="T1" y="0"/>
                    </a:cxn>
                    <a:cxn ang="0">
                      <a:pos x="T2" y="0"/>
                    </a:cxn>
                  </a:cxnLst>
                  <a:rect l="0" t="0" r="r" b="b"/>
                  <a:pathLst>
                    <a:path w="42">
                      <a:moveTo>
                        <a:pt x="0" y="0"/>
                      </a:moveTo>
                      <a:lnTo>
                        <a:pt x="42" y="0"/>
                      </a:lnTo>
                      <a:lnTo>
                        <a:pt x="0" y="0"/>
                      </a:lnTo>
                      <a:close/>
                    </a:path>
                  </a:pathLst>
                </a:custGeom>
                <a:solidFill>
                  <a:srgbClr val="0098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l" rtl="0" fontAlgn="base">
                    <a:spcBef>
                      <a:spcPct val="0"/>
                    </a:spcBef>
                    <a:spcAft>
                      <a:spcPct val="0"/>
                    </a:spcAft>
                  </a:pPr>
                  <a:endParaRPr lang="zh-CN" sz="1000" b="1">
                    <a:solidFill>
                      <a:srgbClr val="504C4C"/>
                    </a:solidFill>
                    <a:latin typeface="Arial" panose="020B0604020202020204" pitchFamily="34" charset="0"/>
                    <a:ea typeface="微软雅黑" panose="020B0503020204020204" pitchFamily="34" charset="-122"/>
                    <a:cs typeface="Arial" pitchFamily="34" charset="0"/>
                  </a:endParaRPr>
                </a:p>
              </p:txBody>
            </p:sp>
            <p:sp>
              <p:nvSpPr>
                <p:cNvPr id="809" name="Freeform 334">
                  <a:extLst>
                    <a:ext uri="{FF2B5EF4-FFF2-40B4-BE49-F238E27FC236}">
                      <a16:creationId xmlns:a16="http://schemas.microsoft.com/office/drawing/2014/main" id="{6BDAAC43-DD9E-4D3D-9794-6A93F3ABD2AA}"/>
                    </a:ext>
                  </a:extLst>
                </p:cNvPr>
                <p:cNvSpPr>
                  <a:spLocks/>
                </p:cNvSpPr>
                <p:nvPr/>
              </p:nvSpPr>
              <p:spPr bwMode="auto">
                <a:xfrm>
                  <a:off x="5767559" y="4683733"/>
                  <a:ext cx="0" cy="81936"/>
                </a:xfrm>
                <a:custGeom>
                  <a:avLst/>
                  <a:gdLst>
                    <a:gd name="T0" fmla="*/ 60 h 60"/>
                    <a:gd name="T1" fmla="*/ 0 h 60"/>
                    <a:gd name="T2" fmla="*/ 60 h 60"/>
                  </a:gdLst>
                  <a:ahLst/>
                  <a:cxnLst>
                    <a:cxn ang="0">
                      <a:pos x="0" y="T0"/>
                    </a:cxn>
                    <a:cxn ang="0">
                      <a:pos x="0" y="T1"/>
                    </a:cxn>
                    <a:cxn ang="0">
                      <a:pos x="0" y="T2"/>
                    </a:cxn>
                  </a:cxnLst>
                  <a:rect l="0" t="0" r="r" b="b"/>
                  <a:pathLst>
                    <a:path h="60">
                      <a:moveTo>
                        <a:pt x="0" y="60"/>
                      </a:moveTo>
                      <a:lnTo>
                        <a:pt x="0" y="0"/>
                      </a:lnTo>
                      <a:lnTo>
                        <a:pt x="0" y="60"/>
                      </a:lnTo>
                      <a:close/>
                    </a:path>
                  </a:pathLst>
                </a:custGeom>
                <a:solidFill>
                  <a:srgbClr val="0098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l" rtl="0" fontAlgn="base">
                    <a:spcBef>
                      <a:spcPct val="0"/>
                    </a:spcBef>
                    <a:spcAft>
                      <a:spcPct val="0"/>
                    </a:spcAft>
                  </a:pPr>
                  <a:endParaRPr lang="zh-CN" sz="1000" b="1">
                    <a:solidFill>
                      <a:srgbClr val="504C4C"/>
                    </a:solidFill>
                    <a:latin typeface="Arial" panose="020B0604020202020204" pitchFamily="34" charset="0"/>
                    <a:ea typeface="微软雅黑" panose="020B0503020204020204" pitchFamily="34" charset="-122"/>
                    <a:cs typeface="Arial" pitchFamily="34" charset="0"/>
                  </a:endParaRPr>
                </a:p>
              </p:txBody>
            </p:sp>
            <p:sp>
              <p:nvSpPr>
                <p:cNvPr id="810" name="Freeform 336">
                  <a:extLst>
                    <a:ext uri="{FF2B5EF4-FFF2-40B4-BE49-F238E27FC236}">
                      <a16:creationId xmlns:a16="http://schemas.microsoft.com/office/drawing/2014/main" id="{40F71907-D00C-463A-B29F-9F12AAB23E8A}"/>
                    </a:ext>
                  </a:extLst>
                </p:cNvPr>
                <p:cNvSpPr>
                  <a:spLocks/>
                </p:cNvSpPr>
                <p:nvPr/>
              </p:nvSpPr>
              <p:spPr bwMode="auto">
                <a:xfrm>
                  <a:off x="5737516" y="4683733"/>
                  <a:ext cx="57355" cy="0"/>
                </a:xfrm>
                <a:custGeom>
                  <a:avLst/>
                  <a:gdLst>
                    <a:gd name="T0" fmla="*/ 0 w 42"/>
                    <a:gd name="T1" fmla="*/ 42 w 42"/>
                    <a:gd name="T2" fmla="*/ 0 w 42"/>
                  </a:gdLst>
                  <a:ahLst/>
                  <a:cxnLst>
                    <a:cxn ang="0">
                      <a:pos x="T0" y="0"/>
                    </a:cxn>
                    <a:cxn ang="0">
                      <a:pos x="T1" y="0"/>
                    </a:cxn>
                    <a:cxn ang="0">
                      <a:pos x="T2" y="0"/>
                    </a:cxn>
                  </a:cxnLst>
                  <a:rect l="0" t="0" r="r" b="b"/>
                  <a:pathLst>
                    <a:path w="42">
                      <a:moveTo>
                        <a:pt x="0" y="0"/>
                      </a:moveTo>
                      <a:lnTo>
                        <a:pt x="42" y="0"/>
                      </a:lnTo>
                      <a:lnTo>
                        <a:pt x="0" y="0"/>
                      </a:lnTo>
                      <a:close/>
                    </a:path>
                  </a:pathLst>
                </a:custGeom>
                <a:solidFill>
                  <a:srgbClr val="0098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l" rtl="0" fontAlgn="base">
                    <a:spcBef>
                      <a:spcPct val="0"/>
                    </a:spcBef>
                    <a:spcAft>
                      <a:spcPct val="0"/>
                    </a:spcAft>
                  </a:pPr>
                  <a:endParaRPr lang="zh-CN" sz="1000" b="1">
                    <a:solidFill>
                      <a:srgbClr val="504C4C"/>
                    </a:solidFill>
                    <a:latin typeface="Arial" panose="020B0604020202020204" pitchFamily="34" charset="0"/>
                    <a:ea typeface="微软雅黑" panose="020B0503020204020204" pitchFamily="34" charset="-122"/>
                    <a:cs typeface="Arial" pitchFamily="34" charset="0"/>
                  </a:endParaRPr>
                </a:p>
              </p:txBody>
            </p:sp>
            <p:sp>
              <p:nvSpPr>
                <p:cNvPr id="811" name="Freeform 340">
                  <a:extLst>
                    <a:ext uri="{FF2B5EF4-FFF2-40B4-BE49-F238E27FC236}">
                      <a16:creationId xmlns:a16="http://schemas.microsoft.com/office/drawing/2014/main" id="{6425D263-7BDD-4EE7-AD4B-357393845E75}"/>
                    </a:ext>
                  </a:extLst>
                </p:cNvPr>
                <p:cNvSpPr>
                  <a:spLocks/>
                </p:cNvSpPr>
                <p:nvPr/>
              </p:nvSpPr>
              <p:spPr bwMode="auto">
                <a:xfrm>
                  <a:off x="5407039" y="4686464"/>
                  <a:ext cx="0" cy="81936"/>
                </a:xfrm>
                <a:custGeom>
                  <a:avLst/>
                  <a:gdLst>
                    <a:gd name="T0" fmla="*/ 60 h 60"/>
                    <a:gd name="T1" fmla="*/ 0 h 60"/>
                    <a:gd name="T2" fmla="*/ 60 h 60"/>
                  </a:gdLst>
                  <a:ahLst/>
                  <a:cxnLst>
                    <a:cxn ang="0">
                      <a:pos x="0" y="T0"/>
                    </a:cxn>
                    <a:cxn ang="0">
                      <a:pos x="0" y="T1"/>
                    </a:cxn>
                    <a:cxn ang="0">
                      <a:pos x="0" y="T2"/>
                    </a:cxn>
                  </a:cxnLst>
                  <a:rect l="0" t="0" r="r" b="b"/>
                  <a:pathLst>
                    <a:path h="60">
                      <a:moveTo>
                        <a:pt x="0" y="60"/>
                      </a:moveTo>
                      <a:lnTo>
                        <a:pt x="0" y="0"/>
                      </a:lnTo>
                      <a:lnTo>
                        <a:pt x="0" y="60"/>
                      </a:lnTo>
                      <a:close/>
                    </a:path>
                  </a:pathLst>
                </a:custGeom>
                <a:solidFill>
                  <a:srgbClr val="0098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l" rtl="0" fontAlgn="base">
                    <a:spcBef>
                      <a:spcPct val="0"/>
                    </a:spcBef>
                    <a:spcAft>
                      <a:spcPct val="0"/>
                    </a:spcAft>
                  </a:pPr>
                  <a:endParaRPr lang="zh-CN" sz="1000" b="1">
                    <a:solidFill>
                      <a:srgbClr val="504C4C"/>
                    </a:solidFill>
                    <a:latin typeface="Arial" panose="020B0604020202020204" pitchFamily="34" charset="0"/>
                    <a:ea typeface="微软雅黑" panose="020B0503020204020204" pitchFamily="34" charset="-122"/>
                    <a:cs typeface="Arial" pitchFamily="34" charset="0"/>
                  </a:endParaRPr>
                </a:p>
              </p:txBody>
            </p:sp>
            <p:sp>
              <p:nvSpPr>
                <p:cNvPr id="812" name="Freeform 342">
                  <a:extLst>
                    <a:ext uri="{FF2B5EF4-FFF2-40B4-BE49-F238E27FC236}">
                      <a16:creationId xmlns:a16="http://schemas.microsoft.com/office/drawing/2014/main" id="{443EA163-CC3A-4BF8-85D6-FF0DF662AFAD}"/>
                    </a:ext>
                  </a:extLst>
                </p:cNvPr>
                <p:cNvSpPr>
                  <a:spLocks/>
                </p:cNvSpPr>
                <p:nvPr/>
              </p:nvSpPr>
              <p:spPr bwMode="auto">
                <a:xfrm>
                  <a:off x="5379727" y="4686464"/>
                  <a:ext cx="57355" cy="0"/>
                </a:xfrm>
                <a:custGeom>
                  <a:avLst/>
                  <a:gdLst>
                    <a:gd name="T0" fmla="*/ 0 w 42"/>
                    <a:gd name="T1" fmla="*/ 42 w 42"/>
                    <a:gd name="T2" fmla="*/ 0 w 42"/>
                  </a:gdLst>
                  <a:ahLst/>
                  <a:cxnLst>
                    <a:cxn ang="0">
                      <a:pos x="T0" y="0"/>
                    </a:cxn>
                    <a:cxn ang="0">
                      <a:pos x="T1" y="0"/>
                    </a:cxn>
                    <a:cxn ang="0">
                      <a:pos x="T2" y="0"/>
                    </a:cxn>
                  </a:cxnLst>
                  <a:rect l="0" t="0" r="r" b="b"/>
                  <a:pathLst>
                    <a:path w="42">
                      <a:moveTo>
                        <a:pt x="0" y="0"/>
                      </a:moveTo>
                      <a:lnTo>
                        <a:pt x="42" y="0"/>
                      </a:lnTo>
                      <a:lnTo>
                        <a:pt x="0" y="0"/>
                      </a:lnTo>
                      <a:close/>
                    </a:path>
                  </a:pathLst>
                </a:custGeom>
                <a:solidFill>
                  <a:srgbClr val="0098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l" rtl="0" fontAlgn="base">
                    <a:spcBef>
                      <a:spcPct val="0"/>
                    </a:spcBef>
                    <a:spcAft>
                      <a:spcPct val="0"/>
                    </a:spcAft>
                  </a:pPr>
                  <a:endParaRPr lang="zh-CN" sz="1000" b="1">
                    <a:solidFill>
                      <a:srgbClr val="504C4C"/>
                    </a:solidFill>
                    <a:latin typeface="Arial" panose="020B0604020202020204" pitchFamily="34" charset="0"/>
                    <a:ea typeface="微软雅黑" panose="020B0503020204020204" pitchFamily="34" charset="-122"/>
                    <a:cs typeface="Arial" pitchFamily="34" charset="0"/>
                  </a:endParaRPr>
                </a:p>
              </p:txBody>
            </p:sp>
            <p:sp>
              <p:nvSpPr>
                <p:cNvPr id="813" name="Freeform 346">
                  <a:extLst>
                    <a:ext uri="{FF2B5EF4-FFF2-40B4-BE49-F238E27FC236}">
                      <a16:creationId xmlns:a16="http://schemas.microsoft.com/office/drawing/2014/main" id="{82B6C5E6-B050-41B2-A6A3-3A1C62384337}"/>
                    </a:ext>
                  </a:extLst>
                </p:cNvPr>
                <p:cNvSpPr>
                  <a:spLocks/>
                </p:cNvSpPr>
                <p:nvPr/>
              </p:nvSpPr>
              <p:spPr bwMode="auto">
                <a:xfrm>
                  <a:off x="6133541" y="4702851"/>
                  <a:ext cx="0" cy="81936"/>
                </a:xfrm>
                <a:custGeom>
                  <a:avLst/>
                  <a:gdLst>
                    <a:gd name="T0" fmla="*/ 60 h 60"/>
                    <a:gd name="T1" fmla="*/ 0 h 60"/>
                    <a:gd name="T2" fmla="*/ 60 h 60"/>
                  </a:gdLst>
                  <a:ahLst/>
                  <a:cxnLst>
                    <a:cxn ang="0">
                      <a:pos x="0" y="T0"/>
                    </a:cxn>
                    <a:cxn ang="0">
                      <a:pos x="0" y="T1"/>
                    </a:cxn>
                    <a:cxn ang="0">
                      <a:pos x="0" y="T2"/>
                    </a:cxn>
                  </a:cxnLst>
                  <a:rect l="0" t="0" r="r" b="b"/>
                  <a:pathLst>
                    <a:path h="60">
                      <a:moveTo>
                        <a:pt x="0" y="60"/>
                      </a:moveTo>
                      <a:lnTo>
                        <a:pt x="0" y="0"/>
                      </a:lnTo>
                      <a:lnTo>
                        <a:pt x="0" y="60"/>
                      </a:lnTo>
                      <a:close/>
                    </a:path>
                  </a:pathLst>
                </a:custGeom>
                <a:solidFill>
                  <a:srgbClr val="0098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l" rtl="0" fontAlgn="base">
                    <a:spcBef>
                      <a:spcPct val="0"/>
                    </a:spcBef>
                    <a:spcAft>
                      <a:spcPct val="0"/>
                    </a:spcAft>
                  </a:pPr>
                  <a:endParaRPr lang="zh-CN" sz="1000" b="1">
                    <a:solidFill>
                      <a:srgbClr val="504C4C"/>
                    </a:solidFill>
                    <a:latin typeface="Arial" panose="020B0604020202020204" pitchFamily="34" charset="0"/>
                    <a:ea typeface="微软雅黑" panose="020B0503020204020204" pitchFamily="34" charset="-122"/>
                    <a:cs typeface="Arial" pitchFamily="34" charset="0"/>
                  </a:endParaRPr>
                </a:p>
              </p:txBody>
            </p:sp>
            <p:sp>
              <p:nvSpPr>
                <p:cNvPr id="814" name="Freeform 348">
                  <a:extLst>
                    <a:ext uri="{FF2B5EF4-FFF2-40B4-BE49-F238E27FC236}">
                      <a16:creationId xmlns:a16="http://schemas.microsoft.com/office/drawing/2014/main" id="{7F8C7A00-CF4B-4748-B42E-E39F5293DF06}"/>
                    </a:ext>
                  </a:extLst>
                </p:cNvPr>
                <p:cNvSpPr>
                  <a:spLocks/>
                </p:cNvSpPr>
                <p:nvPr/>
              </p:nvSpPr>
              <p:spPr bwMode="auto">
                <a:xfrm>
                  <a:off x="6106229" y="4702851"/>
                  <a:ext cx="57355" cy="0"/>
                </a:xfrm>
                <a:custGeom>
                  <a:avLst/>
                  <a:gdLst>
                    <a:gd name="T0" fmla="*/ 0 w 42"/>
                    <a:gd name="T1" fmla="*/ 42 w 42"/>
                    <a:gd name="T2" fmla="*/ 0 w 42"/>
                  </a:gdLst>
                  <a:ahLst/>
                  <a:cxnLst>
                    <a:cxn ang="0">
                      <a:pos x="T0" y="0"/>
                    </a:cxn>
                    <a:cxn ang="0">
                      <a:pos x="T1" y="0"/>
                    </a:cxn>
                    <a:cxn ang="0">
                      <a:pos x="T2" y="0"/>
                    </a:cxn>
                  </a:cxnLst>
                  <a:rect l="0" t="0" r="r" b="b"/>
                  <a:pathLst>
                    <a:path w="42">
                      <a:moveTo>
                        <a:pt x="0" y="0"/>
                      </a:moveTo>
                      <a:lnTo>
                        <a:pt x="42" y="0"/>
                      </a:lnTo>
                      <a:lnTo>
                        <a:pt x="0" y="0"/>
                      </a:lnTo>
                      <a:close/>
                    </a:path>
                  </a:pathLst>
                </a:custGeom>
                <a:solidFill>
                  <a:srgbClr val="0098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l" rtl="0" fontAlgn="base">
                    <a:spcBef>
                      <a:spcPct val="0"/>
                    </a:spcBef>
                    <a:spcAft>
                      <a:spcPct val="0"/>
                    </a:spcAft>
                  </a:pPr>
                  <a:endParaRPr lang="zh-CN" sz="1000" b="1">
                    <a:solidFill>
                      <a:srgbClr val="504C4C"/>
                    </a:solidFill>
                    <a:latin typeface="Arial" panose="020B0604020202020204" pitchFamily="34" charset="0"/>
                    <a:ea typeface="微软雅黑" panose="020B0503020204020204" pitchFamily="34" charset="-122"/>
                    <a:cs typeface="Arial" pitchFamily="34" charset="0"/>
                  </a:endParaRPr>
                </a:p>
              </p:txBody>
            </p:sp>
            <p:sp>
              <p:nvSpPr>
                <p:cNvPr id="815" name="Freeform 352">
                  <a:extLst>
                    <a:ext uri="{FF2B5EF4-FFF2-40B4-BE49-F238E27FC236}">
                      <a16:creationId xmlns:a16="http://schemas.microsoft.com/office/drawing/2014/main" id="{DB5AD2F9-D9C0-4406-9676-A03625EE0C5C}"/>
                    </a:ext>
                  </a:extLst>
                </p:cNvPr>
                <p:cNvSpPr>
                  <a:spLocks/>
                </p:cNvSpPr>
                <p:nvPr/>
              </p:nvSpPr>
              <p:spPr bwMode="auto">
                <a:xfrm>
                  <a:off x="2685385" y="4536247"/>
                  <a:ext cx="0" cy="155679"/>
                </a:xfrm>
                <a:custGeom>
                  <a:avLst/>
                  <a:gdLst>
                    <a:gd name="T0" fmla="*/ 114 h 114"/>
                    <a:gd name="T1" fmla="*/ 0 h 114"/>
                    <a:gd name="T2" fmla="*/ 114 h 114"/>
                  </a:gdLst>
                  <a:ahLst/>
                  <a:cxnLst>
                    <a:cxn ang="0">
                      <a:pos x="0" y="T0"/>
                    </a:cxn>
                    <a:cxn ang="0">
                      <a:pos x="0" y="T1"/>
                    </a:cxn>
                    <a:cxn ang="0">
                      <a:pos x="0" y="T2"/>
                    </a:cxn>
                  </a:cxnLst>
                  <a:rect l="0" t="0" r="r" b="b"/>
                  <a:pathLst>
                    <a:path h="114">
                      <a:moveTo>
                        <a:pt x="0" y="114"/>
                      </a:moveTo>
                      <a:lnTo>
                        <a:pt x="0" y="0"/>
                      </a:lnTo>
                      <a:lnTo>
                        <a:pt x="0" y="114"/>
                      </a:lnTo>
                      <a:close/>
                    </a:path>
                  </a:pathLst>
                </a:custGeom>
                <a:solidFill>
                  <a:srgbClr val="0098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l" rtl="0" fontAlgn="base">
                    <a:spcBef>
                      <a:spcPct val="0"/>
                    </a:spcBef>
                    <a:spcAft>
                      <a:spcPct val="0"/>
                    </a:spcAft>
                  </a:pPr>
                  <a:endParaRPr lang="zh-CN" sz="1000" b="1">
                    <a:solidFill>
                      <a:srgbClr val="504C4C"/>
                    </a:solidFill>
                    <a:latin typeface="Arial" panose="020B0604020202020204" pitchFamily="34" charset="0"/>
                    <a:ea typeface="微软雅黑" panose="020B0503020204020204" pitchFamily="34" charset="-122"/>
                    <a:cs typeface="Arial" pitchFamily="34" charset="0"/>
                  </a:endParaRPr>
                </a:p>
              </p:txBody>
            </p:sp>
            <p:sp>
              <p:nvSpPr>
                <p:cNvPr id="816" name="Freeform 354">
                  <a:extLst>
                    <a:ext uri="{FF2B5EF4-FFF2-40B4-BE49-F238E27FC236}">
                      <a16:creationId xmlns:a16="http://schemas.microsoft.com/office/drawing/2014/main" id="{A448CB58-A9CD-4FCE-900A-1B23913FDAC9}"/>
                    </a:ext>
                  </a:extLst>
                </p:cNvPr>
                <p:cNvSpPr>
                  <a:spLocks/>
                </p:cNvSpPr>
                <p:nvPr/>
              </p:nvSpPr>
              <p:spPr bwMode="auto">
                <a:xfrm>
                  <a:off x="2655342" y="4536247"/>
                  <a:ext cx="57355" cy="0"/>
                </a:xfrm>
                <a:custGeom>
                  <a:avLst/>
                  <a:gdLst>
                    <a:gd name="T0" fmla="*/ 0 w 42"/>
                    <a:gd name="T1" fmla="*/ 42 w 42"/>
                    <a:gd name="T2" fmla="*/ 0 w 42"/>
                  </a:gdLst>
                  <a:ahLst/>
                  <a:cxnLst>
                    <a:cxn ang="0">
                      <a:pos x="T0" y="0"/>
                    </a:cxn>
                    <a:cxn ang="0">
                      <a:pos x="T1" y="0"/>
                    </a:cxn>
                    <a:cxn ang="0">
                      <a:pos x="T2" y="0"/>
                    </a:cxn>
                  </a:cxnLst>
                  <a:rect l="0" t="0" r="r" b="b"/>
                  <a:pathLst>
                    <a:path w="42">
                      <a:moveTo>
                        <a:pt x="0" y="0"/>
                      </a:moveTo>
                      <a:lnTo>
                        <a:pt x="42" y="0"/>
                      </a:lnTo>
                      <a:lnTo>
                        <a:pt x="0" y="0"/>
                      </a:lnTo>
                      <a:close/>
                    </a:path>
                  </a:pathLst>
                </a:custGeom>
                <a:solidFill>
                  <a:srgbClr val="0098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l" rtl="0" fontAlgn="base">
                    <a:spcBef>
                      <a:spcPct val="0"/>
                    </a:spcBef>
                    <a:spcAft>
                      <a:spcPct val="0"/>
                    </a:spcAft>
                  </a:pPr>
                  <a:endParaRPr lang="zh-CN" sz="1000" b="1">
                    <a:solidFill>
                      <a:srgbClr val="504C4C"/>
                    </a:solidFill>
                    <a:latin typeface="Arial" panose="020B0604020202020204" pitchFamily="34" charset="0"/>
                    <a:ea typeface="微软雅黑" panose="020B0503020204020204" pitchFamily="34" charset="-122"/>
                    <a:cs typeface="Arial" pitchFamily="34" charset="0"/>
                  </a:endParaRPr>
                </a:p>
              </p:txBody>
            </p:sp>
            <p:sp>
              <p:nvSpPr>
                <p:cNvPr id="817" name="Freeform 358">
                  <a:extLst>
                    <a:ext uri="{FF2B5EF4-FFF2-40B4-BE49-F238E27FC236}">
                      <a16:creationId xmlns:a16="http://schemas.microsoft.com/office/drawing/2014/main" id="{6FE5C80B-E802-494F-8381-BA3E71D54F98}"/>
                    </a:ext>
                  </a:extLst>
                </p:cNvPr>
                <p:cNvSpPr>
                  <a:spLocks/>
                </p:cNvSpPr>
                <p:nvPr/>
              </p:nvSpPr>
              <p:spPr bwMode="auto">
                <a:xfrm>
                  <a:off x="3231628" y="4544441"/>
                  <a:ext cx="0" cy="161142"/>
                </a:xfrm>
                <a:custGeom>
                  <a:avLst/>
                  <a:gdLst>
                    <a:gd name="T0" fmla="*/ 118 h 118"/>
                    <a:gd name="T1" fmla="*/ 0 h 118"/>
                    <a:gd name="T2" fmla="*/ 118 h 118"/>
                  </a:gdLst>
                  <a:ahLst/>
                  <a:cxnLst>
                    <a:cxn ang="0">
                      <a:pos x="0" y="T0"/>
                    </a:cxn>
                    <a:cxn ang="0">
                      <a:pos x="0" y="T1"/>
                    </a:cxn>
                    <a:cxn ang="0">
                      <a:pos x="0" y="T2"/>
                    </a:cxn>
                  </a:cxnLst>
                  <a:rect l="0" t="0" r="r" b="b"/>
                  <a:pathLst>
                    <a:path h="118">
                      <a:moveTo>
                        <a:pt x="0" y="118"/>
                      </a:moveTo>
                      <a:lnTo>
                        <a:pt x="0" y="0"/>
                      </a:lnTo>
                      <a:lnTo>
                        <a:pt x="0" y="118"/>
                      </a:lnTo>
                      <a:close/>
                    </a:path>
                  </a:pathLst>
                </a:custGeom>
                <a:solidFill>
                  <a:srgbClr val="0098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l" rtl="0" fontAlgn="base">
                    <a:spcBef>
                      <a:spcPct val="0"/>
                    </a:spcBef>
                    <a:spcAft>
                      <a:spcPct val="0"/>
                    </a:spcAft>
                  </a:pPr>
                  <a:endParaRPr lang="zh-CN" sz="1000" b="1">
                    <a:solidFill>
                      <a:srgbClr val="504C4C"/>
                    </a:solidFill>
                    <a:latin typeface="Arial" panose="020B0604020202020204" pitchFamily="34" charset="0"/>
                    <a:ea typeface="微软雅黑" panose="020B0503020204020204" pitchFamily="34" charset="-122"/>
                    <a:cs typeface="Arial" pitchFamily="34" charset="0"/>
                  </a:endParaRPr>
                </a:p>
              </p:txBody>
            </p:sp>
            <p:sp>
              <p:nvSpPr>
                <p:cNvPr id="818" name="Freeform 360">
                  <a:extLst>
                    <a:ext uri="{FF2B5EF4-FFF2-40B4-BE49-F238E27FC236}">
                      <a16:creationId xmlns:a16="http://schemas.microsoft.com/office/drawing/2014/main" id="{AB9EBFDB-42E1-4AFA-9173-3731D0262F77}"/>
                    </a:ext>
                  </a:extLst>
                </p:cNvPr>
                <p:cNvSpPr>
                  <a:spLocks/>
                </p:cNvSpPr>
                <p:nvPr/>
              </p:nvSpPr>
              <p:spPr bwMode="auto">
                <a:xfrm>
                  <a:off x="3201585" y="4544441"/>
                  <a:ext cx="57355" cy="0"/>
                </a:xfrm>
                <a:custGeom>
                  <a:avLst/>
                  <a:gdLst>
                    <a:gd name="T0" fmla="*/ 0 w 42"/>
                    <a:gd name="T1" fmla="*/ 42 w 42"/>
                    <a:gd name="T2" fmla="*/ 0 w 42"/>
                  </a:gdLst>
                  <a:ahLst/>
                  <a:cxnLst>
                    <a:cxn ang="0">
                      <a:pos x="T0" y="0"/>
                    </a:cxn>
                    <a:cxn ang="0">
                      <a:pos x="T1" y="0"/>
                    </a:cxn>
                    <a:cxn ang="0">
                      <a:pos x="T2" y="0"/>
                    </a:cxn>
                  </a:cxnLst>
                  <a:rect l="0" t="0" r="r" b="b"/>
                  <a:pathLst>
                    <a:path w="42">
                      <a:moveTo>
                        <a:pt x="0" y="0"/>
                      </a:moveTo>
                      <a:lnTo>
                        <a:pt x="42" y="0"/>
                      </a:lnTo>
                      <a:lnTo>
                        <a:pt x="0" y="0"/>
                      </a:lnTo>
                      <a:close/>
                    </a:path>
                  </a:pathLst>
                </a:custGeom>
                <a:solidFill>
                  <a:srgbClr val="0098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l" rtl="0" fontAlgn="base">
                    <a:spcBef>
                      <a:spcPct val="0"/>
                    </a:spcBef>
                    <a:spcAft>
                      <a:spcPct val="0"/>
                    </a:spcAft>
                  </a:pPr>
                  <a:endParaRPr lang="zh-CN" sz="1000" b="1">
                    <a:solidFill>
                      <a:srgbClr val="504C4C"/>
                    </a:solidFill>
                    <a:latin typeface="Arial" panose="020B0604020202020204" pitchFamily="34" charset="0"/>
                    <a:ea typeface="微软雅黑" panose="020B0503020204020204" pitchFamily="34" charset="-122"/>
                    <a:cs typeface="Arial" pitchFamily="34" charset="0"/>
                  </a:endParaRPr>
                </a:p>
              </p:txBody>
            </p:sp>
            <p:sp>
              <p:nvSpPr>
                <p:cNvPr id="819" name="Freeform 364">
                  <a:extLst>
                    <a:ext uri="{FF2B5EF4-FFF2-40B4-BE49-F238E27FC236}">
                      <a16:creationId xmlns:a16="http://schemas.microsoft.com/office/drawing/2014/main" id="{23874338-0269-4608-95AA-47DB7EBDF031}"/>
                    </a:ext>
                  </a:extLst>
                </p:cNvPr>
                <p:cNvSpPr>
                  <a:spLocks/>
                </p:cNvSpPr>
                <p:nvPr/>
              </p:nvSpPr>
              <p:spPr bwMode="auto">
                <a:xfrm>
                  <a:off x="4322747" y="4588140"/>
                  <a:ext cx="0" cy="147486"/>
                </a:xfrm>
                <a:custGeom>
                  <a:avLst/>
                  <a:gdLst>
                    <a:gd name="T0" fmla="*/ 108 h 108"/>
                    <a:gd name="T1" fmla="*/ 0 h 108"/>
                    <a:gd name="T2" fmla="*/ 108 h 108"/>
                  </a:gdLst>
                  <a:ahLst/>
                  <a:cxnLst>
                    <a:cxn ang="0">
                      <a:pos x="0" y="T0"/>
                    </a:cxn>
                    <a:cxn ang="0">
                      <a:pos x="0" y="T1"/>
                    </a:cxn>
                    <a:cxn ang="0">
                      <a:pos x="0" y="T2"/>
                    </a:cxn>
                  </a:cxnLst>
                  <a:rect l="0" t="0" r="r" b="b"/>
                  <a:pathLst>
                    <a:path h="108">
                      <a:moveTo>
                        <a:pt x="0" y="108"/>
                      </a:moveTo>
                      <a:lnTo>
                        <a:pt x="0" y="0"/>
                      </a:lnTo>
                      <a:lnTo>
                        <a:pt x="0" y="108"/>
                      </a:lnTo>
                      <a:close/>
                    </a:path>
                  </a:pathLst>
                </a:custGeom>
                <a:solidFill>
                  <a:srgbClr val="0098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l" rtl="0" fontAlgn="base">
                    <a:spcBef>
                      <a:spcPct val="0"/>
                    </a:spcBef>
                    <a:spcAft>
                      <a:spcPct val="0"/>
                    </a:spcAft>
                  </a:pPr>
                  <a:endParaRPr lang="zh-CN" sz="1000" b="1">
                    <a:solidFill>
                      <a:srgbClr val="504C4C"/>
                    </a:solidFill>
                    <a:latin typeface="Arial" panose="020B0604020202020204" pitchFamily="34" charset="0"/>
                    <a:ea typeface="微软雅黑" panose="020B0503020204020204" pitchFamily="34" charset="-122"/>
                    <a:cs typeface="Arial" pitchFamily="34" charset="0"/>
                  </a:endParaRPr>
                </a:p>
              </p:txBody>
            </p:sp>
            <p:sp>
              <p:nvSpPr>
                <p:cNvPr id="820" name="Freeform 366">
                  <a:extLst>
                    <a:ext uri="{FF2B5EF4-FFF2-40B4-BE49-F238E27FC236}">
                      <a16:creationId xmlns:a16="http://schemas.microsoft.com/office/drawing/2014/main" id="{B1856D66-E739-42AF-8DD0-090CC9CA6249}"/>
                    </a:ext>
                  </a:extLst>
                </p:cNvPr>
                <p:cNvSpPr>
                  <a:spLocks/>
                </p:cNvSpPr>
                <p:nvPr/>
              </p:nvSpPr>
              <p:spPr bwMode="auto">
                <a:xfrm>
                  <a:off x="4292704" y="4585409"/>
                  <a:ext cx="57355" cy="0"/>
                </a:xfrm>
                <a:custGeom>
                  <a:avLst/>
                  <a:gdLst>
                    <a:gd name="T0" fmla="*/ 0 w 42"/>
                    <a:gd name="T1" fmla="*/ 42 w 42"/>
                    <a:gd name="T2" fmla="*/ 0 w 42"/>
                  </a:gdLst>
                  <a:ahLst/>
                  <a:cxnLst>
                    <a:cxn ang="0">
                      <a:pos x="T0" y="0"/>
                    </a:cxn>
                    <a:cxn ang="0">
                      <a:pos x="T1" y="0"/>
                    </a:cxn>
                    <a:cxn ang="0">
                      <a:pos x="T2" y="0"/>
                    </a:cxn>
                  </a:cxnLst>
                  <a:rect l="0" t="0" r="r" b="b"/>
                  <a:pathLst>
                    <a:path w="42">
                      <a:moveTo>
                        <a:pt x="0" y="0"/>
                      </a:moveTo>
                      <a:lnTo>
                        <a:pt x="42" y="0"/>
                      </a:lnTo>
                      <a:lnTo>
                        <a:pt x="0" y="0"/>
                      </a:lnTo>
                      <a:close/>
                    </a:path>
                  </a:pathLst>
                </a:custGeom>
                <a:solidFill>
                  <a:srgbClr val="0098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l" rtl="0" fontAlgn="base">
                    <a:spcBef>
                      <a:spcPct val="0"/>
                    </a:spcBef>
                    <a:spcAft>
                      <a:spcPct val="0"/>
                    </a:spcAft>
                  </a:pPr>
                  <a:endParaRPr lang="zh-CN" sz="1000" b="1">
                    <a:solidFill>
                      <a:srgbClr val="504C4C"/>
                    </a:solidFill>
                    <a:latin typeface="Arial" panose="020B0604020202020204" pitchFamily="34" charset="0"/>
                    <a:ea typeface="微软雅黑" panose="020B0503020204020204" pitchFamily="34" charset="-122"/>
                    <a:cs typeface="Arial" pitchFamily="34" charset="0"/>
                  </a:endParaRPr>
                </a:p>
              </p:txBody>
            </p:sp>
            <p:sp>
              <p:nvSpPr>
                <p:cNvPr id="821" name="Freeform 370">
                  <a:extLst>
                    <a:ext uri="{FF2B5EF4-FFF2-40B4-BE49-F238E27FC236}">
                      <a16:creationId xmlns:a16="http://schemas.microsoft.com/office/drawing/2014/main" id="{2765CFDF-989A-4472-86B8-2D9AAF98849A}"/>
                    </a:ext>
                  </a:extLst>
                </p:cNvPr>
                <p:cNvSpPr>
                  <a:spLocks/>
                </p:cNvSpPr>
                <p:nvPr/>
              </p:nvSpPr>
              <p:spPr bwMode="auto">
                <a:xfrm>
                  <a:off x="5038325" y="4702851"/>
                  <a:ext cx="0" cy="60087"/>
                </a:xfrm>
                <a:custGeom>
                  <a:avLst/>
                  <a:gdLst>
                    <a:gd name="T0" fmla="*/ 44 h 44"/>
                    <a:gd name="T1" fmla="*/ 0 h 44"/>
                    <a:gd name="T2" fmla="*/ 44 h 44"/>
                  </a:gdLst>
                  <a:ahLst/>
                  <a:cxnLst>
                    <a:cxn ang="0">
                      <a:pos x="0" y="T0"/>
                    </a:cxn>
                    <a:cxn ang="0">
                      <a:pos x="0" y="T1"/>
                    </a:cxn>
                    <a:cxn ang="0">
                      <a:pos x="0" y="T2"/>
                    </a:cxn>
                  </a:cxnLst>
                  <a:rect l="0" t="0" r="r" b="b"/>
                  <a:pathLst>
                    <a:path h="44">
                      <a:moveTo>
                        <a:pt x="0" y="44"/>
                      </a:moveTo>
                      <a:lnTo>
                        <a:pt x="0" y="0"/>
                      </a:lnTo>
                      <a:lnTo>
                        <a:pt x="0" y="44"/>
                      </a:lnTo>
                      <a:close/>
                    </a:path>
                  </a:pathLst>
                </a:custGeom>
                <a:solidFill>
                  <a:srgbClr val="0098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l" rtl="0" fontAlgn="base">
                    <a:spcBef>
                      <a:spcPct val="0"/>
                    </a:spcBef>
                    <a:spcAft>
                      <a:spcPct val="0"/>
                    </a:spcAft>
                  </a:pPr>
                  <a:endParaRPr lang="zh-CN" sz="1000" b="1">
                    <a:solidFill>
                      <a:srgbClr val="504C4C"/>
                    </a:solidFill>
                    <a:latin typeface="Arial" panose="020B0604020202020204" pitchFamily="34" charset="0"/>
                    <a:ea typeface="微软雅黑" panose="020B0503020204020204" pitchFamily="34" charset="-122"/>
                    <a:cs typeface="Arial" pitchFamily="34" charset="0"/>
                  </a:endParaRPr>
                </a:p>
              </p:txBody>
            </p:sp>
            <p:sp>
              <p:nvSpPr>
                <p:cNvPr id="822" name="Freeform 372">
                  <a:extLst>
                    <a:ext uri="{FF2B5EF4-FFF2-40B4-BE49-F238E27FC236}">
                      <a16:creationId xmlns:a16="http://schemas.microsoft.com/office/drawing/2014/main" id="{988A0494-2AFF-44FF-9512-2AEEEFE21A37}"/>
                    </a:ext>
                  </a:extLst>
                </p:cNvPr>
                <p:cNvSpPr>
                  <a:spLocks/>
                </p:cNvSpPr>
                <p:nvPr/>
              </p:nvSpPr>
              <p:spPr bwMode="auto">
                <a:xfrm>
                  <a:off x="5008282" y="4702851"/>
                  <a:ext cx="60087" cy="0"/>
                </a:xfrm>
                <a:custGeom>
                  <a:avLst/>
                  <a:gdLst>
                    <a:gd name="T0" fmla="*/ 0 w 44"/>
                    <a:gd name="T1" fmla="*/ 44 w 44"/>
                    <a:gd name="T2" fmla="*/ 0 w 44"/>
                  </a:gdLst>
                  <a:ahLst/>
                  <a:cxnLst>
                    <a:cxn ang="0">
                      <a:pos x="T0" y="0"/>
                    </a:cxn>
                    <a:cxn ang="0">
                      <a:pos x="T1" y="0"/>
                    </a:cxn>
                    <a:cxn ang="0">
                      <a:pos x="T2" y="0"/>
                    </a:cxn>
                  </a:cxnLst>
                  <a:rect l="0" t="0" r="r" b="b"/>
                  <a:pathLst>
                    <a:path w="44">
                      <a:moveTo>
                        <a:pt x="0" y="0"/>
                      </a:moveTo>
                      <a:lnTo>
                        <a:pt x="44" y="0"/>
                      </a:lnTo>
                      <a:lnTo>
                        <a:pt x="0" y="0"/>
                      </a:lnTo>
                      <a:close/>
                    </a:path>
                  </a:pathLst>
                </a:custGeom>
                <a:solidFill>
                  <a:srgbClr val="0098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l" rtl="0" fontAlgn="base">
                    <a:spcBef>
                      <a:spcPct val="0"/>
                    </a:spcBef>
                    <a:spcAft>
                      <a:spcPct val="0"/>
                    </a:spcAft>
                  </a:pPr>
                  <a:endParaRPr lang="zh-CN" sz="1000" b="1">
                    <a:solidFill>
                      <a:srgbClr val="504C4C"/>
                    </a:solidFill>
                    <a:latin typeface="Arial" panose="020B0604020202020204" pitchFamily="34" charset="0"/>
                    <a:ea typeface="微软雅黑" panose="020B0503020204020204" pitchFamily="34" charset="-122"/>
                    <a:cs typeface="Arial" pitchFamily="34" charset="0"/>
                  </a:endParaRPr>
                </a:p>
              </p:txBody>
            </p:sp>
            <p:sp>
              <p:nvSpPr>
                <p:cNvPr id="823" name="Freeform 376">
                  <a:extLst>
                    <a:ext uri="{FF2B5EF4-FFF2-40B4-BE49-F238E27FC236}">
                      <a16:creationId xmlns:a16="http://schemas.microsoft.com/office/drawing/2014/main" id="{D4219B97-0A1A-4C31-95BC-D00E1DB3D0CF}"/>
                    </a:ext>
                  </a:extLst>
                </p:cNvPr>
                <p:cNvSpPr>
                  <a:spLocks/>
                </p:cNvSpPr>
                <p:nvPr/>
              </p:nvSpPr>
              <p:spPr bwMode="auto">
                <a:xfrm>
                  <a:off x="5407039" y="4702851"/>
                  <a:ext cx="0" cy="60087"/>
                </a:xfrm>
                <a:custGeom>
                  <a:avLst/>
                  <a:gdLst>
                    <a:gd name="T0" fmla="*/ 44 h 44"/>
                    <a:gd name="T1" fmla="*/ 0 h 44"/>
                    <a:gd name="T2" fmla="*/ 44 h 44"/>
                  </a:gdLst>
                  <a:ahLst/>
                  <a:cxnLst>
                    <a:cxn ang="0">
                      <a:pos x="0" y="T0"/>
                    </a:cxn>
                    <a:cxn ang="0">
                      <a:pos x="0" y="T1"/>
                    </a:cxn>
                    <a:cxn ang="0">
                      <a:pos x="0" y="T2"/>
                    </a:cxn>
                  </a:cxnLst>
                  <a:rect l="0" t="0" r="r" b="b"/>
                  <a:pathLst>
                    <a:path h="44">
                      <a:moveTo>
                        <a:pt x="0" y="44"/>
                      </a:moveTo>
                      <a:lnTo>
                        <a:pt x="0" y="0"/>
                      </a:lnTo>
                      <a:lnTo>
                        <a:pt x="0" y="44"/>
                      </a:lnTo>
                      <a:close/>
                    </a:path>
                  </a:pathLst>
                </a:custGeom>
                <a:solidFill>
                  <a:srgbClr val="0098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l" rtl="0" fontAlgn="base">
                    <a:spcBef>
                      <a:spcPct val="0"/>
                    </a:spcBef>
                    <a:spcAft>
                      <a:spcPct val="0"/>
                    </a:spcAft>
                  </a:pPr>
                  <a:endParaRPr lang="zh-CN" sz="1000" b="1">
                    <a:solidFill>
                      <a:srgbClr val="504C4C"/>
                    </a:solidFill>
                    <a:latin typeface="Arial" panose="020B0604020202020204" pitchFamily="34" charset="0"/>
                    <a:ea typeface="微软雅黑" panose="020B0503020204020204" pitchFamily="34" charset="-122"/>
                    <a:cs typeface="Arial" pitchFamily="34" charset="0"/>
                  </a:endParaRPr>
                </a:p>
              </p:txBody>
            </p:sp>
            <p:sp>
              <p:nvSpPr>
                <p:cNvPr id="824" name="Freeform 378">
                  <a:extLst>
                    <a:ext uri="{FF2B5EF4-FFF2-40B4-BE49-F238E27FC236}">
                      <a16:creationId xmlns:a16="http://schemas.microsoft.com/office/drawing/2014/main" id="{BD804B3F-53BA-4156-ACD4-A8DFEE83F368}"/>
                    </a:ext>
                  </a:extLst>
                </p:cNvPr>
                <p:cNvSpPr>
                  <a:spLocks/>
                </p:cNvSpPr>
                <p:nvPr/>
              </p:nvSpPr>
              <p:spPr bwMode="auto">
                <a:xfrm>
                  <a:off x="5379727" y="4702851"/>
                  <a:ext cx="57355" cy="0"/>
                </a:xfrm>
                <a:custGeom>
                  <a:avLst/>
                  <a:gdLst>
                    <a:gd name="T0" fmla="*/ 0 w 42"/>
                    <a:gd name="T1" fmla="*/ 42 w 42"/>
                    <a:gd name="T2" fmla="*/ 0 w 42"/>
                  </a:gdLst>
                  <a:ahLst/>
                  <a:cxnLst>
                    <a:cxn ang="0">
                      <a:pos x="T0" y="0"/>
                    </a:cxn>
                    <a:cxn ang="0">
                      <a:pos x="T1" y="0"/>
                    </a:cxn>
                    <a:cxn ang="0">
                      <a:pos x="T2" y="0"/>
                    </a:cxn>
                  </a:cxnLst>
                  <a:rect l="0" t="0" r="r" b="b"/>
                  <a:pathLst>
                    <a:path w="42">
                      <a:moveTo>
                        <a:pt x="0" y="0"/>
                      </a:moveTo>
                      <a:lnTo>
                        <a:pt x="42" y="0"/>
                      </a:lnTo>
                      <a:lnTo>
                        <a:pt x="0" y="0"/>
                      </a:lnTo>
                      <a:close/>
                    </a:path>
                  </a:pathLst>
                </a:custGeom>
                <a:solidFill>
                  <a:srgbClr val="0098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l" rtl="0" fontAlgn="base">
                    <a:spcBef>
                      <a:spcPct val="0"/>
                    </a:spcBef>
                    <a:spcAft>
                      <a:spcPct val="0"/>
                    </a:spcAft>
                  </a:pPr>
                  <a:endParaRPr lang="zh-CN" sz="1000" b="1">
                    <a:solidFill>
                      <a:srgbClr val="504C4C"/>
                    </a:solidFill>
                    <a:latin typeface="Arial" panose="020B0604020202020204" pitchFamily="34" charset="0"/>
                    <a:ea typeface="微软雅黑" panose="020B0503020204020204" pitchFamily="34" charset="-122"/>
                    <a:cs typeface="Arial" pitchFamily="34" charset="0"/>
                  </a:endParaRPr>
                </a:p>
              </p:txBody>
            </p:sp>
            <p:sp>
              <p:nvSpPr>
                <p:cNvPr id="825" name="Freeform 382">
                  <a:extLst>
                    <a:ext uri="{FF2B5EF4-FFF2-40B4-BE49-F238E27FC236}">
                      <a16:creationId xmlns:a16="http://schemas.microsoft.com/office/drawing/2014/main" id="{80CB3FCA-8DDF-4A31-9BDD-492B8677ED74}"/>
                    </a:ext>
                  </a:extLst>
                </p:cNvPr>
                <p:cNvSpPr>
                  <a:spLocks/>
                </p:cNvSpPr>
                <p:nvPr/>
              </p:nvSpPr>
              <p:spPr bwMode="auto">
                <a:xfrm>
                  <a:off x="5767559" y="4708314"/>
                  <a:ext cx="0" cy="57355"/>
                </a:xfrm>
                <a:custGeom>
                  <a:avLst/>
                  <a:gdLst>
                    <a:gd name="T0" fmla="*/ 42 h 42"/>
                    <a:gd name="T1" fmla="*/ 0 h 42"/>
                    <a:gd name="T2" fmla="*/ 42 h 42"/>
                  </a:gdLst>
                  <a:ahLst/>
                  <a:cxnLst>
                    <a:cxn ang="0">
                      <a:pos x="0" y="T0"/>
                    </a:cxn>
                    <a:cxn ang="0">
                      <a:pos x="0" y="T1"/>
                    </a:cxn>
                    <a:cxn ang="0">
                      <a:pos x="0" y="T2"/>
                    </a:cxn>
                  </a:cxnLst>
                  <a:rect l="0" t="0" r="r" b="b"/>
                  <a:pathLst>
                    <a:path h="42">
                      <a:moveTo>
                        <a:pt x="0" y="42"/>
                      </a:moveTo>
                      <a:lnTo>
                        <a:pt x="0" y="0"/>
                      </a:lnTo>
                      <a:lnTo>
                        <a:pt x="0" y="42"/>
                      </a:lnTo>
                      <a:close/>
                    </a:path>
                  </a:pathLst>
                </a:custGeom>
                <a:solidFill>
                  <a:srgbClr val="0098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l" rtl="0" fontAlgn="base">
                    <a:spcBef>
                      <a:spcPct val="0"/>
                    </a:spcBef>
                    <a:spcAft>
                      <a:spcPct val="0"/>
                    </a:spcAft>
                  </a:pPr>
                  <a:endParaRPr lang="zh-CN" sz="1000" b="1">
                    <a:solidFill>
                      <a:srgbClr val="504C4C"/>
                    </a:solidFill>
                    <a:latin typeface="Arial" panose="020B0604020202020204" pitchFamily="34" charset="0"/>
                    <a:ea typeface="微软雅黑" panose="020B0503020204020204" pitchFamily="34" charset="-122"/>
                    <a:cs typeface="Arial" pitchFamily="34" charset="0"/>
                  </a:endParaRPr>
                </a:p>
              </p:txBody>
            </p:sp>
            <p:sp>
              <p:nvSpPr>
                <p:cNvPr id="826" name="Freeform 384">
                  <a:extLst>
                    <a:ext uri="{FF2B5EF4-FFF2-40B4-BE49-F238E27FC236}">
                      <a16:creationId xmlns:a16="http://schemas.microsoft.com/office/drawing/2014/main" id="{2BFC7B3D-5FF4-4635-BCB9-29485893934B}"/>
                    </a:ext>
                  </a:extLst>
                </p:cNvPr>
                <p:cNvSpPr>
                  <a:spLocks/>
                </p:cNvSpPr>
                <p:nvPr/>
              </p:nvSpPr>
              <p:spPr bwMode="auto">
                <a:xfrm>
                  <a:off x="5737516" y="4708314"/>
                  <a:ext cx="57355" cy="0"/>
                </a:xfrm>
                <a:custGeom>
                  <a:avLst/>
                  <a:gdLst>
                    <a:gd name="T0" fmla="*/ 0 w 42"/>
                    <a:gd name="T1" fmla="*/ 42 w 42"/>
                    <a:gd name="T2" fmla="*/ 0 w 42"/>
                  </a:gdLst>
                  <a:ahLst/>
                  <a:cxnLst>
                    <a:cxn ang="0">
                      <a:pos x="T0" y="0"/>
                    </a:cxn>
                    <a:cxn ang="0">
                      <a:pos x="T1" y="0"/>
                    </a:cxn>
                    <a:cxn ang="0">
                      <a:pos x="T2" y="0"/>
                    </a:cxn>
                  </a:cxnLst>
                  <a:rect l="0" t="0" r="r" b="b"/>
                  <a:pathLst>
                    <a:path w="42">
                      <a:moveTo>
                        <a:pt x="0" y="0"/>
                      </a:moveTo>
                      <a:lnTo>
                        <a:pt x="42" y="0"/>
                      </a:lnTo>
                      <a:lnTo>
                        <a:pt x="0" y="0"/>
                      </a:lnTo>
                      <a:close/>
                    </a:path>
                  </a:pathLst>
                </a:custGeom>
                <a:solidFill>
                  <a:srgbClr val="0098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l" rtl="0" fontAlgn="base">
                    <a:spcBef>
                      <a:spcPct val="0"/>
                    </a:spcBef>
                    <a:spcAft>
                      <a:spcPct val="0"/>
                    </a:spcAft>
                  </a:pPr>
                  <a:endParaRPr lang="zh-CN" sz="1000" b="1">
                    <a:solidFill>
                      <a:srgbClr val="504C4C"/>
                    </a:solidFill>
                    <a:latin typeface="Arial" panose="020B0604020202020204" pitchFamily="34" charset="0"/>
                    <a:ea typeface="微软雅黑" panose="020B0503020204020204" pitchFamily="34" charset="-122"/>
                    <a:cs typeface="Arial" pitchFamily="34" charset="0"/>
                  </a:endParaRPr>
                </a:p>
              </p:txBody>
            </p:sp>
            <p:sp>
              <p:nvSpPr>
                <p:cNvPr id="827" name="Freeform 388">
                  <a:extLst>
                    <a:ext uri="{FF2B5EF4-FFF2-40B4-BE49-F238E27FC236}">
                      <a16:creationId xmlns:a16="http://schemas.microsoft.com/office/drawing/2014/main" id="{C691810B-F6E5-4F99-8723-6FEC99E05E2A}"/>
                    </a:ext>
                  </a:extLst>
                </p:cNvPr>
                <p:cNvSpPr>
                  <a:spLocks/>
                </p:cNvSpPr>
                <p:nvPr/>
              </p:nvSpPr>
              <p:spPr bwMode="auto">
                <a:xfrm>
                  <a:off x="6133541" y="4713776"/>
                  <a:ext cx="0" cy="60087"/>
                </a:xfrm>
                <a:custGeom>
                  <a:avLst/>
                  <a:gdLst>
                    <a:gd name="T0" fmla="*/ 44 h 44"/>
                    <a:gd name="T1" fmla="*/ 0 h 44"/>
                    <a:gd name="T2" fmla="*/ 44 h 44"/>
                  </a:gdLst>
                  <a:ahLst/>
                  <a:cxnLst>
                    <a:cxn ang="0">
                      <a:pos x="0" y="T0"/>
                    </a:cxn>
                    <a:cxn ang="0">
                      <a:pos x="0" y="T1"/>
                    </a:cxn>
                    <a:cxn ang="0">
                      <a:pos x="0" y="T2"/>
                    </a:cxn>
                  </a:cxnLst>
                  <a:rect l="0" t="0" r="r" b="b"/>
                  <a:pathLst>
                    <a:path h="44">
                      <a:moveTo>
                        <a:pt x="0" y="44"/>
                      </a:moveTo>
                      <a:lnTo>
                        <a:pt x="0" y="0"/>
                      </a:lnTo>
                      <a:lnTo>
                        <a:pt x="0" y="44"/>
                      </a:lnTo>
                      <a:close/>
                    </a:path>
                  </a:pathLst>
                </a:custGeom>
                <a:solidFill>
                  <a:srgbClr val="0098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l" rtl="0" fontAlgn="base">
                    <a:spcBef>
                      <a:spcPct val="0"/>
                    </a:spcBef>
                    <a:spcAft>
                      <a:spcPct val="0"/>
                    </a:spcAft>
                  </a:pPr>
                  <a:endParaRPr lang="zh-CN" sz="1000" b="1">
                    <a:solidFill>
                      <a:srgbClr val="504C4C"/>
                    </a:solidFill>
                    <a:latin typeface="Arial" panose="020B0604020202020204" pitchFamily="34" charset="0"/>
                    <a:ea typeface="微软雅黑" panose="020B0503020204020204" pitchFamily="34" charset="-122"/>
                    <a:cs typeface="Arial" pitchFamily="34" charset="0"/>
                  </a:endParaRPr>
                </a:p>
              </p:txBody>
            </p:sp>
            <p:sp>
              <p:nvSpPr>
                <p:cNvPr id="828" name="Freeform 390">
                  <a:extLst>
                    <a:ext uri="{FF2B5EF4-FFF2-40B4-BE49-F238E27FC236}">
                      <a16:creationId xmlns:a16="http://schemas.microsoft.com/office/drawing/2014/main" id="{C89191F0-2215-45DA-896A-3C28EEBEA3AF}"/>
                    </a:ext>
                  </a:extLst>
                </p:cNvPr>
                <p:cNvSpPr>
                  <a:spLocks/>
                </p:cNvSpPr>
                <p:nvPr/>
              </p:nvSpPr>
              <p:spPr bwMode="auto">
                <a:xfrm>
                  <a:off x="6103498" y="4713776"/>
                  <a:ext cx="60087" cy="0"/>
                </a:xfrm>
                <a:custGeom>
                  <a:avLst/>
                  <a:gdLst>
                    <a:gd name="T0" fmla="*/ 0 w 44"/>
                    <a:gd name="T1" fmla="*/ 44 w 44"/>
                    <a:gd name="T2" fmla="*/ 0 w 44"/>
                  </a:gdLst>
                  <a:ahLst/>
                  <a:cxnLst>
                    <a:cxn ang="0">
                      <a:pos x="T0" y="0"/>
                    </a:cxn>
                    <a:cxn ang="0">
                      <a:pos x="T1" y="0"/>
                    </a:cxn>
                    <a:cxn ang="0">
                      <a:pos x="T2" y="0"/>
                    </a:cxn>
                  </a:cxnLst>
                  <a:rect l="0" t="0" r="r" b="b"/>
                  <a:pathLst>
                    <a:path w="44">
                      <a:moveTo>
                        <a:pt x="0" y="0"/>
                      </a:moveTo>
                      <a:lnTo>
                        <a:pt x="44" y="0"/>
                      </a:lnTo>
                      <a:lnTo>
                        <a:pt x="0" y="0"/>
                      </a:lnTo>
                      <a:close/>
                    </a:path>
                  </a:pathLst>
                </a:custGeom>
                <a:solidFill>
                  <a:srgbClr val="0098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l" rtl="0" fontAlgn="base">
                    <a:spcBef>
                      <a:spcPct val="0"/>
                    </a:spcBef>
                    <a:spcAft>
                      <a:spcPct val="0"/>
                    </a:spcAft>
                  </a:pPr>
                  <a:endParaRPr lang="zh-CN" sz="1000" b="1">
                    <a:solidFill>
                      <a:srgbClr val="504C4C"/>
                    </a:solidFill>
                    <a:latin typeface="Arial" panose="020B0604020202020204" pitchFamily="34" charset="0"/>
                    <a:ea typeface="微软雅黑" panose="020B0503020204020204" pitchFamily="34" charset="-122"/>
                    <a:cs typeface="Arial" pitchFamily="34" charset="0"/>
                  </a:endParaRPr>
                </a:p>
              </p:txBody>
            </p:sp>
            <p:sp>
              <p:nvSpPr>
                <p:cNvPr id="829" name="Freeform 394">
                  <a:extLst>
                    <a:ext uri="{FF2B5EF4-FFF2-40B4-BE49-F238E27FC236}">
                      <a16:creationId xmlns:a16="http://schemas.microsoft.com/office/drawing/2014/main" id="{3D0D6799-DDBE-4FC4-83DB-DCCAC5B59B59}"/>
                    </a:ext>
                  </a:extLst>
                </p:cNvPr>
                <p:cNvSpPr>
                  <a:spLocks/>
                </p:cNvSpPr>
                <p:nvPr/>
              </p:nvSpPr>
              <p:spPr bwMode="auto">
                <a:xfrm>
                  <a:off x="3954033" y="4544441"/>
                  <a:ext cx="0" cy="191185"/>
                </a:xfrm>
                <a:custGeom>
                  <a:avLst/>
                  <a:gdLst>
                    <a:gd name="T0" fmla="*/ 140 h 140"/>
                    <a:gd name="T1" fmla="*/ 0 h 140"/>
                    <a:gd name="T2" fmla="*/ 140 h 140"/>
                  </a:gdLst>
                  <a:ahLst/>
                  <a:cxnLst>
                    <a:cxn ang="0">
                      <a:pos x="0" y="T0"/>
                    </a:cxn>
                    <a:cxn ang="0">
                      <a:pos x="0" y="T1"/>
                    </a:cxn>
                    <a:cxn ang="0">
                      <a:pos x="0" y="T2"/>
                    </a:cxn>
                  </a:cxnLst>
                  <a:rect l="0" t="0" r="r" b="b"/>
                  <a:pathLst>
                    <a:path h="140">
                      <a:moveTo>
                        <a:pt x="0" y="140"/>
                      </a:moveTo>
                      <a:lnTo>
                        <a:pt x="0" y="0"/>
                      </a:lnTo>
                      <a:lnTo>
                        <a:pt x="0" y="140"/>
                      </a:lnTo>
                      <a:close/>
                    </a:path>
                  </a:pathLst>
                </a:custGeom>
                <a:solidFill>
                  <a:srgbClr val="0098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l" rtl="0" fontAlgn="base">
                    <a:spcBef>
                      <a:spcPct val="0"/>
                    </a:spcBef>
                    <a:spcAft>
                      <a:spcPct val="0"/>
                    </a:spcAft>
                  </a:pPr>
                  <a:endParaRPr lang="zh-CN" sz="1000" b="1">
                    <a:solidFill>
                      <a:srgbClr val="504C4C"/>
                    </a:solidFill>
                    <a:latin typeface="Arial" panose="020B0604020202020204" pitchFamily="34" charset="0"/>
                    <a:ea typeface="微软雅黑" panose="020B0503020204020204" pitchFamily="34" charset="-122"/>
                    <a:cs typeface="Arial" pitchFamily="34" charset="0"/>
                  </a:endParaRPr>
                </a:p>
              </p:txBody>
            </p:sp>
            <p:sp>
              <p:nvSpPr>
                <p:cNvPr id="830" name="Freeform 396">
                  <a:extLst>
                    <a:ext uri="{FF2B5EF4-FFF2-40B4-BE49-F238E27FC236}">
                      <a16:creationId xmlns:a16="http://schemas.microsoft.com/office/drawing/2014/main" id="{B2F405F1-EFBB-4FF4-812C-2534CA7974E9}"/>
                    </a:ext>
                  </a:extLst>
                </p:cNvPr>
                <p:cNvSpPr>
                  <a:spLocks/>
                </p:cNvSpPr>
                <p:nvPr/>
              </p:nvSpPr>
              <p:spPr bwMode="auto">
                <a:xfrm>
                  <a:off x="3923990" y="4544441"/>
                  <a:ext cx="57355" cy="0"/>
                </a:xfrm>
                <a:custGeom>
                  <a:avLst/>
                  <a:gdLst>
                    <a:gd name="T0" fmla="*/ 0 w 42"/>
                    <a:gd name="T1" fmla="*/ 42 w 42"/>
                    <a:gd name="T2" fmla="*/ 0 w 42"/>
                  </a:gdLst>
                  <a:ahLst/>
                  <a:cxnLst>
                    <a:cxn ang="0">
                      <a:pos x="T0" y="0"/>
                    </a:cxn>
                    <a:cxn ang="0">
                      <a:pos x="T1" y="0"/>
                    </a:cxn>
                    <a:cxn ang="0">
                      <a:pos x="T2" y="0"/>
                    </a:cxn>
                  </a:cxnLst>
                  <a:rect l="0" t="0" r="r" b="b"/>
                  <a:pathLst>
                    <a:path w="42">
                      <a:moveTo>
                        <a:pt x="0" y="0"/>
                      </a:moveTo>
                      <a:lnTo>
                        <a:pt x="42" y="0"/>
                      </a:lnTo>
                      <a:lnTo>
                        <a:pt x="0" y="0"/>
                      </a:lnTo>
                      <a:close/>
                    </a:path>
                  </a:pathLst>
                </a:custGeom>
                <a:solidFill>
                  <a:srgbClr val="0098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l" rtl="0" fontAlgn="base">
                    <a:spcBef>
                      <a:spcPct val="0"/>
                    </a:spcBef>
                    <a:spcAft>
                      <a:spcPct val="0"/>
                    </a:spcAft>
                  </a:pPr>
                  <a:endParaRPr lang="zh-CN" sz="1000" b="1">
                    <a:solidFill>
                      <a:srgbClr val="504C4C"/>
                    </a:solidFill>
                    <a:latin typeface="Arial" panose="020B0604020202020204" pitchFamily="34" charset="0"/>
                    <a:ea typeface="微软雅黑" panose="020B0503020204020204" pitchFamily="34" charset="-122"/>
                    <a:cs typeface="Arial" pitchFamily="34" charset="0"/>
                  </a:endParaRPr>
                </a:p>
              </p:txBody>
            </p:sp>
            <p:sp>
              <p:nvSpPr>
                <p:cNvPr id="831" name="Freeform 400">
                  <a:extLst>
                    <a:ext uri="{FF2B5EF4-FFF2-40B4-BE49-F238E27FC236}">
                      <a16:creationId xmlns:a16="http://schemas.microsoft.com/office/drawing/2014/main" id="{08280CF6-1A4B-45A5-BC6D-37DEBAB34C56}"/>
                    </a:ext>
                  </a:extLst>
                </p:cNvPr>
                <p:cNvSpPr>
                  <a:spLocks/>
                </p:cNvSpPr>
                <p:nvPr/>
              </p:nvSpPr>
              <p:spPr bwMode="auto">
                <a:xfrm>
                  <a:off x="4677805" y="4555366"/>
                  <a:ext cx="0" cy="128367"/>
                </a:xfrm>
                <a:custGeom>
                  <a:avLst/>
                  <a:gdLst>
                    <a:gd name="T0" fmla="*/ 94 h 94"/>
                    <a:gd name="T1" fmla="*/ 0 h 94"/>
                    <a:gd name="T2" fmla="*/ 94 h 94"/>
                  </a:gdLst>
                  <a:ahLst/>
                  <a:cxnLst>
                    <a:cxn ang="0">
                      <a:pos x="0" y="T0"/>
                    </a:cxn>
                    <a:cxn ang="0">
                      <a:pos x="0" y="T1"/>
                    </a:cxn>
                    <a:cxn ang="0">
                      <a:pos x="0" y="T2"/>
                    </a:cxn>
                  </a:cxnLst>
                  <a:rect l="0" t="0" r="r" b="b"/>
                  <a:pathLst>
                    <a:path h="94">
                      <a:moveTo>
                        <a:pt x="0" y="94"/>
                      </a:moveTo>
                      <a:lnTo>
                        <a:pt x="0" y="0"/>
                      </a:lnTo>
                      <a:lnTo>
                        <a:pt x="0" y="94"/>
                      </a:lnTo>
                      <a:close/>
                    </a:path>
                  </a:pathLst>
                </a:custGeom>
                <a:solidFill>
                  <a:srgbClr val="0098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l" rtl="0" fontAlgn="base">
                    <a:spcBef>
                      <a:spcPct val="0"/>
                    </a:spcBef>
                    <a:spcAft>
                      <a:spcPct val="0"/>
                    </a:spcAft>
                  </a:pPr>
                  <a:endParaRPr lang="zh-CN" sz="1000" b="1">
                    <a:solidFill>
                      <a:srgbClr val="504C4C"/>
                    </a:solidFill>
                    <a:latin typeface="Arial" panose="020B0604020202020204" pitchFamily="34" charset="0"/>
                    <a:ea typeface="微软雅黑" panose="020B0503020204020204" pitchFamily="34" charset="-122"/>
                    <a:cs typeface="Arial" pitchFamily="34" charset="0"/>
                  </a:endParaRPr>
                </a:p>
              </p:txBody>
            </p:sp>
            <p:sp>
              <p:nvSpPr>
                <p:cNvPr id="832" name="Freeform 402">
                  <a:extLst>
                    <a:ext uri="{FF2B5EF4-FFF2-40B4-BE49-F238E27FC236}">
                      <a16:creationId xmlns:a16="http://schemas.microsoft.com/office/drawing/2014/main" id="{B6D1D800-409B-428A-A886-69C9FD100D45}"/>
                    </a:ext>
                  </a:extLst>
                </p:cNvPr>
                <p:cNvSpPr>
                  <a:spLocks/>
                </p:cNvSpPr>
                <p:nvPr/>
              </p:nvSpPr>
              <p:spPr bwMode="auto">
                <a:xfrm>
                  <a:off x="4647762" y="4555366"/>
                  <a:ext cx="57355" cy="0"/>
                </a:xfrm>
                <a:custGeom>
                  <a:avLst/>
                  <a:gdLst>
                    <a:gd name="T0" fmla="*/ 0 w 42"/>
                    <a:gd name="T1" fmla="*/ 42 w 42"/>
                    <a:gd name="T2" fmla="*/ 0 w 42"/>
                  </a:gdLst>
                  <a:ahLst/>
                  <a:cxnLst>
                    <a:cxn ang="0">
                      <a:pos x="T0" y="0"/>
                    </a:cxn>
                    <a:cxn ang="0">
                      <a:pos x="T1" y="0"/>
                    </a:cxn>
                    <a:cxn ang="0">
                      <a:pos x="T2" y="0"/>
                    </a:cxn>
                  </a:cxnLst>
                  <a:rect l="0" t="0" r="r" b="b"/>
                  <a:pathLst>
                    <a:path w="42">
                      <a:moveTo>
                        <a:pt x="0" y="0"/>
                      </a:moveTo>
                      <a:lnTo>
                        <a:pt x="42" y="0"/>
                      </a:lnTo>
                      <a:lnTo>
                        <a:pt x="0" y="0"/>
                      </a:lnTo>
                      <a:close/>
                    </a:path>
                  </a:pathLst>
                </a:custGeom>
                <a:solidFill>
                  <a:srgbClr val="0098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l" rtl="0" fontAlgn="base">
                    <a:spcBef>
                      <a:spcPct val="0"/>
                    </a:spcBef>
                    <a:spcAft>
                      <a:spcPct val="0"/>
                    </a:spcAft>
                  </a:pPr>
                  <a:endParaRPr lang="zh-CN" sz="1000" b="1">
                    <a:solidFill>
                      <a:srgbClr val="504C4C"/>
                    </a:solidFill>
                    <a:latin typeface="Arial" panose="020B0604020202020204" pitchFamily="34" charset="0"/>
                    <a:ea typeface="微软雅黑" panose="020B0503020204020204" pitchFamily="34" charset="-122"/>
                    <a:cs typeface="Arial" pitchFamily="34" charset="0"/>
                  </a:endParaRPr>
                </a:p>
              </p:txBody>
            </p:sp>
            <p:sp>
              <p:nvSpPr>
                <p:cNvPr id="833" name="Line 403">
                  <a:extLst>
                    <a:ext uri="{FF2B5EF4-FFF2-40B4-BE49-F238E27FC236}">
                      <a16:creationId xmlns:a16="http://schemas.microsoft.com/office/drawing/2014/main" id="{8E1BCCD5-BABF-4AFD-BC06-1F04CBBE1997}"/>
                    </a:ext>
                  </a:extLst>
                </p:cNvPr>
                <p:cNvSpPr>
                  <a:spLocks noChangeShapeType="1"/>
                </p:cNvSpPr>
                <p:nvPr/>
              </p:nvSpPr>
              <p:spPr bwMode="auto">
                <a:xfrm>
                  <a:off x="4647762" y="4555366"/>
                  <a:ext cx="57355" cy="0"/>
                </a:xfrm>
                <a:prstGeom prst="line">
                  <a:avLst/>
                </a:prstGeom>
                <a:noFill/>
                <a:ln w="12700" cap="flat">
                  <a:solidFill>
                    <a:srgbClr val="0093D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algn="l" rtl="0" fontAlgn="base">
                    <a:spcBef>
                      <a:spcPct val="0"/>
                    </a:spcBef>
                    <a:spcAft>
                      <a:spcPct val="0"/>
                    </a:spcAft>
                  </a:pPr>
                  <a:endParaRPr lang="zh-CN" sz="1000" b="1">
                    <a:solidFill>
                      <a:srgbClr val="504C4C"/>
                    </a:solidFill>
                    <a:latin typeface="Arial" panose="020B0604020202020204" pitchFamily="34" charset="0"/>
                    <a:ea typeface="微软雅黑" panose="020B0503020204020204" pitchFamily="34" charset="-122"/>
                    <a:cs typeface="Arial" pitchFamily="34" charset="0"/>
                  </a:endParaRPr>
                </a:p>
              </p:txBody>
            </p:sp>
            <p:sp>
              <p:nvSpPr>
                <p:cNvPr id="834" name="Freeform 404">
                  <a:extLst>
                    <a:ext uri="{FF2B5EF4-FFF2-40B4-BE49-F238E27FC236}">
                      <a16:creationId xmlns:a16="http://schemas.microsoft.com/office/drawing/2014/main" id="{DBE30CC2-FFEA-4169-95C5-982519D97F39}"/>
                    </a:ext>
                  </a:extLst>
                </p:cNvPr>
                <p:cNvSpPr>
                  <a:spLocks/>
                </p:cNvSpPr>
                <p:nvPr/>
              </p:nvSpPr>
              <p:spPr bwMode="auto">
                <a:xfrm>
                  <a:off x="4647762" y="4683733"/>
                  <a:ext cx="57355" cy="0"/>
                </a:xfrm>
                <a:custGeom>
                  <a:avLst/>
                  <a:gdLst>
                    <a:gd name="T0" fmla="*/ 0 w 42"/>
                    <a:gd name="T1" fmla="*/ 42 w 42"/>
                    <a:gd name="T2" fmla="*/ 0 w 42"/>
                  </a:gdLst>
                  <a:ahLst/>
                  <a:cxnLst>
                    <a:cxn ang="0">
                      <a:pos x="T0" y="0"/>
                    </a:cxn>
                    <a:cxn ang="0">
                      <a:pos x="T1" y="0"/>
                    </a:cxn>
                    <a:cxn ang="0">
                      <a:pos x="T2" y="0"/>
                    </a:cxn>
                  </a:cxnLst>
                  <a:rect l="0" t="0" r="r" b="b"/>
                  <a:pathLst>
                    <a:path w="42">
                      <a:moveTo>
                        <a:pt x="0" y="0"/>
                      </a:moveTo>
                      <a:lnTo>
                        <a:pt x="42" y="0"/>
                      </a:lnTo>
                      <a:lnTo>
                        <a:pt x="0" y="0"/>
                      </a:lnTo>
                      <a:close/>
                    </a:path>
                  </a:pathLst>
                </a:custGeom>
                <a:solidFill>
                  <a:srgbClr val="0098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l" rtl="0" fontAlgn="base">
                    <a:spcBef>
                      <a:spcPct val="0"/>
                    </a:spcBef>
                    <a:spcAft>
                      <a:spcPct val="0"/>
                    </a:spcAft>
                  </a:pPr>
                  <a:endParaRPr lang="zh-CN" sz="1000" b="1">
                    <a:solidFill>
                      <a:srgbClr val="504C4C"/>
                    </a:solidFill>
                    <a:latin typeface="Arial" panose="020B0604020202020204" pitchFamily="34" charset="0"/>
                    <a:ea typeface="微软雅黑" panose="020B0503020204020204" pitchFamily="34" charset="-122"/>
                    <a:cs typeface="Arial" pitchFamily="34" charset="0"/>
                  </a:endParaRPr>
                </a:p>
              </p:txBody>
            </p:sp>
            <p:sp>
              <p:nvSpPr>
                <p:cNvPr id="835" name="Line 405">
                  <a:extLst>
                    <a:ext uri="{FF2B5EF4-FFF2-40B4-BE49-F238E27FC236}">
                      <a16:creationId xmlns:a16="http://schemas.microsoft.com/office/drawing/2014/main" id="{F9DA2E86-0D46-4130-8467-7BB8B2EB70CD}"/>
                    </a:ext>
                  </a:extLst>
                </p:cNvPr>
                <p:cNvSpPr>
                  <a:spLocks noChangeShapeType="1"/>
                </p:cNvSpPr>
                <p:nvPr/>
              </p:nvSpPr>
              <p:spPr bwMode="auto">
                <a:xfrm>
                  <a:off x="4647762" y="4683733"/>
                  <a:ext cx="57355" cy="0"/>
                </a:xfrm>
                <a:prstGeom prst="line">
                  <a:avLst/>
                </a:prstGeom>
                <a:noFill/>
                <a:ln w="12700" cap="flat">
                  <a:solidFill>
                    <a:srgbClr val="0093D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algn="l" rtl="0" fontAlgn="base">
                    <a:spcBef>
                      <a:spcPct val="0"/>
                    </a:spcBef>
                    <a:spcAft>
                      <a:spcPct val="0"/>
                    </a:spcAft>
                  </a:pPr>
                  <a:endParaRPr lang="zh-CN" sz="1000" b="1">
                    <a:solidFill>
                      <a:srgbClr val="504C4C"/>
                    </a:solidFill>
                    <a:latin typeface="Arial" panose="020B0604020202020204" pitchFamily="34" charset="0"/>
                    <a:ea typeface="微软雅黑" panose="020B0503020204020204" pitchFamily="34" charset="-122"/>
                    <a:cs typeface="Arial" pitchFamily="34" charset="0"/>
                  </a:endParaRPr>
                </a:p>
              </p:txBody>
            </p:sp>
            <p:sp>
              <p:nvSpPr>
                <p:cNvPr id="836" name="Line 247">
                  <a:extLst>
                    <a:ext uri="{FF2B5EF4-FFF2-40B4-BE49-F238E27FC236}">
                      <a16:creationId xmlns:a16="http://schemas.microsoft.com/office/drawing/2014/main" id="{F1FD824E-D6DA-4791-BBFD-1BBA51A194C2}"/>
                    </a:ext>
                  </a:extLst>
                </p:cNvPr>
                <p:cNvSpPr>
                  <a:spLocks noChangeShapeType="1"/>
                </p:cNvSpPr>
                <p:nvPr/>
              </p:nvSpPr>
              <p:spPr bwMode="auto">
                <a:xfrm>
                  <a:off x="6101757" y="4728132"/>
                  <a:ext cx="57355" cy="0"/>
                </a:xfrm>
                <a:prstGeom prst="line">
                  <a:avLst/>
                </a:prstGeom>
                <a:noFill/>
                <a:ln w="12700" cap="flat">
                  <a:solidFill>
                    <a:srgbClr val="0093D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algn="l" rtl="0" fontAlgn="base">
                    <a:spcBef>
                      <a:spcPct val="0"/>
                    </a:spcBef>
                    <a:spcAft>
                      <a:spcPct val="0"/>
                    </a:spcAft>
                  </a:pPr>
                  <a:endParaRPr lang="zh-CN" sz="1000" b="1">
                    <a:solidFill>
                      <a:srgbClr val="504C4C"/>
                    </a:solidFill>
                    <a:latin typeface="Arial" panose="020B0604020202020204" pitchFamily="34" charset="0"/>
                    <a:ea typeface="微软雅黑" panose="020B0503020204020204" pitchFamily="34" charset="-122"/>
                    <a:cs typeface="Arial" pitchFamily="34" charset="0"/>
                  </a:endParaRPr>
                </a:p>
              </p:txBody>
            </p:sp>
          </p:grpSp>
          <p:sp>
            <p:nvSpPr>
              <p:cNvPr id="743" name="Isosceles Triangle 95">
                <a:extLst>
                  <a:ext uri="{FF2B5EF4-FFF2-40B4-BE49-F238E27FC236}">
                    <a16:creationId xmlns:a16="http://schemas.microsoft.com/office/drawing/2014/main" id="{BFA2F67C-C6AD-4433-BC4B-2D865ACDC855}"/>
                  </a:ext>
                </a:extLst>
              </p:cNvPr>
              <p:cNvSpPr/>
              <p:nvPr/>
            </p:nvSpPr>
            <p:spPr>
              <a:xfrm>
                <a:off x="6077358" y="4598872"/>
                <a:ext cx="93432" cy="105152"/>
              </a:xfrm>
              <a:prstGeom prst="triangle">
                <a:avLst/>
              </a:prstGeom>
              <a:solidFill>
                <a:srgbClr val="0093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zh-CN" sz="1000">
                  <a:latin typeface="Arial" panose="020B0604020202020204" pitchFamily="34" charset="0"/>
                  <a:ea typeface="微软雅黑" panose="020B0503020204020204" pitchFamily="34" charset="-122"/>
                </a:endParaRPr>
              </a:p>
            </p:txBody>
          </p:sp>
        </p:grpSp>
        <p:sp>
          <p:nvSpPr>
            <p:cNvPr id="837" name="TextBox 405">
              <a:extLst>
                <a:ext uri="{FF2B5EF4-FFF2-40B4-BE49-F238E27FC236}">
                  <a16:creationId xmlns:a16="http://schemas.microsoft.com/office/drawing/2014/main" id="{11E326DB-B56B-4A3B-B3E7-CD56532DEB9B}"/>
                </a:ext>
              </a:extLst>
            </p:cNvPr>
            <p:cNvSpPr txBox="1"/>
            <p:nvPr/>
          </p:nvSpPr>
          <p:spPr bwMode="auto">
            <a:xfrm>
              <a:off x="8594473" y="6118675"/>
              <a:ext cx="156627" cy="75242"/>
            </a:xfrm>
            <a:prstGeom prst="rect">
              <a:avLst/>
            </a:prstGeom>
            <a:noFill/>
            <a:ln w="9525">
              <a:noFill/>
              <a:miter lim="800000"/>
              <a:headEnd/>
              <a:tailEnd/>
            </a:ln>
            <a:effectLst/>
          </p:spPr>
          <p:txBody>
            <a:bodyPr vert="horz" wrap="square" lIns="0" tIns="0" rIns="0" bIns="0" numCol="1" rtlCol="0" anchor="ctr" anchorCtr="0" compatLnSpc="1">
              <a:prstTxWarp prst="textNoShape">
                <a:avLst/>
              </a:prstTxWarp>
              <a:spAutoFit/>
            </a:bodyPr>
            <a:lstStyle/>
            <a:p>
              <a:pPr algn="ctr" rtl="0" fontAlgn="base">
                <a:spcBef>
                  <a:spcPct val="0"/>
                </a:spcBef>
                <a:spcAft>
                  <a:spcPct val="0"/>
                </a:spcAft>
                <a:tabLst>
                  <a:tab pos="200025" algn="ctr"/>
                  <a:tab pos="819150" algn="ctr"/>
                  <a:tab pos="1033463" algn="ctr"/>
                  <a:tab pos="1876425" algn="ctr"/>
                  <a:tab pos="2509838" algn="ctr"/>
                  <a:tab pos="2719388" algn="ctr"/>
                  <a:tab pos="3352800" algn="ctr"/>
                  <a:tab pos="3562350" algn="ctr"/>
                  <a:tab pos="3771900" algn="ctr"/>
                  <a:tab pos="4191000" algn="ctr"/>
                  <a:tab pos="4400550" algn="ctr"/>
                  <a:tab pos="4610100" algn="ctr"/>
                  <a:tab pos="5029200" algn="ctr"/>
                  <a:tab pos="5243513" algn="ctr"/>
                  <a:tab pos="5457825" algn="ctr"/>
                  <a:tab pos="5886450" algn="ctr"/>
                  <a:tab pos="6081713" algn="ctr"/>
                </a:tabLst>
              </a:pPr>
              <a:r>
                <a:rPr lang="zh-CN" sz="1000" b="0" i="0" u="none" baseline="0">
                  <a:latin typeface="Arial" panose="020B0604020202020204" pitchFamily="34" charset="0"/>
                  <a:ea typeface="微软雅黑" panose="020B0503020204020204" pitchFamily="34" charset="-122"/>
                  <a:cs typeface="Arial" pitchFamily="34" charset="0"/>
                </a:rPr>
                <a:t>24</a:t>
              </a:r>
              <a:endParaRPr lang="zh-CN" sz="1000" dirty="0">
                <a:latin typeface="Arial" panose="020B0604020202020204" pitchFamily="34" charset="0"/>
                <a:ea typeface="微软雅黑" panose="020B0503020204020204" pitchFamily="34" charset="-122"/>
                <a:cs typeface="Arial" pitchFamily="34" charset="0"/>
              </a:endParaRPr>
            </a:p>
          </p:txBody>
        </p:sp>
        <p:sp>
          <p:nvSpPr>
            <p:cNvPr id="838" name="TextBox 406">
              <a:extLst>
                <a:ext uri="{FF2B5EF4-FFF2-40B4-BE49-F238E27FC236}">
                  <a16:creationId xmlns:a16="http://schemas.microsoft.com/office/drawing/2014/main" id="{7238AAED-A677-4DC2-B4DF-7B36B2E0A8C6}"/>
                </a:ext>
              </a:extLst>
            </p:cNvPr>
            <p:cNvSpPr txBox="1"/>
            <p:nvPr/>
          </p:nvSpPr>
          <p:spPr bwMode="auto">
            <a:xfrm>
              <a:off x="9069588" y="6118675"/>
              <a:ext cx="156627" cy="75242"/>
            </a:xfrm>
            <a:prstGeom prst="rect">
              <a:avLst/>
            </a:prstGeom>
            <a:noFill/>
            <a:ln w="9525">
              <a:noFill/>
              <a:miter lim="800000"/>
              <a:headEnd/>
              <a:tailEnd/>
            </a:ln>
            <a:effectLst/>
          </p:spPr>
          <p:txBody>
            <a:bodyPr vert="horz" wrap="square" lIns="0" tIns="0" rIns="0" bIns="0" numCol="1" rtlCol="0" anchor="ctr" anchorCtr="0" compatLnSpc="1">
              <a:prstTxWarp prst="textNoShape">
                <a:avLst/>
              </a:prstTxWarp>
              <a:spAutoFit/>
            </a:bodyPr>
            <a:lstStyle/>
            <a:p>
              <a:pPr algn="ctr" rtl="0" fontAlgn="base">
                <a:spcBef>
                  <a:spcPct val="0"/>
                </a:spcBef>
                <a:spcAft>
                  <a:spcPct val="0"/>
                </a:spcAft>
                <a:tabLst>
                  <a:tab pos="200025" algn="ctr"/>
                  <a:tab pos="819150" algn="ctr"/>
                  <a:tab pos="1033463" algn="ctr"/>
                  <a:tab pos="1876425" algn="ctr"/>
                  <a:tab pos="2509838" algn="ctr"/>
                  <a:tab pos="2719388" algn="ctr"/>
                  <a:tab pos="3352800" algn="ctr"/>
                  <a:tab pos="3562350" algn="ctr"/>
                  <a:tab pos="3771900" algn="ctr"/>
                  <a:tab pos="4191000" algn="ctr"/>
                  <a:tab pos="4400550" algn="ctr"/>
                  <a:tab pos="4610100" algn="ctr"/>
                  <a:tab pos="5029200" algn="ctr"/>
                  <a:tab pos="5243513" algn="ctr"/>
                  <a:tab pos="5457825" algn="ctr"/>
                  <a:tab pos="5886450" algn="ctr"/>
                  <a:tab pos="6081713" algn="ctr"/>
                </a:tabLst>
              </a:pPr>
              <a:r>
                <a:rPr lang="zh-CN" sz="1000" b="0" i="0" u="none" baseline="0">
                  <a:latin typeface="Arial" panose="020B0604020202020204" pitchFamily="34" charset="0"/>
                  <a:ea typeface="微软雅黑" panose="020B0503020204020204" pitchFamily="34" charset="-122"/>
                  <a:cs typeface="Arial" pitchFamily="34" charset="0"/>
                </a:rPr>
                <a:t>33</a:t>
              </a:r>
              <a:endParaRPr lang="zh-CN" sz="1000" dirty="0">
                <a:latin typeface="Arial" panose="020B0604020202020204" pitchFamily="34" charset="0"/>
                <a:ea typeface="微软雅黑" panose="020B0503020204020204" pitchFamily="34" charset="-122"/>
                <a:cs typeface="Arial" pitchFamily="34" charset="0"/>
              </a:endParaRPr>
            </a:p>
          </p:txBody>
        </p:sp>
        <p:sp>
          <p:nvSpPr>
            <p:cNvPr id="839" name="TextBox 407">
              <a:extLst>
                <a:ext uri="{FF2B5EF4-FFF2-40B4-BE49-F238E27FC236}">
                  <a16:creationId xmlns:a16="http://schemas.microsoft.com/office/drawing/2014/main" id="{CF07D710-3810-4CD2-A02F-8A76DA3547AF}"/>
                </a:ext>
              </a:extLst>
            </p:cNvPr>
            <p:cNvSpPr txBox="1"/>
            <p:nvPr/>
          </p:nvSpPr>
          <p:spPr bwMode="auto">
            <a:xfrm>
              <a:off x="9229238" y="6118675"/>
              <a:ext cx="156627" cy="75242"/>
            </a:xfrm>
            <a:prstGeom prst="rect">
              <a:avLst/>
            </a:prstGeom>
            <a:noFill/>
            <a:ln w="9525">
              <a:noFill/>
              <a:miter lim="800000"/>
              <a:headEnd/>
              <a:tailEnd/>
            </a:ln>
            <a:effectLst/>
          </p:spPr>
          <p:txBody>
            <a:bodyPr vert="horz" wrap="square" lIns="0" tIns="0" rIns="0" bIns="0" numCol="1" rtlCol="0" anchor="ctr" anchorCtr="0" compatLnSpc="1">
              <a:prstTxWarp prst="textNoShape">
                <a:avLst/>
              </a:prstTxWarp>
              <a:spAutoFit/>
            </a:bodyPr>
            <a:lstStyle/>
            <a:p>
              <a:pPr algn="ctr" rtl="0" fontAlgn="base">
                <a:spcBef>
                  <a:spcPct val="0"/>
                </a:spcBef>
                <a:spcAft>
                  <a:spcPct val="0"/>
                </a:spcAft>
                <a:tabLst>
                  <a:tab pos="200025" algn="ctr"/>
                  <a:tab pos="819150" algn="ctr"/>
                  <a:tab pos="1033463" algn="ctr"/>
                  <a:tab pos="1876425" algn="ctr"/>
                  <a:tab pos="2509838" algn="ctr"/>
                  <a:tab pos="2719388" algn="ctr"/>
                  <a:tab pos="3352800" algn="ctr"/>
                  <a:tab pos="3562350" algn="ctr"/>
                  <a:tab pos="3771900" algn="ctr"/>
                  <a:tab pos="4191000" algn="ctr"/>
                  <a:tab pos="4400550" algn="ctr"/>
                  <a:tab pos="4610100" algn="ctr"/>
                  <a:tab pos="5029200" algn="ctr"/>
                  <a:tab pos="5243513" algn="ctr"/>
                  <a:tab pos="5457825" algn="ctr"/>
                  <a:tab pos="5886450" algn="ctr"/>
                  <a:tab pos="6081713" algn="ctr"/>
                </a:tabLst>
              </a:pPr>
              <a:r>
                <a:rPr lang="zh-CN" sz="1000" b="0" i="0" u="none" baseline="0">
                  <a:latin typeface="Arial" panose="020B0604020202020204" pitchFamily="34" charset="0"/>
                  <a:ea typeface="微软雅黑" panose="020B0503020204020204" pitchFamily="34" charset="-122"/>
                  <a:cs typeface="Arial" pitchFamily="34" charset="0"/>
                </a:rPr>
                <a:t>36</a:t>
              </a:r>
              <a:endParaRPr lang="zh-CN" sz="1000" dirty="0">
                <a:latin typeface="Arial" panose="020B0604020202020204" pitchFamily="34" charset="0"/>
                <a:ea typeface="微软雅黑" panose="020B0503020204020204" pitchFamily="34" charset="-122"/>
                <a:cs typeface="Arial" pitchFamily="34" charset="0"/>
              </a:endParaRPr>
            </a:p>
          </p:txBody>
        </p:sp>
        <p:sp>
          <p:nvSpPr>
            <p:cNvPr id="840" name="TextBox 408">
              <a:extLst>
                <a:ext uri="{FF2B5EF4-FFF2-40B4-BE49-F238E27FC236}">
                  <a16:creationId xmlns:a16="http://schemas.microsoft.com/office/drawing/2014/main" id="{7906BFAA-F8F3-4878-8081-BBDB876FCB8F}"/>
                </a:ext>
              </a:extLst>
            </p:cNvPr>
            <p:cNvSpPr txBox="1"/>
            <p:nvPr/>
          </p:nvSpPr>
          <p:spPr bwMode="auto">
            <a:xfrm>
              <a:off x="9696875" y="6118675"/>
              <a:ext cx="156627" cy="75242"/>
            </a:xfrm>
            <a:prstGeom prst="rect">
              <a:avLst/>
            </a:prstGeom>
            <a:noFill/>
            <a:ln w="9525">
              <a:noFill/>
              <a:miter lim="800000"/>
              <a:headEnd/>
              <a:tailEnd/>
            </a:ln>
            <a:effectLst/>
          </p:spPr>
          <p:txBody>
            <a:bodyPr vert="horz" wrap="square" lIns="0" tIns="0" rIns="0" bIns="0" numCol="1" rtlCol="0" anchor="ctr" anchorCtr="0" compatLnSpc="1">
              <a:prstTxWarp prst="textNoShape">
                <a:avLst/>
              </a:prstTxWarp>
              <a:spAutoFit/>
            </a:bodyPr>
            <a:lstStyle/>
            <a:p>
              <a:pPr algn="ctr" rtl="0" fontAlgn="base">
                <a:spcBef>
                  <a:spcPct val="0"/>
                </a:spcBef>
                <a:spcAft>
                  <a:spcPct val="0"/>
                </a:spcAft>
                <a:tabLst>
                  <a:tab pos="200025" algn="ctr"/>
                  <a:tab pos="819150" algn="ctr"/>
                  <a:tab pos="1033463" algn="ctr"/>
                  <a:tab pos="1876425" algn="ctr"/>
                  <a:tab pos="2509838" algn="ctr"/>
                  <a:tab pos="2719388" algn="ctr"/>
                  <a:tab pos="3352800" algn="ctr"/>
                  <a:tab pos="3562350" algn="ctr"/>
                  <a:tab pos="3771900" algn="ctr"/>
                  <a:tab pos="4191000" algn="ctr"/>
                  <a:tab pos="4400550" algn="ctr"/>
                  <a:tab pos="4610100" algn="ctr"/>
                  <a:tab pos="5029200" algn="ctr"/>
                  <a:tab pos="5243513" algn="ctr"/>
                  <a:tab pos="5457825" algn="ctr"/>
                  <a:tab pos="5886450" algn="ctr"/>
                  <a:tab pos="6081713" algn="ctr"/>
                </a:tabLst>
              </a:pPr>
              <a:r>
                <a:rPr lang="zh-CN" sz="1000" b="0" i="0" u="none" baseline="0">
                  <a:latin typeface="Arial" panose="020B0604020202020204" pitchFamily="34" charset="0"/>
                  <a:ea typeface="微软雅黑" panose="020B0503020204020204" pitchFamily="34" charset="-122"/>
                  <a:cs typeface="Arial" pitchFamily="34" charset="0"/>
                </a:rPr>
                <a:t>45</a:t>
              </a:r>
              <a:endParaRPr lang="zh-CN" sz="1000" dirty="0">
                <a:latin typeface="Arial" panose="020B0604020202020204" pitchFamily="34" charset="0"/>
                <a:ea typeface="微软雅黑" panose="020B0503020204020204" pitchFamily="34" charset="-122"/>
                <a:cs typeface="Arial" pitchFamily="34" charset="0"/>
              </a:endParaRPr>
            </a:p>
          </p:txBody>
        </p:sp>
        <p:sp>
          <p:nvSpPr>
            <p:cNvPr id="841" name="TextBox 409">
              <a:extLst>
                <a:ext uri="{FF2B5EF4-FFF2-40B4-BE49-F238E27FC236}">
                  <a16:creationId xmlns:a16="http://schemas.microsoft.com/office/drawing/2014/main" id="{898DC0EB-6C4D-460E-91B9-9EFBB9CF8706}"/>
                </a:ext>
              </a:extLst>
            </p:cNvPr>
            <p:cNvSpPr txBox="1"/>
            <p:nvPr/>
          </p:nvSpPr>
          <p:spPr bwMode="auto">
            <a:xfrm>
              <a:off x="9861801" y="6118675"/>
              <a:ext cx="156627" cy="75242"/>
            </a:xfrm>
            <a:prstGeom prst="rect">
              <a:avLst/>
            </a:prstGeom>
            <a:noFill/>
            <a:ln w="9525">
              <a:noFill/>
              <a:miter lim="800000"/>
              <a:headEnd/>
              <a:tailEnd/>
            </a:ln>
            <a:effectLst/>
          </p:spPr>
          <p:txBody>
            <a:bodyPr vert="horz" wrap="square" lIns="0" tIns="0" rIns="0" bIns="0" numCol="1" rtlCol="0" anchor="ctr" anchorCtr="0" compatLnSpc="1">
              <a:prstTxWarp prst="textNoShape">
                <a:avLst/>
              </a:prstTxWarp>
              <a:spAutoFit/>
            </a:bodyPr>
            <a:lstStyle/>
            <a:p>
              <a:pPr algn="ctr" rtl="0" fontAlgn="base">
                <a:spcBef>
                  <a:spcPct val="0"/>
                </a:spcBef>
                <a:spcAft>
                  <a:spcPct val="0"/>
                </a:spcAft>
                <a:tabLst>
                  <a:tab pos="200025" algn="ctr"/>
                  <a:tab pos="819150" algn="ctr"/>
                  <a:tab pos="1033463" algn="ctr"/>
                  <a:tab pos="1876425" algn="ctr"/>
                  <a:tab pos="2509838" algn="ctr"/>
                  <a:tab pos="2719388" algn="ctr"/>
                  <a:tab pos="3352800" algn="ctr"/>
                  <a:tab pos="3562350" algn="ctr"/>
                  <a:tab pos="3771900" algn="ctr"/>
                  <a:tab pos="4191000" algn="ctr"/>
                  <a:tab pos="4400550" algn="ctr"/>
                  <a:tab pos="4610100" algn="ctr"/>
                  <a:tab pos="5029200" algn="ctr"/>
                  <a:tab pos="5243513" algn="ctr"/>
                  <a:tab pos="5457825" algn="ctr"/>
                  <a:tab pos="5886450" algn="ctr"/>
                  <a:tab pos="6081713" algn="ctr"/>
                </a:tabLst>
              </a:pPr>
              <a:r>
                <a:rPr lang="zh-CN" sz="1000" b="0" i="0" u="none" baseline="0">
                  <a:latin typeface="Arial" panose="020B0604020202020204" pitchFamily="34" charset="0"/>
                  <a:ea typeface="微软雅黑" panose="020B0503020204020204" pitchFamily="34" charset="-122"/>
                  <a:cs typeface="Arial" pitchFamily="34" charset="0"/>
                </a:rPr>
                <a:t>48</a:t>
              </a:r>
              <a:endParaRPr lang="zh-CN" sz="1000" dirty="0">
                <a:latin typeface="Arial" panose="020B0604020202020204" pitchFamily="34" charset="0"/>
                <a:ea typeface="微软雅黑" panose="020B0503020204020204" pitchFamily="34" charset="-122"/>
                <a:cs typeface="Arial" pitchFamily="34" charset="0"/>
              </a:endParaRPr>
            </a:p>
          </p:txBody>
        </p:sp>
        <p:sp>
          <p:nvSpPr>
            <p:cNvPr id="842" name="TextBox 410">
              <a:extLst>
                <a:ext uri="{FF2B5EF4-FFF2-40B4-BE49-F238E27FC236}">
                  <a16:creationId xmlns:a16="http://schemas.microsoft.com/office/drawing/2014/main" id="{21C1C341-73ED-4DC9-9B2F-2F32DC7C5A46}"/>
                </a:ext>
              </a:extLst>
            </p:cNvPr>
            <p:cNvSpPr txBox="1"/>
            <p:nvPr/>
          </p:nvSpPr>
          <p:spPr bwMode="auto">
            <a:xfrm>
              <a:off x="10013659" y="6118675"/>
              <a:ext cx="156627" cy="75242"/>
            </a:xfrm>
            <a:prstGeom prst="rect">
              <a:avLst/>
            </a:prstGeom>
            <a:noFill/>
            <a:ln w="9525">
              <a:noFill/>
              <a:miter lim="800000"/>
              <a:headEnd/>
              <a:tailEnd/>
            </a:ln>
            <a:effectLst/>
          </p:spPr>
          <p:txBody>
            <a:bodyPr vert="horz" wrap="square" lIns="0" tIns="0" rIns="0" bIns="0" numCol="1" rtlCol="0" anchor="ctr" anchorCtr="0" compatLnSpc="1">
              <a:prstTxWarp prst="textNoShape">
                <a:avLst/>
              </a:prstTxWarp>
              <a:spAutoFit/>
            </a:bodyPr>
            <a:lstStyle/>
            <a:p>
              <a:pPr algn="ctr" rtl="0" fontAlgn="base">
                <a:spcBef>
                  <a:spcPct val="0"/>
                </a:spcBef>
                <a:spcAft>
                  <a:spcPct val="0"/>
                </a:spcAft>
                <a:tabLst>
                  <a:tab pos="200025" algn="ctr"/>
                  <a:tab pos="819150" algn="ctr"/>
                  <a:tab pos="1033463" algn="ctr"/>
                  <a:tab pos="1876425" algn="ctr"/>
                  <a:tab pos="2509838" algn="ctr"/>
                  <a:tab pos="2719388" algn="ctr"/>
                  <a:tab pos="3352800" algn="ctr"/>
                  <a:tab pos="3562350" algn="ctr"/>
                  <a:tab pos="3771900" algn="ctr"/>
                  <a:tab pos="4191000" algn="ctr"/>
                  <a:tab pos="4400550" algn="ctr"/>
                  <a:tab pos="4610100" algn="ctr"/>
                  <a:tab pos="5029200" algn="ctr"/>
                  <a:tab pos="5243513" algn="ctr"/>
                  <a:tab pos="5457825" algn="ctr"/>
                  <a:tab pos="5886450" algn="ctr"/>
                  <a:tab pos="6081713" algn="ctr"/>
                </a:tabLst>
              </a:pPr>
              <a:r>
                <a:rPr lang="zh-CN" sz="1000" b="0" i="0" u="none" baseline="0">
                  <a:latin typeface="Arial" panose="020B0604020202020204" pitchFamily="34" charset="0"/>
                  <a:ea typeface="微软雅黑" panose="020B0503020204020204" pitchFamily="34" charset="-122"/>
                  <a:cs typeface="Arial" pitchFamily="34" charset="0"/>
                </a:rPr>
                <a:t>51</a:t>
              </a:r>
              <a:endParaRPr lang="zh-CN" sz="1000" dirty="0">
                <a:latin typeface="Arial" panose="020B0604020202020204" pitchFamily="34" charset="0"/>
                <a:ea typeface="微软雅黑" panose="020B0503020204020204" pitchFamily="34" charset="-122"/>
                <a:cs typeface="Arial" pitchFamily="34" charset="0"/>
              </a:endParaRPr>
            </a:p>
          </p:txBody>
        </p:sp>
        <p:sp>
          <p:nvSpPr>
            <p:cNvPr id="843" name="TextBox 411">
              <a:extLst>
                <a:ext uri="{FF2B5EF4-FFF2-40B4-BE49-F238E27FC236}">
                  <a16:creationId xmlns:a16="http://schemas.microsoft.com/office/drawing/2014/main" id="{FAB5F5C4-FB03-4AB4-9365-16C6A9FED1FC}"/>
                </a:ext>
              </a:extLst>
            </p:cNvPr>
            <p:cNvSpPr txBox="1"/>
            <p:nvPr/>
          </p:nvSpPr>
          <p:spPr bwMode="auto">
            <a:xfrm>
              <a:off x="10332736" y="6118675"/>
              <a:ext cx="156627" cy="75242"/>
            </a:xfrm>
            <a:prstGeom prst="rect">
              <a:avLst/>
            </a:prstGeom>
            <a:noFill/>
            <a:ln w="9525">
              <a:noFill/>
              <a:miter lim="800000"/>
              <a:headEnd/>
              <a:tailEnd/>
            </a:ln>
            <a:effectLst/>
          </p:spPr>
          <p:txBody>
            <a:bodyPr vert="horz" wrap="square" lIns="0" tIns="0" rIns="0" bIns="0" numCol="1" rtlCol="0" anchor="ctr" anchorCtr="0" compatLnSpc="1">
              <a:prstTxWarp prst="textNoShape">
                <a:avLst/>
              </a:prstTxWarp>
              <a:spAutoFit/>
            </a:bodyPr>
            <a:lstStyle/>
            <a:p>
              <a:pPr algn="ctr" rtl="0" fontAlgn="base">
                <a:spcBef>
                  <a:spcPct val="0"/>
                </a:spcBef>
                <a:spcAft>
                  <a:spcPct val="0"/>
                </a:spcAft>
                <a:tabLst>
                  <a:tab pos="200025" algn="ctr"/>
                  <a:tab pos="819150" algn="ctr"/>
                  <a:tab pos="1033463" algn="ctr"/>
                  <a:tab pos="1876425" algn="ctr"/>
                  <a:tab pos="2509838" algn="ctr"/>
                  <a:tab pos="2719388" algn="ctr"/>
                  <a:tab pos="3352800" algn="ctr"/>
                  <a:tab pos="3562350" algn="ctr"/>
                  <a:tab pos="3771900" algn="ctr"/>
                  <a:tab pos="4191000" algn="ctr"/>
                  <a:tab pos="4400550" algn="ctr"/>
                  <a:tab pos="4610100" algn="ctr"/>
                  <a:tab pos="5029200" algn="ctr"/>
                  <a:tab pos="5243513" algn="ctr"/>
                  <a:tab pos="5457825" algn="ctr"/>
                  <a:tab pos="5886450" algn="ctr"/>
                  <a:tab pos="6081713" algn="ctr"/>
                </a:tabLst>
              </a:pPr>
              <a:r>
                <a:rPr lang="zh-CN" sz="1000" b="0" i="0" u="none" baseline="0">
                  <a:latin typeface="Arial" panose="020B0604020202020204" pitchFamily="34" charset="0"/>
                  <a:ea typeface="微软雅黑" panose="020B0503020204020204" pitchFamily="34" charset="-122"/>
                  <a:cs typeface="Arial" pitchFamily="34" charset="0"/>
                </a:rPr>
                <a:t>57</a:t>
              </a:r>
              <a:endParaRPr lang="zh-CN" sz="1000" dirty="0">
                <a:latin typeface="Arial" panose="020B0604020202020204" pitchFamily="34" charset="0"/>
                <a:ea typeface="微软雅黑" panose="020B0503020204020204" pitchFamily="34" charset="-122"/>
                <a:cs typeface="Arial" pitchFamily="34" charset="0"/>
              </a:endParaRPr>
            </a:p>
          </p:txBody>
        </p:sp>
        <p:sp>
          <p:nvSpPr>
            <p:cNvPr id="844" name="TextBox 412">
              <a:extLst>
                <a:ext uri="{FF2B5EF4-FFF2-40B4-BE49-F238E27FC236}">
                  <a16:creationId xmlns:a16="http://schemas.microsoft.com/office/drawing/2014/main" id="{D71DE085-D013-45DC-B49F-8151E6E525D0}"/>
                </a:ext>
              </a:extLst>
            </p:cNvPr>
            <p:cNvSpPr txBox="1"/>
            <p:nvPr/>
          </p:nvSpPr>
          <p:spPr bwMode="auto">
            <a:xfrm>
              <a:off x="10494831" y="6119413"/>
              <a:ext cx="144147" cy="75242"/>
            </a:xfrm>
            <a:prstGeom prst="rect">
              <a:avLst/>
            </a:prstGeom>
            <a:noFill/>
            <a:ln w="9525">
              <a:noFill/>
              <a:miter lim="800000"/>
              <a:headEnd/>
              <a:tailEnd/>
            </a:ln>
            <a:effectLst/>
          </p:spPr>
          <p:txBody>
            <a:bodyPr vert="horz" wrap="square" lIns="0" tIns="0" rIns="0" bIns="0" numCol="1" rtlCol="0" anchor="ctr" anchorCtr="0" compatLnSpc="1">
              <a:prstTxWarp prst="textNoShape">
                <a:avLst/>
              </a:prstTxWarp>
              <a:spAutoFit/>
            </a:bodyPr>
            <a:lstStyle/>
            <a:p>
              <a:pPr algn="ctr" rtl="0" fontAlgn="base">
                <a:spcBef>
                  <a:spcPct val="0"/>
                </a:spcBef>
                <a:spcAft>
                  <a:spcPct val="0"/>
                </a:spcAft>
                <a:tabLst>
                  <a:tab pos="200025" algn="ctr"/>
                  <a:tab pos="819150" algn="ctr"/>
                  <a:tab pos="1033463" algn="ctr"/>
                  <a:tab pos="1876425" algn="ctr"/>
                  <a:tab pos="2509838" algn="ctr"/>
                  <a:tab pos="2719388" algn="ctr"/>
                  <a:tab pos="3352800" algn="ctr"/>
                  <a:tab pos="3562350" algn="ctr"/>
                  <a:tab pos="3771900" algn="ctr"/>
                  <a:tab pos="4191000" algn="ctr"/>
                  <a:tab pos="4400550" algn="ctr"/>
                  <a:tab pos="4610100" algn="ctr"/>
                  <a:tab pos="5029200" algn="ctr"/>
                  <a:tab pos="5243513" algn="ctr"/>
                  <a:tab pos="5457825" algn="ctr"/>
                  <a:tab pos="5886450" algn="ctr"/>
                  <a:tab pos="6081713" algn="ctr"/>
                </a:tabLst>
              </a:pPr>
              <a:r>
                <a:rPr lang="zh-CN" sz="1000" b="0" i="0" u="none" baseline="0">
                  <a:latin typeface="Arial" panose="020B0604020202020204" pitchFamily="34" charset="0"/>
                  <a:ea typeface="微软雅黑" panose="020B0503020204020204" pitchFamily="34" charset="-122"/>
                  <a:cs typeface="Arial" pitchFamily="34" charset="0"/>
                </a:rPr>
                <a:t>60</a:t>
              </a:r>
              <a:endParaRPr lang="zh-CN" sz="1000" dirty="0">
                <a:latin typeface="Arial" panose="020B0604020202020204" pitchFamily="34" charset="0"/>
                <a:ea typeface="微软雅黑" panose="020B0503020204020204" pitchFamily="34" charset="-122"/>
                <a:cs typeface="Arial" pitchFamily="34" charset="0"/>
              </a:endParaRPr>
            </a:p>
          </p:txBody>
        </p:sp>
        <p:sp>
          <p:nvSpPr>
            <p:cNvPr id="845" name="TextBox 413">
              <a:extLst>
                <a:ext uri="{FF2B5EF4-FFF2-40B4-BE49-F238E27FC236}">
                  <a16:creationId xmlns:a16="http://schemas.microsoft.com/office/drawing/2014/main" id="{0A187066-701A-45B2-AF9D-CEC9DEDB7A47}"/>
                </a:ext>
              </a:extLst>
            </p:cNvPr>
            <p:cNvSpPr txBox="1"/>
            <p:nvPr/>
          </p:nvSpPr>
          <p:spPr bwMode="auto">
            <a:xfrm>
              <a:off x="10655118" y="6119413"/>
              <a:ext cx="144147" cy="75242"/>
            </a:xfrm>
            <a:prstGeom prst="rect">
              <a:avLst/>
            </a:prstGeom>
            <a:noFill/>
            <a:ln w="9525">
              <a:noFill/>
              <a:miter lim="800000"/>
              <a:headEnd/>
              <a:tailEnd/>
            </a:ln>
            <a:effectLst/>
          </p:spPr>
          <p:txBody>
            <a:bodyPr vert="horz" wrap="square" lIns="0" tIns="0" rIns="0" bIns="0" numCol="1" rtlCol="0" anchor="ctr" anchorCtr="0" compatLnSpc="1">
              <a:prstTxWarp prst="textNoShape">
                <a:avLst/>
              </a:prstTxWarp>
              <a:spAutoFit/>
            </a:bodyPr>
            <a:lstStyle/>
            <a:p>
              <a:pPr algn="ctr" rtl="0" fontAlgn="base">
                <a:spcBef>
                  <a:spcPct val="0"/>
                </a:spcBef>
                <a:spcAft>
                  <a:spcPct val="0"/>
                </a:spcAft>
                <a:tabLst>
                  <a:tab pos="200025" algn="ctr"/>
                  <a:tab pos="819150" algn="ctr"/>
                  <a:tab pos="1033463" algn="ctr"/>
                  <a:tab pos="1876425" algn="ctr"/>
                  <a:tab pos="2509838" algn="ctr"/>
                  <a:tab pos="2719388" algn="ctr"/>
                  <a:tab pos="3352800" algn="ctr"/>
                  <a:tab pos="3562350" algn="ctr"/>
                  <a:tab pos="3771900" algn="ctr"/>
                  <a:tab pos="4191000" algn="ctr"/>
                  <a:tab pos="4400550" algn="ctr"/>
                  <a:tab pos="4610100" algn="ctr"/>
                  <a:tab pos="5029200" algn="ctr"/>
                  <a:tab pos="5243513" algn="ctr"/>
                  <a:tab pos="5457825" algn="ctr"/>
                  <a:tab pos="5886450" algn="ctr"/>
                  <a:tab pos="6081713" algn="ctr"/>
                </a:tabLst>
              </a:pPr>
              <a:r>
                <a:rPr lang="zh-CN" sz="1000" b="0" i="0" u="none" baseline="0">
                  <a:latin typeface="Arial" panose="020B0604020202020204" pitchFamily="34" charset="0"/>
                  <a:ea typeface="微软雅黑" panose="020B0503020204020204" pitchFamily="34" charset="-122"/>
                  <a:cs typeface="Arial" pitchFamily="34" charset="0"/>
                </a:rPr>
                <a:t>63</a:t>
              </a:r>
              <a:endParaRPr lang="zh-CN" sz="1000" dirty="0">
                <a:latin typeface="Arial" panose="020B0604020202020204" pitchFamily="34" charset="0"/>
                <a:ea typeface="微软雅黑" panose="020B0503020204020204" pitchFamily="34" charset="-122"/>
                <a:cs typeface="Arial" pitchFamily="34" charset="0"/>
              </a:endParaRPr>
            </a:p>
          </p:txBody>
        </p:sp>
        <p:sp>
          <p:nvSpPr>
            <p:cNvPr id="846" name="TextBox 414">
              <a:extLst>
                <a:ext uri="{FF2B5EF4-FFF2-40B4-BE49-F238E27FC236}">
                  <a16:creationId xmlns:a16="http://schemas.microsoft.com/office/drawing/2014/main" id="{7B4F7859-030F-491F-BF2E-AB7024E0B2DC}"/>
                </a:ext>
              </a:extLst>
            </p:cNvPr>
            <p:cNvSpPr txBox="1"/>
            <p:nvPr/>
          </p:nvSpPr>
          <p:spPr bwMode="auto">
            <a:xfrm>
              <a:off x="10966049" y="6119413"/>
              <a:ext cx="144147" cy="75242"/>
            </a:xfrm>
            <a:prstGeom prst="rect">
              <a:avLst/>
            </a:prstGeom>
            <a:noFill/>
            <a:ln w="9525">
              <a:noFill/>
              <a:miter lim="800000"/>
              <a:headEnd/>
              <a:tailEnd/>
            </a:ln>
            <a:effectLst/>
          </p:spPr>
          <p:txBody>
            <a:bodyPr vert="horz" wrap="square" lIns="0" tIns="0" rIns="0" bIns="0" numCol="1" rtlCol="0" anchor="ctr" anchorCtr="0" compatLnSpc="1">
              <a:prstTxWarp prst="textNoShape">
                <a:avLst/>
              </a:prstTxWarp>
              <a:spAutoFit/>
            </a:bodyPr>
            <a:lstStyle/>
            <a:p>
              <a:pPr algn="ctr" rtl="0" fontAlgn="base">
                <a:spcBef>
                  <a:spcPct val="0"/>
                </a:spcBef>
                <a:spcAft>
                  <a:spcPct val="0"/>
                </a:spcAft>
                <a:tabLst>
                  <a:tab pos="200025" algn="ctr"/>
                  <a:tab pos="819150" algn="ctr"/>
                  <a:tab pos="1033463" algn="ctr"/>
                  <a:tab pos="1876425" algn="ctr"/>
                  <a:tab pos="2509838" algn="ctr"/>
                  <a:tab pos="2719388" algn="ctr"/>
                  <a:tab pos="3352800" algn="ctr"/>
                  <a:tab pos="3562350" algn="ctr"/>
                  <a:tab pos="3771900" algn="ctr"/>
                  <a:tab pos="4191000" algn="ctr"/>
                  <a:tab pos="4400550" algn="ctr"/>
                  <a:tab pos="4610100" algn="ctr"/>
                  <a:tab pos="5029200" algn="ctr"/>
                  <a:tab pos="5243513" algn="ctr"/>
                  <a:tab pos="5457825" algn="ctr"/>
                  <a:tab pos="5886450" algn="ctr"/>
                  <a:tab pos="6081713" algn="ctr"/>
                </a:tabLst>
              </a:pPr>
              <a:r>
                <a:rPr lang="zh-CN" sz="1000" b="0" i="0" u="none" baseline="0">
                  <a:latin typeface="Arial" panose="020B0604020202020204" pitchFamily="34" charset="0"/>
                  <a:ea typeface="微软雅黑" panose="020B0503020204020204" pitchFamily="34" charset="-122"/>
                  <a:cs typeface="Arial" pitchFamily="34" charset="0"/>
                </a:rPr>
                <a:t>69</a:t>
              </a:r>
              <a:endParaRPr lang="zh-CN" sz="1000" dirty="0">
                <a:latin typeface="Arial" panose="020B0604020202020204" pitchFamily="34" charset="0"/>
                <a:ea typeface="微软雅黑" panose="020B0503020204020204" pitchFamily="34" charset="-122"/>
                <a:cs typeface="Arial" pitchFamily="34" charset="0"/>
              </a:endParaRPr>
            </a:p>
          </p:txBody>
        </p:sp>
        <p:sp>
          <p:nvSpPr>
            <p:cNvPr id="847" name="TextBox 415">
              <a:extLst>
                <a:ext uri="{FF2B5EF4-FFF2-40B4-BE49-F238E27FC236}">
                  <a16:creationId xmlns:a16="http://schemas.microsoft.com/office/drawing/2014/main" id="{D07CD6A3-21F1-4514-AA25-7D2317FD73FF}"/>
                </a:ext>
              </a:extLst>
            </p:cNvPr>
            <p:cNvSpPr txBox="1"/>
            <p:nvPr/>
          </p:nvSpPr>
          <p:spPr bwMode="auto">
            <a:xfrm>
              <a:off x="11126555" y="6119413"/>
              <a:ext cx="144147" cy="75242"/>
            </a:xfrm>
            <a:prstGeom prst="rect">
              <a:avLst/>
            </a:prstGeom>
            <a:noFill/>
            <a:ln w="9525">
              <a:noFill/>
              <a:miter lim="800000"/>
              <a:headEnd/>
              <a:tailEnd/>
            </a:ln>
            <a:effectLst/>
          </p:spPr>
          <p:txBody>
            <a:bodyPr vert="horz" wrap="square" lIns="0" tIns="0" rIns="0" bIns="0" numCol="1" rtlCol="0" anchor="ctr" anchorCtr="0" compatLnSpc="1">
              <a:prstTxWarp prst="textNoShape">
                <a:avLst/>
              </a:prstTxWarp>
              <a:spAutoFit/>
            </a:bodyPr>
            <a:lstStyle/>
            <a:p>
              <a:pPr algn="ctr" rtl="0" fontAlgn="base">
                <a:spcBef>
                  <a:spcPct val="0"/>
                </a:spcBef>
                <a:spcAft>
                  <a:spcPct val="0"/>
                </a:spcAft>
                <a:tabLst>
                  <a:tab pos="200025" algn="ctr"/>
                  <a:tab pos="819150" algn="ctr"/>
                  <a:tab pos="1033463" algn="ctr"/>
                  <a:tab pos="1876425" algn="ctr"/>
                  <a:tab pos="2509838" algn="ctr"/>
                  <a:tab pos="2719388" algn="ctr"/>
                  <a:tab pos="3352800" algn="ctr"/>
                  <a:tab pos="3562350" algn="ctr"/>
                  <a:tab pos="3771900" algn="ctr"/>
                  <a:tab pos="4191000" algn="ctr"/>
                  <a:tab pos="4400550" algn="ctr"/>
                  <a:tab pos="4610100" algn="ctr"/>
                  <a:tab pos="5029200" algn="ctr"/>
                  <a:tab pos="5243513" algn="ctr"/>
                  <a:tab pos="5457825" algn="ctr"/>
                  <a:tab pos="5886450" algn="ctr"/>
                  <a:tab pos="6081713" algn="ctr"/>
                </a:tabLst>
              </a:pPr>
              <a:r>
                <a:rPr lang="zh-CN" sz="1000" b="0" i="0" u="none" baseline="0">
                  <a:latin typeface="Arial" panose="020B0604020202020204" pitchFamily="34" charset="0"/>
                  <a:ea typeface="微软雅黑" panose="020B0503020204020204" pitchFamily="34" charset="-122"/>
                  <a:cs typeface="Arial" pitchFamily="34" charset="0"/>
                </a:rPr>
                <a:t>72</a:t>
              </a:r>
              <a:endParaRPr lang="zh-CN" sz="1000" dirty="0">
                <a:latin typeface="Arial" panose="020B0604020202020204" pitchFamily="34" charset="0"/>
                <a:ea typeface="微软雅黑" panose="020B0503020204020204" pitchFamily="34" charset="-122"/>
                <a:cs typeface="Arial" pitchFamily="34" charset="0"/>
              </a:endParaRPr>
            </a:p>
          </p:txBody>
        </p:sp>
        <p:sp>
          <p:nvSpPr>
            <p:cNvPr id="848" name="TextBox 416">
              <a:extLst>
                <a:ext uri="{FF2B5EF4-FFF2-40B4-BE49-F238E27FC236}">
                  <a16:creationId xmlns:a16="http://schemas.microsoft.com/office/drawing/2014/main" id="{682570F0-6433-4A9C-8AB9-7FF19A9F1A53}"/>
                </a:ext>
              </a:extLst>
            </p:cNvPr>
            <p:cNvSpPr txBox="1"/>
            <p:nvPr/>
          </p:nvSpPr>
          <p:spPr bwMode="auto">
            <a:xfrm>
              <a:off x="11282534" y="6119413"/>
              <a:ext cx="144147" cy="75242"/>
            </a:xfrm>
            <a:prstGeom prst="rect">
              <a:avLst/>
            </a:prstGeom>
            <a:noFill/>
            <a:ln w="9525">
              <a:noFill/>
              <a:miter lim="800000"/>
              <a:headEnd/>
              <a:tailEnd/>
            </a:ln>
            <a:effectLst/>
          </p:spPr>
          <p:txBody>
            <a:bodyPr vert="horz" wrap="square" lIns="0" tIns="0" rIns="0" bIns="0" numCol="1" rtlCol="0" anchor="ctr" anchorCtr="0" compatLnSpc="1">
              <a:prstTxWarp prst="textNoShape">
                <a:avLst/>
              </a:prstTxWarp>
              <a:spAutoFit/>
            </a:bodyPr>
            <a:lstStyle/>
            <a:p>
              <a:pPr algn="ctr" rtl="0" fontAlgn="base">
                <a:spcBef>
                  <a:spcPct val="0"/>
                </a:spcBef>
                <a:spcAft>
                  <a:spcPct val="0"/>
                </a:spcAft>
                <a:tabLst>
                  <a:tab pos="200025" algn="ctr"/>
                  <a:tab pos="819150" algn="ctr"/>
                  <a:tab pos="1033463" algn="ctr"/>
                  <a:tab pos="1876425" algn="ctr"/>
                  <a:tab pos="2509838" algn="ctr"/>
                  <a:tab pos="2719388" algn="ctr"/>
                  <a:tab pos="3352800" algn="ctr"/>
                  <a:tab pos="3562350" algn="ctr"/>
                  <a:tab pos="3771900" algn="ctr"/>
                  <a:tab pos="4191000" algn="ctr"/>
                  <a:tab pos="4400550" algn="ctr"/>
                  <a:tab pos="4610100" algn="ctr"/>
                  <a:tab pos="5029200" algn="ctr"/>
                  <a:tab pos="5243513" algn="ctr"/>
                  <a:tab pos="5457825" algn="ctr"/>
                  <a:tab pos="5886450" algn="ctr"/>
                  <a:tab pos="6081713" algn="ctr"/>
                </a:tabLst>
              </a:pPr>
              <a:r>
                <a:rPr lang="zh-CN" sz="1000" b="0" i="0" u="none" baseline="0">
                  <a:latin typeface="Arial" panose="020B0604020202020204" pitchFamily="34" charset="0"/>
                  <a:ea typeface="微软雅黑" panose="020B0503020204020204" pitchFamily="34" charset="-122"/>
                  <a:cs typeface="Arial" pitchFamily="34" charset="0"/>
                </a:rPr>
                <a:t>75</a:t>
              </a:r>
              <a:endParaRPr lang="zh-CN" sz="1000" dirty="0">
                <a:latin typeface="Arial" panose="020B0604020202020204" pitchFamily="34" charset="0"/>
                <a:ea typeface="微软雅黑" panose="020B0503020204020204" pitchFamily="34" charset="-122"/>
                <a:cs typeface="Arial" pitchFamily="34" charset="0"/>
              </a:endParaRPr>
            </a:p>
          </p:txBody>
        </p:sp>
        <p:sp>
          <p:nvSpPr>
            <p:cNvPr id="849" name="TextBox 417">
              <a:extLst>
                <a:ext uri="{FF2B5EF4-FFF2-40B4-BE49-F238E27FC236}">
                  <a16:creationId xmlns:a16="http://schemas.microsoft.com/office/drawing/2014/main" id="{70DFDAFC-81CA-43A6-A435-98DDA8719125}"/>
                </a:ext>
              </a:extLst>
            </p:cNvPr>
            <p:cNvSpPr txBox="1"/>
            <p:nvPr/>
          </p:nvSpPr>
          <p:spPr bwMode="auto">
            <a:xfrm>
              <a:off x="11614047" y="6119413"/>
              <a:ext cx="144147" cy="75242"/>
            </a:xfrm>
            <a:prstGeom prst="rect">
              <a:avLst/>
            </a:prstGeom>
            <a:noFill/>
            <a:ln w="9525">
              <a:noFill/>
              <a:miter lim="800000"/>
              <a:headEnd/>
              <a:tailEnd/>
            </a:ln>
            <a:effectLst/>
          </p:spPr>
          <p:txBody>
            <a:bodyPr vert="horz" wrap="square" lIns="0" tIns="0" rIns="0" bIns="0" numCol="1" rtlCol="0" anchor="ctr" anchorCtr="0" compatLnSpc="1">
              <a:prstTxWarp prst="textNoShape">
                <a:avLst/>
              </a:prstTxWarp>
              <a:spAutoFit/>
            </a:bodyPr>
            <a:lstStyle/>
            <a:p>
              <a:pPr algn="ctr" rtl="0" fontAlgn="base">
                <a:spcBef>
                  <a:spcPct val="0"/>
                </a:spcBef>
                <a:spcAft>
                  <a:spcPct val="0"/>
                </a:spcAft>
                <a:tabLst>
                  <a:tab pos="200025" algn="ctr"/>
                  <a:tab pos="819150" algn="ctr"/>
                  <a:tab pos="1033463" algn="ctr"/>
                  <a:tab pos="1876425" algn="ctr"/>
                  <a:tab pos="2509838" algn="ctr"/>
                  <a:tab pos="2719388" algn="ctr"/>
                  <a:tab pos="3352800" algn="ctr"/>
                  <a:tab pos="3562350" algn="ctr"/>
                  <a:tab pos="3771900" algn="ctr"/>
                  <a:tab pos="4191000" algn="ctr"/>
                  <a:tab pos="4400550" algn="ctr"/>
                  <a:tab pos="4610100" algn="ctr"/>
                  <a:tab pos="5029200" algn="ctr"/>
                  <a:tab pos="5243513" algn="ctr"/>
                  <a:tab pos="5457825" algn="ctr"/>
                  <a:tab pos="5886450" algn="ctr"/>
                  <a:tab pos="6081713" algn="ctr"/>
                </a:tabLst>
              </a:pPr>
              <a:r>
                <a:rPr lang="zh-CN" sz="1000" b="0" i="0" u="none" baseline="0">
                  <a:latin typeface="Arial" panose="020B0604020202020204" pitchFamily="34" charset="0"/>
                  <a:ea typeface="微软雅黑" panose="020B0503020204020204" pitchFamily="34" charset="-122"/>
                  <a:cs typeface="Arial" pitchFamily="34" charset="0"/>
                </a:rPr>
                <a:t>81</a:t>
              </a:r>
              <a:endParaRPr lang="zh-CN" sz="1000" dirty="0">
                <a:latin typeface="Arial" panose="020B0604020202020204" pitchFamily="34" charset="0"/>
                <a:ea typeface="微软雅黑" panose="020B0503020204020204" pitchFamily="34" charset="-122"/>
                <a:cs typeface="Arial" pitchFamily="34" charset="0"/>
              </a:endParaRPr>
            </a:p>
          </p:txBody>
        </p:sp>
        <p:sp>
          <p:nvSpPr>
            <p:cNvPr id="850" name="TextBox 418">
              <a:extLst>
                <a:ext uri="{FF2B5EF4-FFF2-40B4-BE49-F238E27FC236}">
                  <a16:creationId xmlns:a16="http://schemas.microsoft.com/office/drawing/2014/main" id="{05972B2C-D8B6-44FA-AA73-3FD59B0394DE}"/>
                </a:ext>
              </a:extLst>
            </p:cNvPr>
            <p:cNvSpPr txBox="1"/>
            <p:nvPr/>
          </p:nvSpPr>
          <p:spPr bwMode="auto">
            <a:xfrm>
              <a:off x="11769428" y="6119413"/>
              <a:ext cx="144147" cy="75242"/>
            </a:xfrm>
            <a:prstGeom prst="rect">
              <a:avLst/>
            </a:prstGeom>
            <a:noFill/>
            <a:ln w="9525">
              <a:noFill/>
              <a:miter lim="800000"/>
              <a:headEnd/>
              <a:tailEnd/>
            </a:ln>
            <a:effectLst/>
          </p:spPr>
          <p:txBody>
            <a:bodyPr vert="horz" wrap="square" lIns="0" tIns="0" rIns="0" bIns="0" numCol="1" rtlCol="0" anchor="ctr" anchorCtr="0" compatLnSpc="1">
              <a:prstTxWarp prst="textNoShape">
                <a:avLst/>
              </a:prstTxWarp>
              <a:spAutoFit/>
            </a:bodyPr>
            <a:lstStyle/>
            <a:p>
              <a:pPr algn="ctr" rtl="0" fontAlgn="base">
                <a:spcBef>
                  <a:spcPct val="0"/>
                </a:spcBef>
                <a:spcAft>
                  <a:spcPct val="0"/>
                </a:spcAft>
                <a:tabLst>
                  <a:tab pos="200025" algn="ctr"/>
                  <a:tab pos="819150" algn="ctr"/>
                  <a:tab pos="1033463" algn="ctr"/>
                  <a:tab pos="1876425" algn="ctr"/>
                  <a:tab pos="2509838" algn="ctr"/>
                  <a:tab pos="2719388" algn="ctr"/>
                  <a:tab pos="3352800" algn="ctr"/>
                  <a:tab pos="3562350" algn="ctr"/>
                  <a:tab pos="3771900" algn="ctr"/>
                  <a:tab pos="4191000" algn="ctr"/>
                  <a:tab pos="4400550" algn="ctr"/>
                  <a:tab pos="4610100" algn="ctr"/>
                  <a:tab pos="5029200" algn="ctr"/>
                  <a:tab pos="5243513" algn="ctr"/>
                  <a:tab pos="5457825" algn="ctr"/>
                  <a:tab pos="5886450" algn="ctr"/>
                  <a:tab pos="6081713" algn="ctr"/>
                </a:tabLst>
              </a:pPr>
              <a:r>
                <a:rPr lang="zh-CN" sz="1000" b="0" i="0" u="none" baseline="0" dirty="0">
                  <a:latin typeface="Arial" panose="020B0604020202020204" pitchFamily="34" charset="0"/>
                  <a:ea typeface="微软雅黑" panose="020B0503020204020204" pitchFamily="34" charset="-122"/>
                  <a:cs typeface="Arial" pitchFamily="34" charset="0"/>
                </a:rPr>
                <a:t>84</a:t>
              </a:r>
              <a:endParaRPr lang="zh-CN" sz="1000" dirty="0">
                <a:latin typeface="Arial" panose="020B0604020202020204" pitchFamily="34" charset="0"/>
                <a:ea typeface="微软雅黑" panose="020B0503020204020204" pitchFamily="34" charset="-122"/>
                <a:cs typeface="Arial" pitchFamily="34" charset="0"/>
              </a:endParaRPr>
            </a:p>
          </p:txBody>
        </p:sp>
      </p:grpSp>
      <p:grpSp>
        <p:nvGrpSpPr>
          <p:cNvPr id="852" name="Group 12">
            <a:extLst>
              <a:ext uri="{FF2B5EF4-FFF2-40B4-BE49-F238E27FC236}">
                <a16:creationId xmlns:a16="http://schemas.microsoft.com/office/drawing/2014/main" id="{3C3B4F31-6516-4324-BC23-72C0B3AB7297}"/>
              </a:ext>
            </a:extLst>
          </p:cNvPr>
          <p:cNvGrpSpPr/>
          <p:nvPr/>
        </p:nvGrpSpPr>
        <p:grpSpPr>
          <a:xfrm>
            <a:off x="10511522" y="4107728"/>
            <a:ext cx="1420683" cy="624976"/>
            <a:chOff x="6643172" y="2797687"/>
            <a:chExt cx="2721963" cy="1014413"/>
          </a:xfrm>
        </p:grpSpPr>
        <p:grpSp>
          <p:nvGrpSpPr>
            <p:cNvPr id="853" name="Group 79">
              <a:extLst>
                <a:ext uri="{FF2B5EF4-FFF2-40B4-BE49-F238E27FC236}">
                  <a16:creationId xmlns:a16="http://schemas.microsoft.com/office/drawing/2014/main" id="{1EC0FA10-24C8-45BD-BA5A-B1A7E0939D43}"/>
                </a:ext>
              </a:extLst>
            </p:cNvPr>
            <p:cNvGrpSpPr/>
            <p:nvPr/>
          </p:nvGrpSpPr>
          <p:grpSpPr>
            <a:xfrm>
              <a:off x="6643172" y="2797687"/>
              <a:ext cx="2721963" cy="1014413"/>
              <a:chOff x="6441943" y="2171869"/>
              <a:chExt cx="2721963" cy="1111248"/>
            </a:xfrm>
          </p:grpSpPr>
          <p:grpSp>
            <p:nvGrpSpPr>
              <p:cNvPr id="856" name="Group 369">
                <a:extLst>
                  <a:ext uri="{FF2B5EF4-FFF2-40B4-BE49-F238E27FC236}">
                    <a16:creationId xmlns:a16="http://schemas.microsoft.com/office/drawing/2014/main" id="{DA21C270-5311-40F2-AB9A-F2D2CA103492}"/>
                  </a:ext>
                </a:extLst>
              </p:cNvPr>
              <p:cNvGrpSpPr/>
              <p:nvPr/>
            </p:nvGrpSpPr>
            <p:grpSpPr>
              <a:xfrm>
                <a:off x="6441943" y="2171869"/>
                <a:ext cx="2572951" cy="383073"/>
                <a:chOff x="6528462" y="1924151"/>
                <a:chExt cx="2572951" cy="383073"/>
              </a:xfrm>
            </p:grpSpPr>
            <p:sp>
              <p:nvSpPr>
                <p:cNvPr id="875" name="TextBox 388">
                  <a:extLst>
                    <a:ext uri="{FF2B5EF4-FFF2-40B4-BE49-F238E27FC236}">
                      <a16:creationId xmlns:a16="http://schemas.microsoft.com/office/drawing/2014/main" id="{777CE6CD-DDC9-4F5D-B142-E195977A463A}"/>
                    </a:ext>
                  </a:extLst>
                </p:cNvPr>
                <p:cNvSpPr txBox="1"/>
                <p:nvPr/>
              </p:nvSpPr>
              <p:spPr bwMode="auto">
                <a:xfrm>
                  <a:off x="6892685" y="1924151"/>
                  <a:ext cx="2208728" cy="383073"/>
                </a:xfrm>
                <a:prstGeom prst="rect">
                  <a:avLst/>
                </a:prstGeom>
                <a:noFill/>
                <a:ln w="9525">
                  <a:noFill/>
                  <a:miter lim="800000"/>
                  <a:headEnd/>
                  <a:tailEnd/>
                </a:ln>
                <a:effectLst/>
              </p:spPr>
              <p:txBody>
                <a:bodyPr vert="horz" wrap="square" lIns="91440" tIns="45720" rIns="91440" bIns="45720" numCol="1" rtlCol="0" anchor="ctr" anchorCtr="0" compatLnSpc="1">
                  <a:prstTxWarp prst="textNoShape">
                    <a:avLst/>
                  </a:prstTxWarp>
                  <a:spAutoFit/>
                </a:bodyPr>
                <a:lstStyle/>
                <a:p>
                  <a:pPr algn="l" rtl="0" fontAlgn="base">
                    <a:spcBef>
                      <a:spcPct val="0"/>
                    </a:spcBef>
                    <a:spcAft>
                      <a:spcPct val="0"/>
                    </a:spcAft>
                  </a:pPr>
                  <a:r>
                    <a:rPr lang="zh-CN" sz="800" b="0" i="0" u="none" baseline="0" dirty="0">
                      <a:solidFill>
                        <a:srgbClr val="1A1918"/>
                      </a:solidFill>
                      <a:latin typeface="Arial" panose="020B0604020202020204" pitchFamily="34" charset="0"/>
                      <a:ea typeface="微软雅黑" panose="020B0503020204020204" pitchFamily="34" charset="-122"/>
                      <a:cs typeface="Arial" pitchFamily="34" charset="0"/>
                    </a:rPr>
                    <a:t>血小板计数</a:t>
                  </a:r>
                  <a:r>
                    <a:rPr lang="zh-CN" altLang="en-US" sz="800" b="0" i="0" u="none" baseline="0" dirty="0">
                      <a:solidFill>
                        <a:srgbClr val="1A1918"/>
                      </a:solidFill>
                      <a:latin typeface="Arial" panose="020B0604020202020204" pitchFamily="34" charset="0"/>
                      <a:ea typeface="微软雅黑" panose="020B0503020204020204" pitchFamily="34" charset="-122"/>
                      <a:cs typeface="Arial" pitchFamily="34" charset="0"/>
                    </a:rPr>
                    <a:t>改善</a:t>
                  </a:r>
                  <a:endParaRPr lang="zh-CN" sz="800" b="0" i="0" u="none" baseline="0" dirty="0">
                    <a:solidFill>
                      <a:srgbClr val="1A1918"/>
                    </a:solidFill>
                    <a:latin typeface="Arial" panose="020B0604020202020204" pitchFamily="34" charset="0"/>
                    <a:ea typeface="微软雅黑" panose="020B0503020204020204" pitchFamily="34" charset="-122"/>
                    <a:cs typeface="Arial" pitchFamily="34" charset="0"/>
                  </a:endParaRPr>
                </a:p>
              </p:txBody>
            </p:sp>
            <p:cxnSp>
              <p:nvCxnSpPr>
                <p:cNvPr id="876" name="Straight Connector 389">
                  <a:extLst>
                    <a:ext uri="{FF2B5EF4-FFF2-40B4-BE49-F238E27FC236}">
                      <a16:creationId xmlns:a16="http://schemas.microsoft.com/office/drawing/2014/main" id="{CBD2697D-E819-47F6-B003-8F21677EB09D}"/>
                    </a:ext>
                  </a:extLst>
                </p:cNvPr>
                <p:cNvCxnSpPr/>
                <p:nvPr/>
              </p:nvCxnSpPr>
              <p:spPr>
                <a:xfrm flipH="1">
                  <a:off x="6601090" y="2139073"/>
                  <a:ext cx="264322" cy="0"/>
                </a:xfrm>
                <a:prstGeom prst="line">
                  <a:avLst/>
                </a:prstGeom>
                <a:ln w="28575">
                  <a:solidFill>
                    <a:srgbClr val="001C71"/>
                  </a:solidFill>
                </a:ln>
              </p:spPr>
              <p:style>
                <a:lnRef idx="1">
                  <a:schemeClr val="accent1"/>
                </a:lnRef>
                <a:fillRef idx="0">
                  <a:schemeClr val="accent1"/>
                </a:fillRef>
                <a:effectRef idx="0">
                  <a:schemeClr val="accent1"/>
                </a:effectRef>
                <a:fontRef idx="minor">
                  <a:schemeClr val="tx1"/>
                </a:fontRef>
              </p:style>
            </p:cxnSp>
            <p:sp>
              <p:nvSpPr>
                <p:cNvPr id="877" name="Oval 62">
                  <a:extLst>
                    <a:ext uri="{FF2B5EF4-FFF2-40B4-BE49-F238E27FC236}">
                      <a16:creationId xmlns:a16="http://schemas.microsoft.com/office/drawing/2014/main" id="{74AC2778-7978-43B5-9D66-D6656E21333C}"/>
                    </a:ext>
                  </a:extLst>
                </p:cNvPr>
                <p:cNvSpPr>
                  <a:spLocks noChangeArrowheads="1"/>
                </p:cNvSpPr>
                <p:nvPr/>
              </p:nvSpPr>
              <p:spPr bwMode="auto">
                <a:xfrm>
                  <a:off x="6784104" y="2086826"/>
                  <a:ext cx="101150" cy="104494"/>
                </a:xfrm>
                <a:prstGeom prst="rect">
                  <a:avLst/>
                </a:prstGeom>
                <a:solidFill>
                  <a:srgbClr val="001C71"/>
                </a:solidFill>
                <a:ln>
                  <a:noFill/>
                </a:ln>
              </p:spPr>
              <p:txBody>
                <a:bodyPr vert="horz" wrap="square" lIns="91440" tIns="45720" rIns="91440" bIns="45720" numCol="1" anchor="t" anchorCtr="0" compatLnSpc="1">
                  <a:prstTxWarp prst="textNoShape">
                    <a:avLst/>
                  </a:prstTxWarp>
                </a:bodyPr>
                <a:lstStyle/>
                <a:p>
                  <a:pPr algn="l" rtl="0" fontAlgn="base">
                    <a:spcBef>
                      <a:spcPct val="0"/>
                    </a:spcBef>
                    <a:spcAft>
                      <a:spcPct val="0"/>
                    </a:spcAft>
                  </a:pPr>
                  <a:endParaRPr lang="zh-CN" sz="800">
                    <a:solidFill>
                      <a:srgbClr val="141313"/>
                    </a:solidFill>
                    <a:latin typeface="Arial" panose="020B0604020202020204" pitchFamily="34" charset="0"/>
                    <a:ea typeface="微软雅黑" panose="020B0503020204020204" pitchFamily="34" charset="-122"/>
                    <a:cs typeface="Arial" pitchFamily="34" charset="0"/>
                  </a:endParaRPr>
                </a:p>
              </p:txBody>
            </p:sp>
            <p:sp>
              <p:nvSpPr>
                <p:cNvPr id="878" name="Oval 62">
                  <a:extLst>
                    <a:ext uri="{FF2B5EF4-FFF2-40B4-BE49-F238E27FC236}">
                      <a16:creationId xmlns:a16="http://schemas.microsoft.com/office/drawing/2014/main" id="{B5BD5F6C-F83F-4BAC-8966-5DEDAC01A645}"/>
                    </a:ext>
                  </a:extLst>
                </p:cNvPr>
                <p:cNvSpPr>
                  <a:spLocks noChangeArrowheads="1"/>
                </p:cNvSpPr>
                <p:nvPr/>
              </p:nvSpPr>
              <p:spPr bwMode="auto">
                <a:xfrm>
                  <a:off x="6528462" y="2086826"/>
                  <a:ext cx="101150" cy="104494"/>
                </a:xfrm>
                <a:prstGeom prst="rect">
                  <a:avLst/>
                </a:prstGeom>
                <a:solidFill>
                  <a:srgbClr val="001C71"/>
                </a:solidFill>
                <a:ln>
                  <a:noFill/>
                </a:ln>
              </p:spPr>
              <p:txBody>
                <a:bodyPr vert="horz" wrap="square" lIns="91440" tIns="45720" rIns="91440" bIns="45720" numCol="1" anchor="t" anchorCtr="0" compatLnSpc="1">
                  <a:prstTxWarp prst="textNoShape">
                    <a:avLst/>
                  </a:prstTxWarp>
                </a:bodyPr>
                <a:lstStyle/>
                <a:p>
                  <a:pPr algn="l" rtl="0" fontAlgn="base">
                    <a:spcBef>
                      <a:spcPct val="0"/>
                    </a:spcBef>
                    <a:spcAft>
                      <a:spcPct val="0"/>
                    </a:spcAft>
                  </a:pPr>
                  <a:endParaRPr lang="zh-CN" sz="800">
                    <a:solidFill>
                      <a:srgbClr val="141313"/>
                    </a:solidFill>
                    <a:latin typeface="Arial" panose="020B0604020202020204" pitchFamily="34" charset="0"/>
                    <a:ea typeface="微软雅黑" panose="020B0503020204020204" pitchFamily="34" charset="-122"/>
                    <a:cs typeface="Arial" pitchFamily="34" charset="0"/>
                  </a:endParaRPr>
                </a:p>
              </p:txBody>
            </p:sp>
          </p:grpSp>
          <p:grpSp>
            <p:nvGrpSpPr>
              <p:cNvPr id="857" name="Group 370">
                <a:extLst>
                  <a:ext uri="{FF2B5EF4-FFF2-40B4-BE49-F238E27FC236}">
                    <a16:creationId xmlns:a16="http://schemas.microsoft.com/office/drawing/2014/main" id="{720E965D-91D4-4997-913B-97037E99B530}"/>
                  </a:ext>
                </a:extLst>
              </p:cNvPr>
              <p:cNvGrpSpPr/>
              <p:nvPr/>
            </p:nvGrpSpPr>
            <p:grpSpPr>
              <a:xfrm>
                <a:off x="6531183" y="2900044"/>
                <a:ext cx="2483713" cy="383073"/>
                <a:chOff x="6617702" y="2634454"/>
                <a:chExt cx="2483713" cy="383073"/>
              </a:xfrm>
            </p:grpSpPr>
            <p:sp>
              <p:nvSpPr>
                <p:cNvPr id="873" name="TextBox 386">
                  <a:extLst>
                    <a:ext uri="{FF2B5EF4-FFF2-40B4-BE49-F238E27FC236}">
                      <a16:creationId xmlns:a16="http://schemas.microsoft.com/office/drawing/2014/main" id="{021DF68F-9B0D-49D9-AA2C-38A7D6E75E38}"/>
                    </a:ext>
                  </a:extLst>
                </p:cNvPr>
                <p:cNvSpPr txBox="1"/>
                <p:nvPr/>
              </p:nvSpPr>
              <p:spPr bwMode="auto">
                <a:xfrm>
                  <a:off x="6892686" y="2634454"/>
                  <a:ext cx="2208729" cy="383073"/>
                </a:xfrm>
                <a:prstGeom prst="rect">
                  <a:avLst/>
                </a:prstGeom>
                <a:noFill/>
                <a:ln w="9525">
                  <a:noFill/>
                  <a:miter lim="800000"/>
                  <a:headEnd/>
                  <a:tailEnd/>
                </a:ln>
                <a:effectLst/>
              </p:spPr>
              <p:txBody>
                <a:bodyPr vert="horz" wrap="square" lIns="91440" tIns="45720" rIns="91440" bIns="45720" numCol="1" rtlCol="0" anchor="ctr" anchorCtr="0" compatLnSpc="1">
                  <a:prstTxWarp prst="textNoShape">
                    <a:avLst/>
                  </a:prstTxWarp>
                  <a:spAutoFit/>
                </a:bodyPr>
                <a:lstStyle/>
                <a:p>
                  <a:pPr algn="l" rtl="0" fontAlgn="base">
                    <a:spcBef>
                      <a:spcPct val="0"/>
                    </a:spcBef>
                    <a:spcAft>
                      <a:spcPct val="0"/>
                    </a:spcAft>
                  </a:pPr>
                  <a:r>
                    <a:rPr lang="zh-CN" sz="800" b="0" i="0" u="none" baseline="0" dirty="0">
                      <a:solidFill>
                        <a:srgbClr val="1A1918"/>
                      </a:solidFill>
                      <a:latin typeface="Arial" panose="020B0604020202020204" pitchFamily="34" charset="0"/>
                      <a:ea typeface="微软雅黑" panose="020B0503020204020204" pitchFamily="34" charset="-122"/>
                      <a:cs typeface="Arial" pitchFamily="34" charset="0"/>
                    </a:rPr>
                    <a:t>脾脏体积恢复正常</a:t>
                  </a:r>
                </a:p>
              </p:txBody>
            </p:sp>
            <p:cxnSp>
              <p:nvCxnSpPr>
                <p:cNvPr id="874" name="Straight Connector 387">
                  <a:extLst>
                    <a:ext uri="{FF2B5EF4-FFF2-40B4-BE49-F238E27FC236}">
                      <a16:creationId xmlns:a16="http://schemas.microsoft.com/office/drawing/2014/main" id="{873C5C6C-F493-40D1-92F0-169C239D51E9}"/>
                    </a:ext>
                  </a:extLst>
                </p:cNvPr>
                <p:cNvCxnSpPr/>
                <p:nvPr/>
              </p:nvCxnSpPr>
              <p:spPr>
                <a:xfrm flipH="1">
                  <a:off x="6617702" y="2825989"/>
                  <a:ext cx="264322" cy="0"/>
                </a:xfrm>
                <a:prstGeom prst="line">
                  <a:avLst/>
                </a:prstGeom>
                <a:ln w="28575">
                  <a:solidFill>
                    <a:srgbClr val="0093D0"/>
                  </a:solidFill>
                </a:ln>
              </p:spPr>
              <p:style>
                <a:lnRef idx="1">
                  <a:schemeClr val="accent1"/>
                </a:lnRef>
                <a:fillRef idx="0">
                  <a:schemeClr val="accent1"/>
                </a:fillRef>
                <a:effectRef idx="0">
                  <a:schemeClr val="accent1"/>
                </a:effectRef>
                <a:fontRef idx="minor">
                  <a:schemeClr val="tx1"/>
                </a:fontRef>
              </p:style>
            </p:cxnSp>
          </p:grpSp>
          <p:grpSp>
            <p:nvGrpSpPr>
              <p:cNvPr id="858" name="Group 371">
                <a:extLst>
                  <a:ext uri="{FF2B5EF4-FFF2-40B4-BE49-F238E27FC236}">
                    <a16:creationId xmlns:a16="http://schemas.microsoft.com/office/drawing/2014/main" id="{C71EC2B9-B307-4800-9E0E-08FAB0D2E018}"/>
                  </a:ext>
                </a:extLst>
              </p:cNvPr>
              <p:cNvGrpSpPr/>
              <p:nvPr/>
            </p:nvGrpSpPr>
            <p:grpSpPr>
              <a:xfrm>
                <a:off x="6458555" y="2657318"/>
                <a:ext cx="2556340" cy="383073"/>
                <a:chOff x="6545074" y="2410087"/>
                <a:chExt cx="2556340" cy="383073"/>
              </a:xfrm>
            </p:grpSpPr>
            <p:sp>
              <p:nvSpPr>
                <p:cNvPr id="864" name="TextBox 377">
                  <a:extLst>
                    <a:ext uri="{FF2B5EF4-FFF2-40B4-BE49-F238E27FC236}">
                      <a16:creationId xmlns:a16="http://schemas.microsoft.com/office/drawing/2014/main" id="{92EE504E-DC3E-432E-8DC4-FF2066322D06}"/>
                    </a:ext>
                  </a:extLst>
                </p:cNvPr>
                <p:cNvSpPr txBox="1"/>
                <p:nvPr/>
              </p:nvSpPr>
              <p:spPr bwMode="auto">
                <a:xfrm>
                  <a:off x="6892685" y="2410087"/>
                  <a:ext cx="2208729" cy="383073"/>
                </a:xfrm>
                <a:prstGeom prst="rect">
                  <a:avLst/>
                </a:prstGeom>
                <a:noFill/>
                <a:ln w="9525">
                  <a:noFill/>
                  <a:miter lim="800000"/>
                  <a:headEnd/>
                  <a:tailEnd/>
                </a:ln>
                <a:effectLst/>
              </p:spPr>
              <p:txBody>
                <a:bodyPr vert="horz" wrap="square" lIns="91440" tIns="45720" rIns="91440" bIns="45720" numCol="1" rtlCol="0" anchor="ctr" anchorCtr="0" compatLnSpc="1">
                  <a:prstTxWarp prst="textNoShape">
                    <a:avLst/>
                  </a:prstTxWarp>
                  <a:spAutoFit/>
                </a:bodyPr>
                <a:lstStyle/>
                <a:p>
                  <a:pPr algn="l" rtl="0" fontAlgn="base">
                    <a:spcBef>
                      <a:spcPct val="0"/>
                    </a:spcBef>
                    <a:spcAft>
                      <a:spcPct val="0"/>
                    </a:spcAft>
                  </a:pPr>
                  <a:r>
                    <a:rPr lang="zh-CN" sz="800" b="0" i="0" u="none" baseline="0" dirty="0">
                      <a:solidFill>
                        <a:srgbClr val="1A1918"/>
                      </a:solidFill>
                      <a:latin typeface="Arial" panose="020B0604020202020204" pitchFamily="34" charset="0"/>
                      <a:ea typeface="微软雅黑" panose="020B0503020204020204" pitchFamily="34" charset="-122"/>
                      <a:cs typeface="Arial" pitchFamily="34" charset="0"/>
                    </a:rPr>
                    <a:t>肝脏体积恢复正常</a:t>
                  </a:r>
                </a:p>
              </p:txBody>
            </p:sp>
            <p:grpSp>
              <p:nvGrpSpPr>
                <p:cNvPr id="865" name="Group 378">
                  <a:extLst>
                    <a:ext uri="{FF2B5EF4-FFF2-40B4-BE49-F238E27FC236}">
                      <a16:creationId xmlns:a16="http://schemas.microsoft.com/office/drawing/2014/main" id="{88CA55BD-E1F7-40E0-B165-E96AD2DC8FA8}"/>
                    </a:ext>
                  </a:extLst>
                </p:cNvPr>
                <p:cNvGrpSpPr/>
                <p:nvPr/>
              </p:nvGrpSpPr>
              <p:grpSpPr>
                <a:xfrm>
                  <a:off x="6545074" y="2537245"/>
                  <a:ext cx="349470" cy="96922"/>
                  <a:chOff x="6545074" y="2537245"/>
                  <a:chExt cx="349470" cy="96922"/>
                </a:xfrm>
              </p:grpSpPr>
              <p:cxnSp>
                <p:nvCxnSpPr>
                  <p:cNvPr id="866" name="Straight Connector 379">
                    <a:extLst>
                      <a:ext uri="{FF2B5EF4-FFF2-40B4-BE49-F238E27FC236}">
                        <a16:creationId xmlns:a16="http://schemas.microsoft.com/office/drawing/2014/main" id="{09BD274A-157E-4D0D-8592-32CF8167B270}"/>
                      </a:ext>
                    </a:extLst>
                  </p:cNvPr>
                  <p:cNvCxnSpPr/>
                  <p:nvPr/>
                </p:nvCxnSpPr>
                <p:spPr>
                  <a:xfrm flipH="1">
                    <a:off x="6593887" y="2585706"/>
                    <a:ext cx="264322" cy="0"/>
                  </a:xfrm>
                  <a:prstGeom prst="line">
                    <a:avLst/>
                  </a:prstGeom>
                  <a:ln w="28575">
                    <a:solidFill>
                      <a:srgbClr val="E92076"/>
                    </a:solidFill>
                  </a:ln>
                </p:spPr>
                <p:style>
                  <a:lnRef idx="1">
                    <a:schemeClr val="accent1"/>
                  </a:lnRef>
                  <a:fillRef idx="0">
                    <a:schemeClr val="accent1"/>
                  </a:fillRef>
                  <a:effectRef idx="0">
                    <a:schemeClr val="accent1"/>
                  </a:effectRef>
                  <a:fontRef idx="minor">
                    <a:schemeClr val="tx1"/>
                  </a:fontRef>
                </p:style>
              </p:cxnSp>
              <p:grpSp>
                <p:nvGrpSpPr>
                  <p:cNvPr id="867" name="Group 380">
                    <a:extLst>
                      <a:ext uri="{FF2B5EF4-FFF2-40B4-BE49-F238E27FC236}">
                        <a16:creationId xmlns:a16="http://schemas.microsoft.com/office/drawing/2014/main" id="{0CD3470C-C636-42F4-B874-5F7C453E427E}"/>
                      </a:ext>
                    </a:extLst>
                  </p:cNvPr>
                  <p:cNvGrpSpPr/>
                  <p:nvPr/>
                </p:nvGrpSpPr>
                <p:grpSpPr>
                  <a:xfrm>
                    <a:off x="6545074" y="2537245"/>
                    <a:ext cx="93828" cy="96922"/>
                    <a:chOff x="1796579" y="6343649"/>
                    <a:chExt cx="90165" cy="74599"/>
                  </a:xfrm>
                </p:grpSpPr>
                <p:cxnSp>
                  <p:nvCxnSpPr>
                    <p:cNvPr id="871" name="Straight Connector 384">
                      <a:extLst>
                        <a:ext uri="{FF2B5EF4-FFF2-40B4-BE49-F238E27FC236}">
                          <a16:creationId xmlns:a16="http://schemas.microsoft.com/office/drawing/2014/main" id="{D3A6A6F1-B8ED-4A5E-891A-3C8B8133C252}"/>
                        </a:ext>
                      </a:extLst>
                    </p:cNvPr>
                    <p:cNvCxnSpPr/>
                    <p:nvPr/>
                  </p:nvCxnSpPr>
                  <p:spPr>
                    <a:xfrm flipH="1">
                      <a:off x="1796579" y="6343649"/>
                      <a:ext cx="90165" cy="74599"/>
                    </a:xfrm>
                    <a:prstGeom prst="line">
                      <a:avLst/>
                    </a:prstGeom>
                    <a:ln w="19050">
                      <a:solidFill>
                        <a:srgbClr val="E92076"/>
                      </a:solidFill>
                    </a:ln>
                  </p:spPr>
                  <p:style>
                    <a:lnRef idx="1">
                      <a:schemeClr val="accent1"/>
                    </a:lnRef>
                    <a:fillRef idx="0">
                      <a:schemeClr val="accent1"/>
                    </a:fillRef>
                    <a:effectRef idx="0">
                      <a:schemeClr val="accent1"/>
                    </a:effectRef>
                    <a:fontRef idx="minor">
                      <a:schemeClr val="tx1"/>
                    </a:fontRef>
                  </p:style>
                </p:cxnSp>
                <p:cxnSp>
                  <p:nvCxnSpPr>
                    <p:cNvPr id="872" name="Straight Connector 385">
                      <a:extLst>
                        <a:ext uri="{FF2B5EF4-FFF2-40B4-BE49-F238E27FC236}">
                          <a16:creationId xmlns:a16="http://schemas.microsoft.com/office/drawing/2014/main" id="{33704D6A-F44E-4FC8-835C-A3A057372828}"/>
                        </a:ext>
                      </a:extLst>
                    </p:cNvPr>
                    <p:cNvCxnSpPr/>
                    <p:nvPr/>
                  </p:nvCxnSpPr>
                  <p:spPr>
                    <a:xfrm>
                      <a:off x="1796579" y="6343649"/>
                      <a:ext cx="90165" cy="74599"/>
                    </a:xfrm>
                    <a:prstGeom prst="line">
                      <a:avLst/>
                    </a:prstGeom>
                    <a:ln w="19050">
                      <a:solidFill>
                        <a:srgbClr val="E92076"/>
                      </a:solidFill>
                    </a:ln>
                  </p:spPr>
                  <p:style>
                    <a:lnRef idx="1">
                      <a:schemeClr val="accent1"/>
                    </a:lnRef>
                    <a:fillRef idx="0">
                      <a:schemeClr val="accent1"/>
                    </a:fillRef>
                    <a:effectRef idx="0">
                      <a:schemeClr val="accent1"/>
                    </a:effectRef>
                    <a:fontRef idx="minor">
                      <a:schemeClr val="tx1"/>
                    </a:fontRef>
                  </p:style>
                </p:cxnSp>
              </p:grpSp>
              <p:grpSp>
                <p:nvGrpSpPr>
                  <p:cNvPr id="868" name="Group 381">
                    <a:extLst>
                      <a:ext uri="{FF2B5EF4-FFF2-40B4-BE49-F238E27FC236}">
                        <a16:creationId xmlns:a16="http://schemas.microsoft.com/office/drawing/2014/main" id="{78E3ED58-AD5B-40C5-ACD6-FEEF433067AA}"/>
                      </a:ext>
                    </a:extLst>
                  </p:cNvPr>
                  <p:cNvGrpSpPr/>
                  <p:nvPr/>
                </p:nvGrpSpPr>
                <p:grpSpPr>
                  <a:xfrm>
                    <a:off x="6800716" y="2537245"/>
                    <a:ext cx="93828" cy="96922"/>
                    <a:chOff x="1796579" y="6343649"/>
                    <a:chExt cx="90165" cy="74599"/>
                  </a:xfrm>
                </p:grpSpPr>
                <p:cxnSp>
                  <p:nvCxnSpPr>
                    <p:cNvPr id="869" name="Straight Connector 382">
                      <a:extLst>
                        <a:ext uri="{FF2B5EF4-FFF2-40B4-BE49-F238E27FC236}">
                          <a16:creationId xmlns:a16="http://schemas.microsoft.com/office/drawing/2014/main" id="{C7CADE4F-E2B1-44BF-B0A5-45E9F3174BBE}"/>
                        </a:ext>
                      </a:extLst>
                    </p:cNvPr>
                    <p:cNvCxnSpPr/>
                    <p:nvPr/>
                  </p:nvCxnSpPr>
                  <p:spPr>
                    <a:xfrm flipH="1">
                      <a:off x="1796579" y="6343649"/>
                      <a:ext cx="90165" cy="74599"/>
                    </a:xfrm>
                    <a:prstGeom prst="line">
                      <a:avLst/>
                    </a:prstGeom>
                    <a:ln w="19050">
                      <a:solidFill>
                        <a:srgbClr val="E92076"/>
                      </a:solidFill>
                    </a:ln>
                  </p:spPr>
                  <p:style>
                    <a:lnRef idx="1">
                      <a:schemeClr val="accent1"/>
                    </a:lnRef>
                    <a:fillRef idx="0">
                      <a:schemeClr val="accent1"/>
                    </a:fillRef>
                    <a:effectRef idx="0">
                      <a:schemeClr val="accent1"/>
                    </a:effectRef>
                    <a:fontRef idx="minor">
                      <a:schemeClr val="tx1"/>
                    </a:fontRef>
                  </p:style>
                </p:cxnSp>
                <p:cxnSp>
                  <p:nvCxnSpPr>
                    <p:cNvPr id="870" name="Straight Connector 383">
                      <a:extLst>
                        <a:ext uri="{FF2B5EF4-FFF2-40B4-BE49-F238E27FC236}">
                          <a16:creationId xmlns:a16="http://schemas.microsoft.com/office/drawing/2014/main" id="{140DB79B-3780-44D5-A69A-7C288E39A4FD}"/>
                        </a:ext>
                      </a:extLst>
                    </p:cNvPr>
                    <p:cNvCxnSpPr/>
                    <p:nvPr/>
                  </p:nvCxnSpPr>
                  <p:spPr>
                    <a:xfrm>
                      <a:off x="1796579" y="6343649"/>
                      <a:ext cx="90165" cy="74599"/>
                    </a:xfrm>
                    <a:prstGeom prst="line">
                      <a:avLst/>
                    </a:prstGeom>
                    <a:ln w="19050">
                      <a:solidFill>
                        <a:srgbClr val="E92076"/>
                      </a:solidFill>
                    </a:ln>
                  </p:spPr>
                  <p:style>
                    <a:lnRef idx="1">
                      <a:schemeClr val="accent1"/>
                    </a:lnRef>
                    <a:fillRef idx="0">
                      <a:schemeClr val="accent1"/>
                    </a:fillRef>
                    <a:effectRef idx="0">
                      <a:schemeClr val="accent1"/>
                    </a:effectRef>
                    <a:fontRef idx="minor">
                      <a:schemeClr val="tx1"/>
                    </a:fontRef>
                  </p:style>
                </p:cxnSp>
              </p:grpSp>
            </p:grpSp>
          </p:grpSp>
          <p:grpSp>
            <p:nvGrpSpPr>
              <p:cNvPr id="859" name="Group 372">
                <a:extLst>
                  <a:ext uri="{FF2B5EF4-FFF2-40B4-BE49-F238E27FC236}">
                    <a16:creationId xmlns:a16="http://schemas.microsoft.com/office/drawing/2014/main" id="{9A21A222-552B-4A84-8A84-C1D6761B2C69}"/>
                  </a:ext>
                </a:extLst>
              </p:cNvPr>
              <p:cNvGrpSpPr/>
              <p:nvPr/>
            </p:nvGrpSpPr>
            <p:grpSpPr>
              <a:xfrm>
                <a:off x="6441943" y="2414594"/>
                <a:ext cx="2721963" cy="383073"/>
                <a:chOff x="6528462" y="2185234"/>
                <a:chExt cx="2721963" cy="383073"/>
              </a:xfrm>
            </p:grpSpPr>
            <p:sp>
              <p:nvSpPr>
                <p:cNvPr id="860" name="TextBox 373">
                  <a:extLst>
                    <a:ext uri="{FF2B5EF4-FFF2-40B4-BE49-F238E27FC236}">
                      <a16:creationId xmlns:a16="http://schemas.microsoft.com/office/drawing/2014/main" id="{EF0864F6-3F50-4BD5-84E3-41C7B8305320}"/>
                    </a:ext>
                  </a:extLst>
                </p:cNvPr>
                <p:cNvSpPr txBox="1"/>
                <p:nvPr/>
              </p:nvSpPr>
              <p:spPr bwMode="auto">
                <a:xfrm>
                  <a:off x="6892685" y="2185234"/>
                  <a:ext cx="2357740" cy="383073"/>
                </a:xfrm>
                <a:prstGeom prst="rect">
                  <a:avLst/>
                </a:prstGeom>
                <a:noFill/>
                <a:ln w="9525">
                  <a:noFill/>
                  <a:miter lim="800000"/>
                  <a:headEnd/>
                  <a:tailEnd/>
                </a:ln>
                <a:effectLst/>
              </p:spPr>
              <p:txBody>
                <a:bodyPr vert="horz" wrap="square" lIns="91440" tIns="45720" rIns="91440" bIns="45720" numCol="1" rtlCol="0" anchor="ctr" anchorCtr="0" compatLnSpc="1">
                  <a:prstTxWarp prst="textNoShape">
                    <a:avLst/>
                  </a:prstTxWarp>
                  <a:spAutoFit/>
                </a:bodyPr>
                <a:lstStyle/>
                <a:p>
                  <a:pPr algn="l" rtl="0" fontAlgn="base">
                    <a:spcBef>
                      <a:spcPct val="0"/>
                    </a:spcBef>
                    <a:spcAft>
                      <a:spcPct val="0"/>
                    </a:spcAft>
                  </a:pPr>
                  <a:r>
                    <a:rPr lang="zh-CN" sz="800" b="0" i="0" u="none" baseline="0" dirty="0">
                      <a:solidFill>
                        <a:srgbClr val="1A1918"/>
                      </a:solidFill>
                      <a:latin typeface="Arial" panose="020B0604020202020204" pitchFamily="34" charset="0"/>
                      <a:ea typeface="微软雅黑" panose="020B0503020204020204" pitchFamily="34" charset="-122"/>
                      <a:cs typeface="Arial" pitchFamily="34" charset="0"/>
                    </a:rPr>
                    <a:t>血红蛋白浓度</a:t>
                  </a:r>
                  <a:r>
                    <a:rPr lang="zh-CN" altLang="en-US" sz="800" b="0" i="0" u="none" baseline="0" dirty="0">
                      <a:solidFill>
                        <a:srgbClr val="1A1918"/>
                      </a:solidFill>
                      <a:latin typeface="Arial" panose="020B0604020202020204" pitchFamily="34" charset="0"/>
                      <a:ea typeface="微软雅黑" panose="020B0503020204020204" pitchFamily="34" charset="-122"/>
                      <a:cs typeface="Arial" pitchFamily="34" charset="0"/>
                    </a:rPr>
                    <a:t>改善</a:t>
                  </a:r>
                  <a:r>
                    <a:rPr lang="zh-CN" sz="800" b="0" i="0" u="none" baseline="0" dirty="0">
                      <a:solidFill>
                        <a:srgbClr val="1A1918"/>
                      </a:solidFill>
                      <a:latin typeface="Arial" panose="020B0604020202020204" pitchFamily="34" charset="0"/>
                      <a:ea typeface="微软雅黑" panose="020B0503020204020204" pitchFamily="34" charset="-122"/>
                      <a:cs typeface="Arial" pitchFamily="34" charset="0"/>
                    </a:rPr>
                    <a:t> </a:t>
                  </a:r>
                </a:p>
              </p:txBody>
            </p:sp>
            <p:cxnSp>
              <p:nvCxnSpPr>
                <p:cNvPr id="861" name="Straight Connector 374">
                  <a:extLst>
                    <a:ext uri="{FF2B5EF4-FFF2-40B4-BE49-F238E27FC236}">
                      <a16:creationId xmlns:a16="http://schemas.microsoft.com/office/drawing/2014/main" id="{447C50AC-7A32-40BB-A397-AE40D8CE470E}"/>
                    </a:ext>
                  </a:extLst>
                </p:cNvPr>
                <p:cNvCxnSpPr/>
                <p:nvPr/>
              </p:nvCxnSpPr>
              <p:spPr>
                <a:xfrm flipH="1">
                  <a:off x="6601090" y="2375977"/>
                  <a:ext cx="264322" cy="0"/>
                </a:xfrm>
                <a:prstGeom prst="line">
                  <a:avLst/>
                </a:prstGeom>
                <a:ln w="28575">
                  <a:solidFill>
                    <a:srgbClr val="C3D600"/>
                  </a:solidFill>
                </a:ln>
              </p:spPr>
              <p:style>
                <a:lnRef idx="1">
                  <a:schemeClr val="accent1"/>
                </a:lnRef>
                <a:fillRef idx="0">
                  <a:schemeClr val="accent1"/>
                </a:fillRef>
                <a:effectRef idx="0">
                  <a:schemeClr val="accent1"/>
                </a:effectRef>
                <a:fontRef idx="minor">
                  <a:schemeClr val="tx1"/>
                </a:fontRef>
              </p:style>
            </p:cxnSp>
            <p:sp>
              <p:nvSpPr>
                <p:cNvPr id="862" name="Oval 62">
                  <a:extLst>
                    <a:ext uri="{FF2B5EF4-FFF2-40B4-BE49-F238E27FC236}">
                      <a16:creationId xmlns:a16="http://schemas.microsoft.com/office/drawing/2014/main" id="{32B0A27C-5051-4CB7-8DC9-88131383D82F}"/>
                    </a:ext>
                  </a:extLst>
                </p:cNvPr>
                <p:cNvSpPr>
                  <a:spLocks noChangeArrowheads="1"/>
                </p:cNvSpPr>
                <p:nvPr/>
              </p:nvSpPr>
              <p:spPr bwMode="auto">
                <a:xfrm>
                  <a:off x="6784104" y="2320165"/>
                  <a:ext cx="108051" cy="111624"/>
                </a:xfrm>
                <a:prstGeom prst="ellipse">
                  <a:avLst/>
                </a:prstGeom>
                <a:solidFill>
                  <a:srgbClr val="C3D600"/>
                </a:solidFill>
                <a:ln>
                  <a:noFill/>
                </a:ln>
              </p:spPr>
              <p:txBody>
                <a:bodyPr vert="horz" wrap="square" lIns="91440" tIns="45720" rIns="91440" bIns="45720" numCol="1" anchor="t" anchorCtr="0" compatLnSpc="1">
                  <a:prstTxWarp prst="textNoShape">
                    <a:avLst/>
                  </a:prstTxWarp>
                </a:bodyPr>
                <a:lstStyle/>
                <a:p>
                  <a:pPr algn="l" rtl="0" fontAlgn="base">
                    <a:spcBef>
                      <a:spcPct val="0"/>
                    </a:spcBef>
                    <a:spcAft>
                      <a:spcPct val="0"/>
                    </a:spcAft>
                  </a:pPr>
                  <a:endParaRPr lang="zh-CN" sz="800">
                    <a:solidFill>
                      <a:srgbClr val="141313"/>
                    </a:solidFill>
                    <a:latin typeface="Arial" panose="020B0604020202020204" pitchFamily="34" charset="0"/>
                    <a:ea typeface="微软雅黑" panose="020B0503020204020204" pitchFamily="34" charset="-122"/>
                    <a:cs typeface="Arial" pitchFamily="34" charset="0"/>
                  </a:endParaRPr>
                </a:p>
              </p:txBody>
            </p:sp>
            <p:sp>
              <p:nvSpPr>
                <p:cNvPr id="863" name="Oval 62">
                  <a:extLst>
                    <a:ext uri="{FF2B5EF4-FFF2-40B4-BE49-F238E27FC236}">
                      <a16:creationId xmlns:a16="http://schemas.microsoft.com/office/drawing/2014/main" id="{210DF07F-D2CF-4407-857B-A89CCA759A9D}"/>
                    </a:ext>
                  </a:extLst>
                </p:cNvPr>
                <p:cNvSpPr>
                  <a:spLocks noChangeArrowheads="1"/>
                </p:cNvSpPr>
                <p:nvPr/>
              </p:nvSpPr>
              <p:spPr bwMode="auto">
                <a:xfrm>
                  <a:off x="6528462" y="2320165"/>
                  <a:ext cx="108051" cy="111624"/>
                </a:xfrm>
                <a:prstGeom prst="ellipse">
                  <a:avLst/>
                </a:prstGeom>
                <a:solidFill>
                  <a:srgbClr val="C3D600"/>
                </a:solidFill>
                <a:ln>
                  <a:noFill/>
                </a:ln>
              </p:spPr>
              <p:txBody>
                <a:bodyPr vert="horz" wrap="square" lIns="91440" tIns="45720" rIns="91440" bIns="45720" numCol="1" anchor="t" anchorCtr="0" compatLnSpc="1">
                  <a:prstTxWarp prst="textNoShape">
                    <a:avLst/>
                  </a:prstTxWarp>
                </a:bodyPr>
                <a:lstStyle/>
                <a:p>
                  <a:pPr algn="l" rtl="0" fontAlgn="base">
                    <a:spcBef>
                      <a:spcPct val="0"/>
                    </a:spcBef>
                    <a:spcAft>
                      <a:spcPct val="0"/>
                    </a:spcAft>
                  </a:pPr>
                  <a:endParaRPr lang="zh-CN" sz="800">
                    <a:solidFill>
                      <a:srgbClr val="141313"/>
                    </a:solidFill>
                    <a:latin typeface="Arial" panose="020B0604020202020204" pitchFamily="34" charset="0"/>
                    <a:ea typeface="微软雅黑" panose="020B0503020204020204" pitchFamily="34" charset="-122"/>
                    <a:cs typeface="Arial" pitchFamily="34" charset="0"/>
                  </a:endParaRPr>
                </a:p>
              </p:txBody>
            </p:sp>
          </p:grpSp>
        </p:grpSp>
        <p:sp>
          <p:nvSpPr>
            <p:cNvPr id="854" name="Isosceles Triangle 85">
              <a:extLst>
                <a:ext uri="{FF2B5EF4-FFF2-40B4-BE49-F238E27FC236}">
                  <a16:creationId xmlns:a16="http://schemas.microsoft.com/office/drawing/2014/main" id="{F1EC39DE-7AA1-45FA-867A-BF6AAABDEA57}"/>
                </a:ext>
              </a:extLst>
            </p:cNvPr>
            <p:cNvSpPr/>
            <p:nvPr/>
          </p:nvSpPr>
          <p:spPr>
            <a:xfrm>
              <a:off x="6643172" y="3578967"/>
              <a:ext cx="127448" cy="102016"/>
            </a:xfrm>
            <a:prstGeom prst="triangle">
              <a:avLst/>
            </a:prstGeom>
            <a:solidFill>
              <a:srgbClr val="0093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zh-CN" sz="800">
                <a:latin typeface="Arial" panose="020B0604020202020204" pitchFamily="34" charset="0"/>
                <a:ea typeface="微软雅黑" panose="020B0503020204020204" pitchFamily="34" charset="-122"/>
              </a:endParaRPr>
            </a:p>
          </p:txBody>
        </p:sp>
        <p:sp>
          <p:nvSpPr>
            <p:cNvPr id="855" name="Isosceles Triangle 86">
              <a:extLst>
                <a:ext uri="{FF2B5EF4-FFF2-40B4-BE49-F238E27FC236}">
                  <a16:creationId xmlns:a16="http://schemas.microsoft.com/office/drawing/2014/main" id="{85EADAEC-D202-4B14-A22D-E0DC1CD14E50}"/>
                </a:ext>
              </a:extLst>
            </p:cNvPr>
            <p:cNvSpPr/>
            <p:nvPr/>
          </p:nvSpPr>
          <p:spPr>
            <a:xfrm>
              <a:off x="6943671" y="3580195"/>
              <a:ext cx="127448" cy="102016"/>
            </a:xfrm>
            <a:prstGeom prst="triangle">
              <a:avLst/>
            </a:prstGeom>
            <a:solidFill>
              <a:srgbClr val="0093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zh-CN" sz="800">
                <a:latin typeface="Arial" panose="020B0604020202020204" pitchFamily="34" charset="0"/>
                <a:ea typeface="微软雅黑" panose="020B0503020204020204" pitchFamily="34" charset="-122"/>
              </a:endParaRPr>
            </a:p>
          </p:txBody>
        </p:sp>
      </p:grpSp>
      <p:sp>
        <p:nvSpPr>
          <p:cNvPr id="879" name="Title 3">
            <a:extLst>
              <a:ext uri="{FF2B5EF4-FFF2-40B4-BE49-F238E27FC236}">
                <a16:creationId xmlns:a16="http://schemas.microsoft.com/office/drawing/2014/main" id="{9D481925-CA9B-456A-982C-CE8F0A4C66A1}"/>
              </a:ext>
            </a:extLst>
          </p:cNvPr>
          <p:cNvSpPr>
            <a:spLocks noGrp="1"/>
          </p:cNvSpPr>
          <p:nvPr>
            <p:ph type="title"/>
          </p:nvPr>
        </p:nvSpPr>
        <p:spPr>
          <a:xfrm>
            <a:off x="1038225" y="209230"/>
            <a:ext cx="9508106" cy="685801"/>
          </a:xfrm>
        </p:spPr>
        <p:txBody>
          <a:bodyPr vert="horz">
            <a:normAutofit/>
          </a:bodyPr>
          <a:lstStyle/>
          <a:p>
            <a:r>
              <a:rPr lang="zh-CN" altLang="en-US" sz="3200" dirty="0">
                <a:solidFill>
                  <a:srgbClr val="1A1918"/>
                </a:solidFill>
                <a:latin typeface="微软雅黑" panose="020B0503020204020204" pitchFamily="34" charset="-122"/>
                <a:ea typeface="微软雅黑" panose="020B0503020204020204" pitchFamily="34" charset="-122"/>
              </a:rPr>
              <a:t>有效性</a:t>
            </a:r>
          </a:p>
        </p:txBody>
      </p:sp>
      <p:sp>
        <p:nvSpPr>
          <p:cNvPr id="880" name="椭圆 879">
            <a:extLst>
              <a:ext uri="{FF2B5EF4-FFF2-40B4-BE49-F238E27FC236}">
                <a16:creationId xmlns:a16="http://schemas.microsoft.com/office/drawing/2014/main" id="{15CE27DA-0659-4FA2-9F7D-49F0D99E6415}"/>
              </a:ext>
            </a:extLst>
          </p:cNvPr>
          <p:cNvSpPr/>
          <p:nvPr/>
        </p:nvSpPr>
        <p:spPr>
          <a:xfrm>
            <a:off x="616186" y="315174"/>
            <a:ext cx="360000" cy="360000"/>
          </a:xfrm>
          <a:prstGeom prst="ellipse">
            <a:avLst/>
          </a:prstGeom>
          <a:solidFill>
            <a:schemeClr val="accent2">
              <a:lumMod val="75000"/>
            </a:schemeClr>
          </a:solidFill>
          <a:ln w="28575">
            <a:noFill/>
          </a:ln>
        </p:spPr>
        <p:style>
          <a:lnRef idx="1">
            <a:schemeClr val="accent1"/>
          </a:lnRef>
          <a:fillRef idx="0">
            <a:schemeClr val="accent1"/>
          </a:fillRef>
          <a:effectRef idx="0">
            <a:schemeClr val="accent1"/>
          </a:effectRef>
          <a:fontRef idx="minor">
            <a:schemeClr val="tx1"/>
          </a:fontRef>
        </p:style>
        <p:txBody>
          <a:bodyPr wrap="none" rtlCol="0" anchor="ctr"/>
          <a:lstStyle/>
          <a:p>
            <a:pPr algn="ctr"/>
            <a:r>
              <a:rPr kumimoji="1" lang="en-US" altLang="zh-CN" sz="1600" b="1" dirty="0">
                <a:solidFill>
                  <a:schemeClr val="bg1"/>
                </a:solidFill>
                <a:latin typeface="微软雅黑" panose="020B0503020204020204" pitchFamily="34" charset="-122"/>
                <a:ea typeface="微软雅黑" panose="020B0503020204020204" pitchFamily="34" charset="-122"/>
              </a:rPr>
              <a:t>4</a:t>
            </a:r>
            <a:endParaRPr kumimoji="1" lang="zh-CN" altLang="en-US" sz="1600" b="1" dirty="0">
              <a:solidFill>
                <a:schemeClr val="bg1"/>
              </a:solidFill>
              <a:latin typeface="微软雅黑" panose="020B0503020204020204" pitchFamily="34" charset="-122"/>
              <a:ea typeface="微软雅黑" panose="020B0503020204020204" pitchFamily="34" charset="-122"/>
            </a:endParaRPr>
          </a:p>
        </p:txBody>
      </p:sp>
    </p:spTree>
    <p:extLst>
      <p:ext uri="{BB962C8B-B14F-4D97-AF65-F5344CB8AC3E}">
        <p14:creationId xmlns:p14="http://schemas.microsoft.com/office/powerpoint/2010/main" val="146475807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Object 17" hidden="1">
            <a:extLst>
              <a:ext uri="{FF2B5EF4-FFF2-40B4-BE49-F238E27FC236}">
                <a16:creationId xmlns:a16="http://schemas.microsoft.com/office/drawing/2014/main" id="{AF03376B-F0DC-4E45-A052-7BB7F2CF943D}"/>
              </a:ext>
            </a:extLst>
          </p:cNvPr>
          <p:cNvGraphicFramePr>
            <a:graphicFrameLocks noChangeAspect="1"/>
          </p:cNvGraphicFramePr>
          <p:nvPr>
            <p:custDataLst>
              <p:tags r:id="rId1"/>
            </p:custDataLst>
            <p:extLst>
              <p:ext uri="{D42A27DB-BD31-4B8C-83A1-F6EECF244321}">
                <p14:modId xmlns:p14="http://schemas.microsoft.com/office/powerpoint/2010/main" val="42788031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5" imgW="347" imgH="348" progId="TCLayout.ActiveDocument.1">
                  <p:embed/>
                </p:oleObj>
              </mc:Choice>
              <mc:Fallback>
                <p:oleObj name="think-cell 幻灯片" r:id="rId5" imgW="347" imgH="348" progId="TCLayout.ActiveDocument.1">
                  <p:embed/>
                  <p:pic>
                    <p:nvPicPr>
                      <p:cNvPr id="18" name="Object 17" hidden="1">
                        <a:extLst>
                          <a:ext uri="{FF2B5EF4-FFF2-40B4-BE49-F238E27FC236}">
                            <a16:creationId xmlns:a16="http://schemas.microsoft.com/office/drawing/2014/main" id="{AF03376B-F0DC-4E45-A052-7BB7F2CF943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8" name="矩形: 圆角 37">
            <a:extLst>
              <a:ext uri="{FF2B5EF4-FFF2-40B4-BE49-F238E27FC236}">
                <a16:creationId xmlns:a16="http://schemas.microsoft.com/office/drawing/2014/main" id="{BDF8D890-A99F-4F9D-B40C-DC90F3AEDF45}"/>
              </a:ext>
            </a:extLst>
          </p:cNvPr>
          <p:cNvSpPr/>
          <p:nvPr/>
        </p:nvSpPr>
        <p:spPr>
          <a:xfrm>
            <a:off x="539748" y="4260406"/>
            <a:ext cx="2309131" cy="1881987"/>
          </a:xfrm>
          <a:prstGeom prst="roundRect">
            <a:avLst>
              <a:gd name="adj" fmla="val 10651"/>
            </a:avLst>
          </a:prstGeom>
          <a:solidFill>
            <a:schemeClr val="accent2">
              <a:lumMod val="75000"/>
            </a:schemeClr>
          </a:solidFill>
          <a:ln w="28575">
            <a:noFill/>
          </a:ln>
        </p:spPr>
        <p:style>
          <a:lnRef idx="1">
            <a:schemeClr val="accent1"/>
          </a:lnRef>
          <a:fillRef idx="0">
            <a:schemeClr val="accent1"/>
          </a:fillRef>
          <a:effectRef idx="0">
            <a:schemeClr val="accent1"/>
          </a:effectRef>
          <a:fontRef idx="minor">
            <a:schemeClr val="tx1"/>
          </a:fontRef>
        </p:style>
        <p:txBody>
          <a:bodyPr wrap="none" rtlCol="0" anchor="ctr"/>
          <a:lstStyle/>
          <a:p>
            <a:pPr algn="ctr"/>
            <a:endParaRPr kumimoji="1" lang="zh-CN" altLang="en-US" sz="1600" b="1" dirty="0">
              <a:solidFill>
                <a:schemeClr val="bg1"/>
              </a:solidFill>
              <a:latin typeface="微软雅黑" panose="020B0503020204020204" pitchFamily="34" charset="-122"/>
              <a:ea typeface="微软雅黑" panose="020B0503020204020204" pitchFamily="34" charset="-122"/>
            </a:endParaRPr>
          </a:p>
        </p:txBody>
      </p:sp>
      <p:sp>
        <p:nvSpPr>
          <p:cNvPr id="36" name="矩形: 圆角 35">
            <a:extLst>
              <a:ext uri="{FF2B5EF4-FFF2-40B4-BE49-F238E27FC236}">
                <a16:creationId xmlns:a16="http://schemas.microsoft.com/office/drawing/2014/main" id="{C6ACD4FB-1273-478F-896E-5B430FB85151}"/>
              </a:ext>
            </a:extLst>
          </p:cNvPr>
          <p:cNvSpPr/>
          <p:nvPr/>
        </p:nvSpPr>
        <p:spPr>
          <a:xfrm>
            <a:off x="539749" y="1894413"/>
            <a:ext cx="2309131" cy="2194348"/>
          </a:xfrm>
          <a:prstGeom prst="roundRect">
            <a:avLst>
              <a:gd name="adj" fmla="val 12698"/>
            </a:avLst>
          </a:prstGeom>
          <a:solidFill>
            <a:schemeClr val="accent2">
              <a:lumMod val="75000"/>
            </a:schemeClr>
          </a:solidFill>
          <a:ln w="28575">
            <a:noFill/>
          </a:ln>
        </p:spPr>
        <p:style>
          <a:lnRef idx="1">
            <a:schemeClr val="accent1"/>
          </a:lnRef>
          <a:fillRef idx="0">
            <a:schemeClr val="accent1"/>
          </a:fillRef>
          <a:effectRef idx="0">
            <a:schemeClr val="accent1"/>
          </a:effectRef>
          <a:fontRef idx="minor">
            <a:schemeClr val="tx1"/>
          </a:fontRef>
        </p:style>
        <p:txBody>
          <a:bodyPr wrap="none" rtlCol="0" anchor="ctr"/>
          <a:lstStyle/>
          <a:p>
            <a:pPr algn="ctr"/>
            <a:endParaRPr kumimoji="1" lang="zh-CN" altLang="en-US" sz="1600" b="1" dirty="0">
              <a:solidFill>
                <a:schemeClr val="bg1"/>
              </a:solidFill>
              <a:latin typeface="微软雅黑" panose="020B0503020204020204" pitchFamily="34" charset="-122"/>
              <a:ea typeface="微软雅黑" panose="020B0503020204020204" pitchFamily="34" charset="-122"/>
            </a:endParaRPr>
          </a:p>
        </p:txBody>
      </p:sp>
      <p:sp>
        <p:nvSpPr>
          <p:cNvPr id="3" name="Rectangle 2" hidden="1">
            <a:extLst>
              <a:ext uri="{FF2B5EF4-FFF2-40B4-BE49-F238E27FC236}">
                <a16:creationId xmlns:a16="http://schemas.microsoft.com/office/drawing/2014/main" id="{60B2A641-EE1A-4353-B663-913BBED2AB49}"/>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800" b="1" i="0" u="none" strike="noStrike" kern="1200" cap="none" spc="0" normalizeH="0" baseline="0" noProof="0">
              <a:ln>
                <a:noFill/>
              </a:ln>
              <a:solidFill>
                <a:srgbClr val="FFFFFF"/>
              </a:solidFill>
              <a:effectLst/>
              <a:uLnTx/>
              <a:uFillTx/>
              <a:latin typeface="Calibri" panose="020F0502020204030204" pitchFamily="34" charset="0"/>
              <a:ea typeface="メイリオ" panose="020B0604030504040204" pitchFamily="50" charset="-128"/>
              <a:cs typeface="Calibri" panose="020F0502020204030204" pitchFamily="34" charset="0"/>
              <a:sym typeface="Calibri" panose="020F0502020204030204" pitchFamily="34" charset="0"/>
            </a:endParaRPr>
          </a:p>
        </p:txBody>
      </p:sp>
      <p:sp>
        <p:nvSpPr>
          <p:cNvPr id="37" name="Title 3">
            <a:extLst>
              <a:ext uri="{FF2B5EF4-FFF2-40B4-BE49-F238E27FC236}">
                <a16:creationId xmlns:a16="http://schemas.microsoft.com/office/drawing/2014/main" id="{8109A740-BC76-6447-9BA6-362E759DED0E}"/>
              </a:ext>
            </a:extLst>
          </p:cNvPr>
          <p:cNvSpPr>
            <a:spLocks noGrp="1"/>
          </p:cNvSpPr>
          <p:nvPr>
            <p:ph type="title"/>
          </p:nvPr>
        </p:nvSpPr>
        <p:spPr>
          <a:xfrm>
            <a:off x="1038225" y="209230"/>
            <a:ext cx="9508106" cy="685801"/>
          </a:xfrm>
        </p:spPr>
        <p:txBody>
          <a:bodyPr vert="horz">
            <a:normAutofit/>
          </a:bodyPr>
          <a:lstStyle/>
          <a:p>
            <a:r>
              <a:rPr lang="zh-CN" altLang="en-US" sz="3200" dirty="0">
                <a:solidFill>
                  <a:srgbClr val="1A1918"/>
                </a:solidFill>
                <a:latin typeface="微软雅黑" panose="020B0503020204020204" pitchFamily="34" charset="-122"/>
                <a:ea typeface="微软雅黑" panose="020B0503020204020204" pitchFamily="34" charset="-122"/>
              </a:rPr>
              <a:t>有效性</a:t>
            </a:r>
          </a:p>
        </p:txBody>
      </p:sp>
      <p:sp>
        <p:nvSpPr>
          <p:cNvPr id="22" name="椭圆 21">
            <a:extLst>
              <a:ext uri="{FF2B5EF4-FFF2-40B4-BE49-F238E27FC236}">
                <a16:creationId xmlns:a16="http://schemas.microsoft.com/office/drawing/2014/main" id="{5F530736-32AD-42C7-B3FC-79FE10B74A3A}"/>
              </a:ext>
            </a:extLst>
          </p:cNvPr>
          <p:cNvSpPr/>
          <p:nvPr/>
        </p:nvSpPr>
        <p:spPr>
          <a:xfrm>
            <a:off x="616186" y="315174"/>
            <a:ext cx="360000" cy="360000"/>
          </a:xfrm>
          <a:prstGeom prst="ellipse">
            <a:avLst/>
          </a:prstGeom>
          <a:solidFill>
            <a:schemeClr val="accent2">
              <a:lumMod val="75000"/>
            </a:schemeClr>
          </a:solidFill>
          <a:ln w="28575">
            <a:noFill/>
          </a:ln>
        </p:spPr>
        <p:style>
          <a:lnRef idx="1">
            <a:schemeClr val="accent1"/>
          </a:lnRef>
          <a:fillRef idx="0">
            <a:schemeClr val="accent1"/>
          </a:fillRef>
          <a:effectRef idx="0">
            <a:schemeClr val="accent1"/>
          </a:effectRef>
          <a:fontRef idx="minor">
            <a:schemeClr val="tx1"/>
          </a:fontRef>
        </p:style>
        <p:txBody>
          <a:bodyPr wrap="none" rtlCol="0" anchor="ctr"/>
          <a:lstStyle/>
          <a:p>
            <a:pPr algn="ctr"/>
            <a:r>
              <a:rPr kumimoji="1" lang="en-US" altLang="zh-CN" sz="1600" b="1" dirty="0">
                <a:solidFill>
                  <a:schemeClr val="bg1"/>
                </a:solidFill>
                <a:latin typeface="微软雅黑" panose="020B0503020204020204" pitchFamily="34" charset="-122"/>
                <a:ea typeface="微软雅黑" panose="020B0503020204020204" pitchFamily="34" charset="-122"/>
              </a:rPr>
              <a:t>4</a:t>
            </a:r>
            <a:endParaRPr kumimoji="1" lang="zh-CN" altLang="en-US" sz="1600" b="1" dirty="0">
              <a:solidFill>
                <a:schemeClr val="bg1"/>
              </a:solidFill>
              <a:latin typeface="微软雅黑" panose="020B0503020204020204" pitchFamily="34" charset="-122"/>
              <a:ea typeface="微软雅黑" panose="020B0503020204020204" pitchFamily="34" charset="-122"/>
            </a:endParaRPr>
          </a:p>
        </p:txBody>
      </p:sp>
      <p:sp>
        <p:nvSpPr>
          <p:cNvPr id="15" name="Text Placeholder 5">
            <a:extLst>
              <a:ext uri="{FF2B5EF4-FFF2-40B4-BE49-F238E27FC236}">
                <a16:creationId xmlns:a16="http://schemas.microsoft.com/office/drawing/2014/main" id="{B3732146-12B2-4F63-8D34-E17C53F16CFA}"/>
              </a:ext>
            </a:extLst>
          </p:cNvPr>
          <p:cNvSpPr txBox="1">
            <a:spLocks/>
          </p:cNvSpPr>
          <p:nvPr/>
        </p:nvSpPr>
        <p:spPr>
          <a:xfrm>
            <a:off x="539750" y="1897657"/>
            <a:ext cx="2259301" cy="2218046"/>
          </a:xfrm>
          <a:prstGeom prst="rect">
            <a:avLst/>
          </a:prstGeom>
        </p:spPr>
        <p:txBody>
          <a:bodyPr anchor="ctr"/>
          <a:lstStyle>
            <a:lvl1pPr marL="457071" indent="-457071" algn="l" defTabSz="914150" rtl="0" eaLnBrk="1" latinLnBrk="0" hangingPunct="1">
              <a:spcBef>
                <a:spcPct val="20000"/>
              </a:spcBef>
              <a:buClr>
                <a:srgbClr val="4C4948"/>
              </a:buClr>
              <a:buFont typeface="Arial" panose="020B0604020202020204" pitchFamily="34" charset="0"/>
              <a:buChar char="•"/>
              <a:defRPr kumimoji="1" sz="2000" b="0" i="0" kern="1200" baseline="0">
                <a:solidFill>
                  <a:schemeClr val="tx1"/>
                </a:solidFill>
                <a:latin typeface="Calibri" panose="020F0502020204030204" pitchFamily="34" charset="0"/>
                <a:ea typeface="メイリオ" pitchFamily="50" charset="-128"/>
                <a:cs typeface="Calibri" pitchFamily="34" charset="0"/>
              </a:defRPr>
            </a:lvl1pPr>
            <a:lvl2pPr marL="742745" indent="-285677" algn="l" defTabSz="914150" rtl="0" eaLnBrk="1" latinLnBrk="0" hangingPunct="1">
              <a:spcBef>
                <a:spcPct val="20000"/>
              </a:spcBef>
              <a:buClr>
                <a:srgbClr val="4C4948"/>
              </a:buClr>
              <a:buFont typeface="Arial" pitchFamily="34" charset="0"/>
              <a:buChar char="–"/>
              <a:defRPr kumimoji="1" sz="2000" b="0" i="0" kern="1200">
                <a:solidFill>
                  <a:schemeClr val="tx1"/>
                </a:solidFill>
                <a:latin typeface="Calibri" panose="020F0502020204030204" pitchFamily="34" charset="0"/>
                <a:ea typeface="メイリオ" pitchFamily="50" charset="-128"/>
                <a:cs typeface="Calibri" pitchFamily="34" charset="0"/>
              </a:defRPr>
            </a:lvl2pPr>
            <a:lvl3pPr marL="1142690" indent="-228541" algn="l" defTabSz="914150" rtl="0" eaLnBrk="1" latinLnBrk="0" hangingPunct="1">
              <a:spcBef>
                <a:spcPct val="20000"/>
              </a:spcBef>
              <a:buClr>
                <a:srgbClr val="4C4948"/>
              </a:buClr>
              <a:buFont typeface="Arial" pitchFamily="34" charset="0"/>
              <a:buChar char="•"/>
              <a:defRPr kumimoji="1" sz="2000" b="0" i="0" kern="1200" baseline="0">
                <a:solidFill>
                  <a:schemeClr val="tx1"/>
                </a:solidFill>
                <a:latin typeface="Calibri" panose="020F0502020204030204" pitchFamily="34" charset="0"/>
                <a:ea typeface="メイリオ" pitchFamily="50" charset="-128"/>
                <a:cs typeface="Calibri" pitchFamily="34" charset="0"/>
              </a:defRPr>
            </a:lvl3pPr>
            <a:lvl4pPr marL="1599760" indent="-228541" algn="l" defTabSz="914150" rtl="0" eaLnBrk="1" latinLnBrk="0" hangingPunct="1">
              <a:spcBef>
                <a:spcPct val="20000"/>
              </a:spcBef>
              <a:buClr>
                <a:srgbClr val="4C4948"/>
              </a:buClr>
              <a:buFont typeface="Arial" pitchFamily="34" charset="0"/>
              <a:buChar char="–"/>
              <a:defRPr kumimoji="1" sz="2000" b="0" i="0" kern="1200" baseline="0">
                <a:solidFill>
                  <a:schemeClr val="tx1"/>
                </a:solidFill>
                <a:latin typeface="Calibri" panose="020F0502020204030204" pitchFamily="34" charset="0"/>
                <a:ea typeface="メイリオ" pitchFamily="50" charset="-128"/>
                <a:cs typeface="Calibri" pitchFamily="34" charset="0"/>
              </a:defRPr>
            </a:lvl4pPr>
            <a:lvl5pPr marL="2056831" indent="-228541" algn="l" defTabSz="914150" rtl="0" eaLnBrk="1" latinLnBrk="0" hangingPunct="1">
              <a:spcBef>
                <a:spcPct val="20000"/>
              </a:spcBef>
              <a:buClr>
                <a:srgbClr val="4C4948"/>
              </a:buClr>
              <a:buFont typeface="Arial" pitchFamily="34" charset="0"/>
              <a:buChar char="»"/>
              <a:defRPr kumimoji="1" sz="2000" b="0" i="0" kern="1200" baseline="0">
                <a:solidFill>
                  <a:schemeClr val="tx1"/>
                </a:solidFill>
                <a:latin typeface="Calibri" panose="020F0502020204030204" pitchFamily="34" charset="0"/>
                <a:ea typeface="メイリオ" pitchFamily="50" charset="-128"/>
                <a:cs typeface="Calibri" pitchFamily="34" charset="0"/>
              </a:defRPr>
            </a:lvl5pPr>
            <a:lvl6pPr marL="2513910"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0986"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8061"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5142"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buNone/>
            </a:pPr>
            <a:r>
              <a:rPr lang="zh-CN" altLang="en-US" sz="1800" b="1" dirty="0">
                <a:solidFill>
                  <a:schemeClr val="bg1"/>
                </a:solidFill>
                <a:latin typeface="微软雅黑" panose="020B0503020204020204" pitchFamily="34" charset="-122"/>
                <a:ea typeface="微软雅黑" panose="020B0503020204020204" pitchFamily="34" charset="-122"/>
              </a:rPr>
              <a:t>国内外权威指南推荐维拉苷酶</a:t>
            </a:r>
            <a:r>
              <a:rPr lang="el-GR" altLang="zh-CN" sz="1800" b="1" dirty="0">
                <a:solidFill>
                  <a:schemeClr val="bg1"/>
                </a:solidFill>
                <a:latin typeface="微软雅黑" panose="020B0503020204020204" pitchFamily="34" charset="-122"/>
                <a:ea typeface="微软雅黑" panose="020B0503020204020204" pitchFamily="34" charset="-122"/>
              </a:rPr>
              <a:t>α</a:t>
            </a:r>
            <a:r>
              <a:rPr lang="zh-CN" altLang="en-US" sz="1800" b="1" dirty="0">
                <a:solidFill>
                  <a:schemeClr val="bg1"/>
                </a:solidFill>
                <a:latin typeface="微软雅黑" panose="020B0503020204020204" pitchFamily="34" charset="-122"/>
                <a:ea typeface="微软雅黑" panose="020B0503020204020204" pitchFamily="34" charset="-122"/>
              </a:rPr>
              <a:t>为戈谢病标准治疗方案</a:t>
            </a:r>
            <a:r>
              <a:rPr lang="en-US" altLang="zh-CN" sz="1800" b="1" dirty="0">
                <a:solidFill>
                  <a:schemeClr val="bg1"/>
                </a:solidFill>
                <a:latin typeface="微软雅黑" panose="020B0503020204020204" pitchFamily="34" charset="-122"/>
                <a:ea typeface="微软雅黑" panose="020B0503020204020204" pitchFamily="34" charset="-122"/>
              </a:rPr>
              <a:t>--</a:t>
            </a:r>
            <a:r>
              <a:rPr lang="zh-CN" altLang="en-US" sz="1800" b="1" dirty="0">
                <a:solidFill>
                  <a:schemeClr val="bg1"/>
                </a:solidFill>
                <a:latin typeface="微软雅黑" panose="020B0503020204020204" pitchFamily="34" charset="-122"/>
                <a:ea typeface="微软雅黑" panose="020B0503020204020204" pitchFamily="34" charset="-122"/>
              </a:rPr>
              <a:t>酶替代治疗药物之一</a:t>
            </a:r>
          </a:p>
        </p:txBody>
      </p:sp>
      <p:sp>
        <p:nvSpPr>
          <p:cNvPr id="61" name="矩形: 圆角 60">
            <a:extLst>
              <a:ext uri="{FF2B5EF4-FFF2-40B4-BE49-F238E27FC236}">
                <a16:creationId xmlns:a16="http://schemas.microsoft.com/office/drawing/2014/main" id="{C7E682CA-0FDC-4BFD-8957-9AAAB70E121A}"/>
              </a:ext>
            </a:extLst>
          </p:cNvPr>
          <p:cNvSpPr/>
          <p:nvPr/>
        </p:nvSpPr>
        <p:spPr>
          <a:xfrm>
            <a:off x="3050027" y="1894413"/>
            <a:ext cx="2160000" cy="635343"/>
          </a:xfrm>
          <a:prstGeom prst="roundRect">
            <a:avLst/>
          </a:prstGeom>
          <a:solidFill>
            <a:schemeClr val="accent1">
              <a:lumMod val="20000"/>
              <a:lumOff val="80000"/>
            </a:schemeClr>
          </a:solidFill>
          <a:ln w="19050">
            <a:noFill/>
          </a:ln>
        </p:spPr>
        <p:style>
          <a:lnRef idx="1">
            <a:schemeClr val="accent1"/>
          </a:lnRef>
          <a:fillRef idx="0">
            <a:schemeClr val="accent1"/>
          </a:fillRef>
          <a:effectRef idx="0">
            <a:schemeClr val="accent1"/>
          </a:effectRef>
          <a:fontRef idx="minor">
            <a:schemeClr val="tx1"/>
          </a:fontRef>
        </p:style>
        <p:txBody>
          <a:bodyPr wrap="square" rtlCol="0" anchor="ctr"/>
          <a:lstStyle/>
          <a:p>
            <a:pPr algn="ctr"/>
            <a:r>
              <a:rPr kumimoji="1" lang="zh-CN" altLang="en-US" sz="1200" b="1" dirty="0">
                <a:latin typeface="微软雅黑" panose="020B0503020204020204" pitchFamily="34" charset="-122"/>
                <a:ea typeface="微软雅黑" panose="020B0503020204020204" pitchFamily="34" charset="-122"/>
              </a:rPr>
              <a:t>中国儿童戈谢病诊治专家共识（</a:t>
            </a:r>
            <a:r>
              <a:rPr kumimoji="1" lang="en-US" altLang="zh-CN" sz="1200" b="1" dirty="0">
                <a:latin typeface="微软雅黑" panose="020B0503020204020204" pitchFamily="34" charset="-122"/>
                <a:ea typeface="微软雅黑" panose="020B0503020204020204" pitchFamily="34" charset="-122"/>
              </a:rPr>
              <a:t>2021</a:t>
            </a:r>
            <a:r>
              <a:rPr kumimoji="1" lang="zh-CN" altLang="en-US" sz="1200" b="1" dirty="0">
                <a:latin typeface="微软雅黑" panose="020B0503020204020204" pitchFamily="34" charset="-122"/>
                <a:ea typeface="微软雅黑" panose="020B0503020204020204" pitchFamily="34" charset="-122"/>
              </a:rPr>
              <a:t>）</a:t>
            </a:r>
            <a:endParaRPr kumimoji="1" lang="en-US" altLang="zh-CN" sz="1200" b="1" dirty="0">
              <a:latin typeface="微软雅黑" panose="020B0503020204020204" pitchFamily="34" charset="-122"/>
              <a:ea typeface="微软雅黑" panose="020B0503020204020204" pitchFamily="34" charset="-122"/>
            </a:endParaRPr>
          </a:p>
        </p:txBody>
      </p:sp>
      <p:sp>
        <p:nvSpPr>
          <p:cNvPr id="63" name="矩形: 圆角 62">
            <a:extLst>
              <a:ext uri="{FF2B5EF4-FFF2-40B4-BE49-F238E27FC236}">
                <a16:creationId xmlns:a16="http://schemas.microsoft.com/office/drawing/2014/main" id="{979803C8-C694-4B9C-96BC-0278658A00A6}"/>
              </a:ext>
            </a:extLst>
          </p:cNvPr>
          <p:cNvSpPr/>
          <p:nvPr/>
        </p:nvSpPr>
        <p:spPr>
          <a:xfrm>
            <a:off x="5417766" y="1928653"/>
            <a:ext cx="1139001" cy="540000"/>
          </a:xfrm>
          <a:prstGeom prst="roundRect">
            <a:avLst/>
          </a:prstGeom>
          <a:noFill/>
          <a:ln w="12700">
            <a:solidFill>
              <a:schemeClr val="tx1"/>
            </a:solidFill>
            <a:prstDash val="solid"/>
          </a:ln>
        </p:spPr>
        <p:style>
          <a:lnRef idx="1">
            <a:schemeClr val="accent1"/>
          </a:lnRef>
          <a:fillRef idx="0">
            <a:schemeClr val="accent1"/>
          </a:fillRef>
          <a:effectRef idx="0">
            <a:schemeClr val="accent1"/>
          </a:effectRef>
          <a:fontRef idx="minor">
            <a:schemeClr val="tx1"/>
          </a:fontRef>
        </p:style>
        <p:txBody>
          <a:bodyPr wrap="square" rtlCol="0" anchor="ctr"/>
          <a:lstStyle/>
          <a:p>
            <a:pPr algn="ctr"/>
            <a:r>
              <a:rPr kumimoji="1" lang="en-US" altLang="zh-CN" sz="1200" dirty="0">
                <a:solidFill>
                  <a:srgbClr val="1A1918"/>
                </a:solidFill>
                <a:latin typeface="微软雅黑" panose="020B0503020204020204" pitchFamily="34" charset="-122"/>
                <a:ea typeface="微软雅黑" panose="020B0503020204020204" pitchFamily="34" charset="-122"/>
              </a:rPr>
              <a:t>2021</a:t>
            </a:r>
            <a:r>
              <a:rPr kumimoji="1" lang="zh-CN" altLang="en-US" sz="1200" dirty="0">
                <a:solidFill>
                  <a:srgbClr val="1A1918"/>
                </a:solidFill>
                <a:latin typeface="微软雅黑" panose="020B0503020204020204" pitchFamily="34" charset="-122"/>
                <a:ea typeface="微软雅黑" panose="020B0503020204020204" pitchFamily="34" charset="-122"/>
              </a:rPr>
              <a:t>年</a:t>
            </a:r>
            <a:endParaRPr kumimoji="1" lang="en-US" altLang="zh-CN" sz="1200" dirty="0">
              <a:solidFill>
                <a:srgbClr val="1A1918"/>
              </a:solidFill>
              <a:latin typeface="微软雅黑" panose="020B0503020204020204" pitchFamily="34" charset="-122"/>
              <a:ea typeface="微软雅黑" panose="020B0503020204020204" pitchFamily="34" charset="-122"/>
            </a:endParaRPr>
          </a:p>
        </p:txBody>
      </p:sp>
      <p:sp>
        <p:nvSpPr>
          <p:cNvPr id="64" name="矩形: 圆角 63">
            <a:extLst>
              <a:ext uri="{FF2B5EF4-FFF2-40B4-BE49-F238E27FC236}">
                <a16:creationId xmlns:a16="http://schemas.microsoft.com/office/drawing/2014/main" id="{ECBEBC8B-8E4A-462F-8DDE-73A686F4B534}"/>
              </a:ext>
            </a:extLst>
          </p:cNvPr>
          <p:cNvSpPr/>
          <p:nvPr/>
        </p:nvSpPr>
        <p:spPr>
          <a:xfrm>
            <a:off x="6788638" y="2670059"/>
            <a:ext cx="5022000" cy="575079"/>
          </a:xfrm>
          <a:prstGeom prst="roundRect">
            <a:avLst>
              <a:gd name="adj" fmla="val 10452"/>
            </a:avLst>
          </a:prstGeom>
          <a:noFill/>
          <a:ln w="12700">
            <a:solidFill>
              <a:schemeClr val="tx1"/>
            </a:solidFill>
            <a:prstDash val="solid"/>
          </a:ln>
        </p:spPr>
        <p:style>
          <a:lnRef idx="1">
            <a:schemeClr val="accent1"/>
          </a:lnRef>
          <a:fillRef idx="0">
            <a:schemeClr val="accent1"/>
          </a:fillRef>
          <a:effectRef idx="0">
            <a:schemeClr val="accent1"/>
          </a:effectRef>
          <a:fontRef idx="minor">
            <a:schemeClr val="tx1"/>
          </a:fontRef>
        </p:style>
        <p:txBody>
          <a:bodyPr wrap="square" rtlCol="0" anchor="ctr"/>
          <a:lstStyle/>
          <a:p>
            <a:pPr marL="171450" indent="-171450">
              <a:buFont typeface="Arial" panose="020B0604020202020204" pitchFamily="34" charset="0"/>
              <a:buChar char="•"/>
            </a:pPr>
            <a:r>
              <a:rPr kumimoji="1" lang="zh-CN" altLang="en-US" sz="1200" dirty="0">
                <a:solidFill>
                  <a:srgbClr val="1A1918"/>
                </a:solidFill>
                <a:latin typeface="微软雅黑" panose="020B0503020204020204" pitchFamily="34" charset="-122"/>
                <a:ea typeface="微软雅黑" panose="020B0503020204020204" pitchFamily="34" charset="-122"/>
              </a:rPr>
              <a:t>酶替代疗法为戈谢病的一线治疗；维拉苷酶持续治疗</a:t>
            </a:r>
            <a:r>
              <a:rPr kumimoji="1" lang="en-US" altLang="zh-CN" sz="1200" dirty="0">
                <a:solidFill>
                  <a:srgbClr val="1A1918"/>
                </a:solidFill>
                <a:latin typeface="微软雅黑" panose="020B0503020204020204" pitchFamily="34" charset="-122"/>
                <a:ea typeface="微软雅黑" panose="020B0503020204020204" pitchFamily="34" charset="-122"/>
              </a:rPr>
              <a:t>12</a:t>
            </a:r>
            <a:r>
              <a:rPr kumimoji="1" lang="zh-CN" altLang="en-US" sz="1200" dirty="0">
                <a:solidFill>
                  <a:srgbClr val="1A1918"/>
                </a:solidFill>
                <a:latin typeface="微软雅黑" panose="020B0503020204020204" pitchFamily="34" charset="-122"/>
                <a:ea typeface="微软雅黑" panose="020B0503020204020204" pitchFamily="34" charset="-122"/>
              </a:rPr>
              <a:t>个月可显著改善贫血、血小板减少和肝脾肿大等特异性临床指标；安全性良好，无药品相关严重不良事件。</a:t>
            </a:r>
          </a:p>
        </p:txBody>
      </p:sp>
      <p:sp>
        <p:nvSpPr>
          <p:cNvPr id="65" name="矩形: 圆角 64">
            <a:extLst>
              <a:ext uri="{FF2B5EF4-FFF2-40B4-BE49-F238E27FC236}">
                <a16:creationId xmlns:a16="http://schemas.microsoft.com/office/drawing/2014/main" id="{140843E9-4935-4F47-A589-336103EE8536}"/>
              </a:ext>
            </a:extLst>
          </p:cNvPr>
          <p:cNvSpPr/>
          <p:nvPr/>
        </p:nvSpPr>
        <p:spPr>
          <a:xfrm>
            <a:off x="6771587" y="1894413"/>
            <a:ext cx="5022000" cy="574240"/>
          </a:xfrm>
          <a:prstGeom prst="roundRect">
            <a:avLst>
              <a:gd name="adj" fmla="val 12816"/>
            </a:avLst>
          </a:prstGeom>
          <a:noFill/>
          <a:ln w="12700">
            <a:solidFill>
              <a:schemeClr val="tx1"/>
            </a:solidFill>
            <a:prstDash val="solid"/>
          </a:ln>
        </p:spPr>
        <p:style>
          <a:lnRef idx="1">
            <a:schemeClr val="accent1"/>
          </a:lnRef>
          <a:fillRef idx="0">
            <a:schemeClr val="accent1"/>
          </a:fillRef>
          <a:effectRef idx="0">
            <a:schemeClr val="accent1"/>
          </a:effectRef>
          <a:fontRef idx="minor">
            <a:schemeClr val="tx1"/>
          </a:fontRef>
        </p:style>
        <p:txBody>
          <a:bodyPr wrap="square" rtlCol="0" anchor="ctr"/>
          <a:lstStyle/>
          <a:p>
            <a:pPr marL="171450" indent="-171450">
              <a:buFont typeface="Arial" panose="020B0604020202020204" pitchFamily="34" charset="0"/>
              <a:buChar char="•"/>
            </a:pPr>
            <a:r>
              <a:rPr kumimoji="1" lang="zh-CN" altLang="en-US" sz="1200" dirty="0">
                <a:latin typeface="微软雅黑" panose="020B0503020204020204" pitchFamily="34" charset="-122"/>
                <a:ea typeface="微软雅黑" panose="020B0503020204020204" pitchFamily="34" charset="-122"/>
              </a:rPr>
              <a:t>维拉苷酶</a:t>
            </a:r>
            <a:r>
              <a:rPr kumimoji="1" lang="en-US" altLang="zh-CN" sz="1200" dirty="0">
                <a:latin typeface="微软雅黑" panose="020B0503020204020204" pitchFamily="34" charset="-122"/>
                <a:ea typeface="微软雅黑" panose="020B0503020204020204" pitchFamily="34" charset="-122"/>
              </a:rPr>
              <a:t>α</a:t>
            </a:r>
            <a:r>
              <a:rPr kumimoji="1" lang="zh-CN" altLang="en-US" sz="1200" dirty="0">
                <a:latin typeface="微软雅黑" panose="020B0503020204020204" pitchFamily="34" charset="-122"/>
                <a:ea typeface="微软雅黑" panose="020B0503020204020204" pitchFamily="34" charset="-122"/>
              </a:rPr>
              <a:t>在中国获批上市，用于</a:t>
            </a:r>
            <a:r>
              <a:rPr kumimoji="1" lang="en-US" altLang="zh-CN" sz="1200" dirty="0">
                <a:latin typeface="微软雅黑" panose="020B0503020204020204" pitchFamily="34" charset="-122"/>
                <a:ea typeface="微软雅黑" panose="020B0503020204020204" pitchFamily="34" charset="-122"/>
              </a:rPr>
              <a:t>Ⅰ</a:t>
            </a:r>
            <a:r>
              <a:rPr kumimoji="1" lang="zh-CN" altLang="en-US" sz="1200" dirty="0">
                <a:latin typeface="微软雅黑" panose="020B0503020204020204" pitchFamily="34" charset="-122"/>
                <a:ea typeface="微软雅黑" panose="020B0503020204020204" pitchFamily="34" charset="-122"/>
              </a:rPr>
              <a:t>型戈谢病成人以及</a:t>
            </a:r>
            <a:r>
              <a:rPr kumimoji="1" lang="en-US" altLang="zh-CN" sz="1200" dirty="0">
                <a:latin typeface="微软雅黑" panose="020B0503020204020204" pitchFamily="34" charset="-122"/>
                <a:ea typeface="微软雅黑" panose="020B0503020204020204" pitchFamily="34" charset="-122"/>
              </a:rPr>
              <a:t>4</a:t>
            </a:r>
            <a:r>
              <a:rPr kumimoji="1" lang="zh-CN" altLang="en-US" sz="1200" dirty="0">
                <a:latin typeface="微软雅黑" panose="020B0503020204020204" pitchFamily="34" charset="-122"/>
                <a:ea typeface="微软雅黑" panose="020B0503020204020204" pitchFamily="34" charset="-122"/>
              </a:rPr>
              <a:t>岁以上的儿童患者 </a:t>
            </a:r>
          </a:p>
        </p:txBody>
      </p:sp>
      <p:grpSp>
        <p:nvGrpSpPr>
          <p:cNvPr id="68" name="组合 67">
            <a:extLst>
              <a:ext uri="{FF2B5EF4-FFF2-40B4-BE49-F238E27FC236}">
                <a16:creationId xmlns:a16="http://schemas.microsoft.com/office/drawing/2014/main" id="{A21795DF-079D-460F-AE81-C62574BF3DF9}"/>
              </a:ext>
            </a:extLst>
          </p:cNvPr>
          <p:cNvGrpSpPr/>
          <p:nvPr/>
        </p:nvGrpSpPr>
        <p:grpSpPr>
          <a:xfrm>
            <a:off x="3050027" y="1311516"/>
            <a:ext cx="2160000" cy="470262"/>
            <a:chOff x="971583" y="1349829"/>
            <a:chExt cx="2853001" cy="470262"/>
          </a:xfrm>
        </p:grpSpPr>
        <p:sp>
          <p:nvSpPr>
            <p:cNvPr id="69" name="矩形 68">
              <a:extLst>
                <a:ext uri="{FF2B5EF4-FFF2-40B4-BE49-F238E27FC236}">
                  <a16:creationId xmlns:a16="http://schemas.microsoft.com/office/drawing/2014/main" id="{6A986C5C-56CB-4495-8E4C-29CCDDC3AC26}"/>
                </a:ext>
              </a:extLst>
            </p:cNvPr>
            <p:cNvSpPr/>
            <p:nvPr/>
          </p:nvSpPr>
          <p:spPr>
            <a:xfrm>
              <a:off x="990286" y="1349829"/>
              <a:ext cx="2834298" cy="470262"/>
            </a:xfrm>
            <a:prstGeom prst="rect">
              <a:avLst/>
            </a:prstGeom>
            <a:noFill/>
            <a:ln w="28575">
              <a:noFill/>
            </a:ln>
          </p:spPr>
          <p:style>
            <a:lnRef idx="1">
              <a:schemeClr val="accent1"/>
            </a:lnRef>
            <a:fillRef idx="0">
              <a:schemeClr val="accent1"/>
            </a:fillRef>
            <a:effectRef idx="0">
              <a:schemeClr val="accent1"/>
            </a:effectRef>
            <a:fontRef idx="minor">
              <a:schemeClr val="tx1"/>
            </a:fontRef>
          </p:style>
          <p:txBody>
            <a:bodyPr wrap="none" rtlCol="0" anchor="ctr"/>
            <a:lstStyle/>
            <a:p>
              <a:pPr algn="ctr"/>
              <a:r>
                <a:rPr kumimoji="1" lang="zh-CN" altLang="en-US" sz="1400" b="1" dirty="0">
                  <a:solidFill>
                    <a:srgbClr val="1A1918"/>
                  </a:solidFill>
                  <a:latin typeface="微软雅黑" panose="020B0503020204020204" pitchFamily="34" charset="-122"/>
                  <a:ea typeface="微软雅黑" panose="020B0503020204020204" pitchFamily="34" charset="-122"/>
                </a:rPr>
                <a:t>指南名称</a:t>
              </a:r>
            </a:p>
          </p:txBody>
        </p:sp>
        <p:cxnSp>
          <p:nvCxnSpPr>
            <p:cNvPr id="70" name="直接连接符 69">
              <a:extLst>
                <a:ext uri="{FF2B5EF4-FFF2-40B4-BE49-F238E27FC236}">
                  <a16:creationId xmlns:a16="http://schemas.microsoft.com/office/drawing/2014/main" id="{A0F47B9A-9918-41EE-ACC4-3474CC709E22}"/>
                </a:ext>
              </a:extLst>
            </p:cNvPr>
            <p:cNvCxnSpPr>
              <a:cxnSpLocks/>
            </p:cNvCxnSpPr>
            <p:nvPr/>
          </p:nvCxnSpPr>
          <p:spPr>
            <a:xfrm>
              <a:off x="971583" y="1772898"/>
              <a:ext cx="2834298" cy="0"/>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71" name="组合 70">
            <a:extLst>
              <a:ext uri="{FF2B5EF4-FFF2-40B4-BE49-F238E27FC236}">
                <a16:creationId xmlns:a16="http://schemas.microsoft.com/office/drawing/2014/main" id="{4A3F069D-B5F0-4A7B-BC02-BC92E8598446}"/>
              </a:ext>
            </a:extLst>
          </p:cNvPr>
          <p:cNvGrpSpPr/>
          <p:nvPr/>
        </p:nvGrpSpPr>
        <p:grpSpPr>
          <a:xfrm>
            <a:off x="5431711" y="1311516"/>
            <a:ext cx="1139001" cy="470262"/>
            <a:chOff x="971583" y="1349829"/>
            <a:chExt cx="2853001" cy="470262"/>
          </a:xfrm>
        </p:grpSpPr>
        <p:sp>
          <p:nvSpPr>
            <p:cNvPr id="72" name="矩形 71">
              <a:extLst>
                <a:ext uri="{FF2B5EF4-FFF2-40B4-BE49-F238E27FC236}">
                  <a16:creationId xmlns:a16="http://schemas.microsoft.com/office/drawing/2014/main" id="{C97E7587-8DF2-4B7E-B078-E2C79167BF46}"/>
                </a:ext>
              </a:extLst>
            </p:cNvPr>
            <p:cNvSpPr/>
            <p:nvPr/>
          </p:nvSpPr>
          <p:spPr>
            <a:xfrm>
              <a:off x="990286" y="1349829"/>
              <a:ext cx="2834298" cy="470262"/>
            </a:xfrm>
            <a:prstGeom prst="rect">
              <a:avLst/>
            </a:prstGeom>
            <a:noFill/>
            <a:ln w="28575">
              <a:noFill/>
            </a:ln>
          </p:spPr>
          <p:style>
            <a:lnRef idx="1">
              <a:schemeClr val="accent1"/>
            </a:lnRef>
            <a:fillRef idx="0">
              <a:schemeClr val="accent1"/>
            </a:fillRef>
            <a:effectRef idx="0">
              <a:schemeClr val="accent1"/>
            </a:effectRef>
            <a:fontRef idx="minor">
              <a:schemeClr val="tx1"/>
            </a:fontRef>
          </p:style>
          <p:txBody>
            <a:bodyPr wrap="none" rtlCol="0" anchor="ctr"/>
            <a:lstStyle/>
            <a:p>
              <a:pPr algn="ctr"/>
              <a:r>
                <a:rPr kumimoji="1" lang="zh-CN" altLang="en-US" sz="1400" b="1" dirty="0">
                  <a:solidFill>
                    <a:srgbClr val="1A1918"/>
                  </a:solidFill>
                  <a:latin typeface="微软雅黑" panose="020B0503020204020204" pitchFamily="34" charset="-122"/>
                  <a:ea typeface="微软雅黑" panose="020B0503020204020204" pitchFamily="34" charset="-122"/>
                </a:rPr>
                <a:t>年份</a:t>
              </a:r>
            </a:p>
          </p:txBody>
        </p:sp>
        <p:cxnSp>
          <p:nvCxnSpPr>
            <p:cNvPr id="73" name="直接连接符 72">
              <a:extLst>
                <a:ext uri="{FF2B5EF4-FFF2-40B4-BE49-F238E27FC236}">
                  <a16:creationId xmlns:a16="http://schemas.microsoft.com/office/drawing/2014/main" id="{D69AD22E-6475-4AAB-B8EE-1CDFE47C0635}"/>
                </a:ext>
              </a:extLst>
            </p:cNvPr>
            <p:cNvCxnSpPr>
              <a:cxnSpLocks/>
            </p:cNvCxnSpPr>
            <p:nvPr/>
          </p:nvCxnSpPr>
          <p:spPr>
            <a:xfrm>
              <a:off x="971583" y="1772898"/>
              <a:ext cx="2834298" cy="0"/>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74" name="组合 73">
            <a:extLst>
              <a:ext uri="{FF2B5EF4-FFF2-40B4-BE49-F238E27FC236}">
                <a16:creationId xmlns:a16="http://schemas.microsoft.com/office/drawing/2014/main" id="{769DA012-94AB-4446-B7AE-42A41D85DA34}"/>
              </a:ext>
            </a:extLst>
          </p:cNvPr>
          <p:cNvGrpSpPr/>
          <p:nvPr/>
        </p:nvGrpSpPr>
        <p:grpSpPr>
          <a:xfrm>
            <a:off x="6772775" y="1311516"/>
            <a:ext cx="5020812" cy="470262"/>
            <a:chOff x="971583" y="1349829"/>
            <a:chExt cx="2853001" cy="470262"/>
          </a:xfrm>
        </p:grpSpPr>
        <p:sp>
          <p:nvSpPr>
            <p:cNvPr id="92" name="矩形 91">
              <a:extLst>
                <a:ext uri="{FF2B5EF4-FFF2-40B4-BE49-F238E27FC236}">
                  <a16:creationId xmlns:a16="http://schemas.microsoft.com/office/drawing/2014/main" id="{0BDFBE2B-C41B-4A90-BE26-166A237C1E28}"/>
                </a:ext>
              </a:extLst>
            </p:cNvPr>
            <p:cNvSpPr/>
            <p:nvPr/>
          </p:nvSpPr>
          <p:spPr>
            <a:xfrm>
              <a:off x="990286" y="1349829"/>
              <a:ext cx="2834298" cy="470262"/>
            </a:xfrm>
            <a:prstGeom prst="rect">
              <a:avLst/>
            </a:prstGeom>
            <a:noFill/>
            <a:ln w="28575">
              <a:noFill/>
            </a:ln>
          </p:spPr>
          <p:style>
            <a:lnRef idx="1">
              <a:schemeClr val="accent1"/>
            </a:lnRef>
            <a:fillRef idx="0">
              <a:schemeClr val="accent1"/>
            </a:fillRef>
            <a:effectRef idx="0">
              <a:schemeClr val="accent1"/>
            </a:effectRef>
            <a:fontRef idx="minor">
              <a:schemeClr val="tx1"/>
            </a:fontRef>
          </p:style>
          <p:txBody>
            <a:bodyPr wrap="none" rtlCol="0" anchor="ctr"/>
            <a:lstStyle/>
            <a:p>
              <a:pPr algn="ctr"/>
              <a:r>
                <a:rPr kumimoji="1" lang="zh-CN" altLang="en-US" sz="1400" b="1" dirty="0">
                  <a:solidFill>
                    <a:srgbClr val="1A1918"/>
                  </a:solidFill>
                  <a:latin typeface="微软雅黑" panose="020B0503020204020204" pitchFamily="34" charset="-122"/>
                  <a:ea typeface="微软雅黑" panose="020B0503020204020204" pitchFamily="34" charset="-122"/>
                </a:rPr>
                <a:t>推荐内容</a:t>
              </a:r>
            </a:p>
          </p:txBody>
        </p:sp>
        <p:cxnSp>
          <p:nvCxnSpPr>
            <p:cNvPr id="93" name="直接连接符 92">
              <a:extLst>
                <a:ext uri="{FF2B5EF4-FFF2-40B4-BE49-F238E27FC236}">
                  <a16:creationId xmlns:a16="http://schemas.microsoft.com/office/drawing/2014/main" id="{46E8742D-0FF1-4CBC-8E56-4C2028BBE476}"/>
                </a:ext>
              </a:extLst>
            </p:cNvPr>
            <p:cNvCxnSpPr>
              <a:cxnSpLocks/>
            </p:cNvCxnSpPr>
            <p:nvPr/>
          </p:nvCxnSpPr>
          <p:spPr>
            <a:xfrm>
              <a:off x="971583" y="1772898"/>
              <a:ext cx="2834298" cy="0"/>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grpSp>
      <p:sp>
        <p:nvSpPr>
          <p:cNvPr id="98" name="矩形: 圆角 97">
            <a:extLst>
              <a:ext uri="{FF2B5EF4-FFF2-40B4-BE49-F238E27FC236}">
                <a16:creationId xmlns:a16="http://schemas.microsoft.com/office/drawing/2014/main" id="{A3995DF4-6F88-457B-B36D-577F95F7EB6D}"/>
              </a:ext>
            </a:extLst>
          </p:cNvPr>
          <p:cNvSpPr/>
          <p:nvPr/>
        </p:nvSpPr>
        <p:spPr>
          <a:xfrm>
            <a:off x="3042947" y="2682559"/>
            <a:ext cx="2160000" cy="573099"/>
          </a:xfrm>
          <a:prstGeom prst="roundRect">
            <a:avLst/>
          </a:prstGeom>
          <a:solidFill>
            <a:schemeClr val="accent1">
              <a:lumMod val="20000"/>
              <a:lumOff val="80000"/>
            </a:schemeClr>
          </a:solidFill>
          <a:ln w="19050">
            <a:noFill/>
          </a:ln>
        </p:spPr>
        <p:style>
          <a:lnRef idx="1">
            <a:schemeClr val="accent1"/>
          </a:lnRef>
          <a:fillRef idx="0">
            <a:schemeClr val="accent1"/>
          </a:fillRef>
          <a:effectRef idx="0">
            <a:schemeClr val="accent1"/>
          </a:effectRef>
          <a:fontRef idx="minor">
            <a:schemeClr val="tx1"/>
          </a:fontRef>
        </p:style>
        <p:txBody>
          <a:bodyPr wrap="square" rtlCol="0" anchor="ctr"/>
          <a:lstStyle/>
          <a:p>
            <a:pPr algn="ctr"/>
            <a:r>
              <a:rPr kumimoji="1" lang="zh-CN" altLang="en-US" sz="1200" b="1" dirty="0">
                <a:solidFill>
                  <a:srgbClr val="1A1918"/>
                </a:solidFill>
                <a:latin typeface="微软雅黑" panose="020B0503020204020204" pitchFamily="34" charset="-122"/>
                <a:ea typeface="微软雅黑" panose="020B0503020204020204" pitchFamily="34" charset="-122"/>
              </a:rPr>
              <a:t>中国戈谢病多学科诊疗专家共识</a:t>
            </a:r>
            <a:endParaRPr kumimoji="1" lang="en-US" altLang="zh-CN" sz="1200" b="1" dirty="0">
              <a:solidFill>
                <a:srgbClr val="1A1918"/>
              </a:solidFill>
              <a:latin typeface="微软雅黑" panose="020B0503020204020204" pitchFamily="34" charset="-122"/>
              <a:ea typeface="微软雅黑" panose="020B0503020204020204" pitchFamily="34" charset="-122"/>
            </a:endParaRPr>
          </a:p>
        </p:txBody>
      </p:sp>
      <p:sp>
        <p:nvSpPr>
          <p:cNvPr id="99" name="矩形: 圆角 98">
            <a:extLst>
              <a:ext uri="{FF2B5EF4-FFF2-40B4-BE49-F238E27FC236}">
                <a16:creationId xmlns:a16="http://schemas.microsoft.com/office/drawing/2014/main" id="{B4D2B245-11B0-4F5B-B476-AC9C52814F58}"/>
              </a:ext>
            </a:extLst>
          </p:cNvPr>
          <p:cNvSpPr/>
          <p:nvPr/>
        </p:nvSpPr>
        <p:spPr>
          <a:xfrm>
            <a:off x="5429683" y="2694387"/>
            <a:ext cx="1139001" cy="540000"/>
          </a:xfrm>
          <a:prstGeom prst="roundRect">
            <a:avLst/>
          </a:prstGeom>
          <a:noFill/>
          <a:ln w="12700">
            <a:solidFill>
              <a:schemeClr val="tx1"/>
            </a:solidFill>
            <a:prstDash val="solid"/>
          </a:ln>
        </p:spPr>
        <p:style>
          <a:lnRef idx="1">
            <a:schemeClr val="accent1"/>
          </a:lnRef>
          <a:fillRef idx="0">
            <a:schemeClr val="accent1"/>
          </a:fillRef>
          <a:effectRef idx="0">
            <a:schemeClr val="accent1"/>
          </a:effectRef>
          <a:fontRef idx="minor">
            <a:schemeClr val="tx1"/>
          </a:fontRef>
        </p:style>
        <p:txBody>
          <a:bodyPr wrap="square" rtlCol="0" anchor="ctr"/>
          <a:lstStyle/>
          <a:p>
            <a:pPr algn="ctr"/>
            <a:r>
              <a:rPr kumimoji="1" lang="en-US" altLang="zh-CN" sz="1200" dirty="0">
                <a:solidFill>
                  <a:srgbClr val="1A1918"/>
                </a:solidFill>
                <a:latin typeface="微软雅黑" panose="020B0503020204020204" pitchFamily="34" charset="-122"/>
                <a:ea typeface="微软雅黑" panose="020B0503020204020204" pitchFamily="34" charset="-122"/>
              </a:rPr>
              <a:t>2020</a:t>
            </a:r>
            <a:r>
              <a:rPr kumimoji="1" lang="zh-CN" altLang="en-US" sz="1200" dirty="0">
                <a:solidFill>
                  <a:srgbClr val="1A1918"/>
                </a:solidFill>
                <a:latin typeface="微软雅黑" panose="020B0503020204020204" pitchFamily="34" charset="-122"/>
                <a:ea typeface="微软雅黑" panose="020B0503020204020204" pitchFamily="34" charset="-122"/>
              </a:rPr>
              <a:t>年</a:t>
            </a:r>
            <a:endParaRPr kumimoji="1" lang="en-US" altLang="zh-CN" sz="1200" dirty="0">
              <a:solidFill>
                <a:srgbClr val="1A1918"/>
              </a:solidFill>
              <a:latin typeface="微软雅黑" panose="020B0503020204020204" pitchFamily="34" charset="-122"/>
              <a:ea typeface="微软雅黑" panose="020B0503020204020204" pitchFamily="34" charset="-122"/>
            </a:endParaRPr>
          </a:p>
        </p:txBody>
      </p:sp>
      <p:sp>
        <p:nvSpPr>
          <p:cNvPr id="100" name="矩形: 圆角 99">
            <a:extLst>
              <a:ext uri="{FF2B5EF4-FFF2-40B4-BE49-F238E27FC236}">
                <a16:creationId xmlns:a16="http://schemas.microsoft.com/office/drawing/2014/main" id="{45FE98CA-4380-4C2C-9C9F-9987D6C93E2C}"/>
              </a:ext>
            </a:extLst>
          </p:cNvPr>
          <p:cNvSpPr/>
          <p:nvPr/>
        </p:nvSpPr>
        <p:spPr>
          <a:xfrm>
            <a:off x="3042947" y="3427303"/>
            <a:ext cx="2160000" cy="558821"/>
          </a:xfrm>
          <a:prstGeom prst="roundRect">
            <a:avLst/>
          </a:prstGeom>
          <a:solidFill>
            <a:schemeClr val="accent1">
              <a:lumMod val="20000"/>
              <a:lumOff val="80000"/>
            </a:schemeClr>
          </a:solidFill>
          <a:ln w="19050">
            <a:noFill/>
          </a:ln>
        </p:spPr>
        <p:style>
          <a:lnRef idx="1">
            <a:schemeClr val="accent1"/>
          </a:lnRef>
          <a:fillRef idx="0">
            <a:schemeClr val="accent1"/>
          </a:fillRef>
          <a:effectRef idx="0">
            <a:schemeClr val="accent1"/>
          </a:effectRef>
          <a:fontRef idx="minor">
            <a:schemeClr val="tx1"/>
          </a:fontRef>
        </p:style>
        <p:txBody>
          <a:bodyPr wrap="square" rtlCol="0" anchor="ctr"/>
          <a:lstStyle/>
          <a:p>
            <a:pPr algn="ctr"/>
            <a:r>
              <a:rPr kumimoji="1" lang="zh-CN" altLang="en-US" sz="1200" b="1" dirty="0">
                <a:solidFill>
                  <a:srgbClr val="1A1918"/>
                </a:solidFill>
                <a:latin typeface="微软雅黑" panose="020B0503020204020204" pitchFamily="34" charset="-122"/>
                <a:ea typeface="微软雅黑" panose="020B0503020204020204" pitchFamily="34" charset="-122"/>
              </a:rPr>
              <a:t>美国戈谢病治疗指南</a:t>
            </a:r>
            <a:endParaRPr kumimoji="1" lang="en-US" altLang="zh-CN" sz="1200" b="1" dirty="0">
              <a:solidFill>
                <a:srgbClr val="1A1918"/>
              </a:solidFill>
              <a:latin typeface="微软雅黑" panose="020B0503020204020204" pitchFamily="34" charset="-122"/>
              <a:ea typeface="微软雅黑" panose="020B0503020204020204" pitchFamily="34" charset="-122"/>
            </a:endParaRPr>
          </a:p>
        </p:txBody>
      </p:sp>
      <p:sp>
        <p:nvSpPr>
          <p:cNvPr id="101" name="矩形: 圆角 100">
            <a:extLst>
              <a:ext uri="{FF2B5EF4-FFF2-40B4-BE49-F238E27FC236}">
                <a16:creationId xmlns:a16="http://schemas.microsoft.com/office/drawing/2014/main" id="{6F9594B7-996B-4CB7-8887-105691908F4C}"/>
              </a:ext>
            </a:extLst>
          </p:cNvPr>
          <p:cNvSpPr/>
          <p:nvPr/>
        </p:nvSpPr>
        <p:spPr>
          <a:xfrm>
            <a:off x="5439178" y="3442365"/>
            <a:ext cx="1139001" cy="540000"/>
          </a:xfrm>
          <a:prstGeom prst="roundRect">
            <a:avLst/>
          </a:prstGeom>
          <a:noFill/>
          <a:ln w="12700">
            <a:solidFill>
              <a:schemeClr val="tx1"/>
            </a:solidFill>
            <a:prstDash val="solid"/>
          </a:ln>
        </p:spPr>
        <p:style>
          <a:lnRef idx="1">
            <a:schemeClr val="accent1"/>
          </a:lnRef>
          <a:fillRef idx="0">
            <a:schemeClr val="accent1"/>
          </a:fillRef>
          <a:effectRef idx="0">
            <a:schemeClr val="accent1"/>
          </a:effectRef>
          <a:fontRef idx="minor">
            <a:schemeClr val="tx1"/>
          </a:fontRef>
        </p:style>
        <p:txBody>
          <a:bodyPr wrap="square" rtlCol="0" anchor="ctr"/>
          <a:lstStyle/>
          <a:p>
            <a:pPr algn="ctr"/>
            <a:r>
              <a:rPr kumimoji="1" lang="en-US" altLang="zh-CN" sz="1200" dirty="0">
                <a:solidFill>
                  <a:srgbClr val="1A1918"/>
                </a:solidFill>
                <a:latin typeface="微软雅黑" panose="020B0503020204020204" pitchFamily="34" charset="-122"/>
                <a:ea typeface="微软雅黑" panose="020B0503020204020204" pitchFamily="34" charset="-122"/>
              </a:rPr>
              <a:t>2018</a:t>
            </a:r>
            <a:r>
              <a:rPr kumimoji="1" lang="zh-CN" altLang="en-US" sz="1200" dirty="0">
                <a:solidFill>
                  <a:srgbClr val="1A1918"/>
                </a:solidFill>
                <a:latin typeface="微软雅黑" panose="020B0503020204020204" pitchFamily="34" charset="-122"/>
                <a:ea typeface="微软雅黑" panose="020B0503020204020204" pitchFamily="34" charset="-122"/>
              </a:rPr>
              <a:t>年</a:t>
            </a:r>
            <a:endParaRPr kumimoji="1" lang="en-US" altLang="zh-CN" sz="1200" dirty="0">
              <a:solidFill>
                <a:srgbClr val="1A1918"/>
              </a:solidFill>
              <a:latin typeface="微软雅黑" panose="020B0503020204020204" pitchFamily="34" charset="-122"/>
              <a:ea typeface="微软雅黑" panose="020B0503020204020204" pitchFamily="34" charset="-122"/>
            </a:endParaRPr>
          </a:p>
        </p:txBody>
      </p:sp>
      <p:sp>
        <p:nvSpPr>
          <p:cNvPr id="102" name="矩形: 圆角 101">
            <a:extLst>
              <a:ext uri="{FF2B5EF4-FFF2-40B4-BE49-F238E27FC236}">
                <a16:creationId xmlns:a16="http://schemas.microsoft.com/office/drawing/2014/main" id="{EA237412-32F6-4275-9465-1183D5124C67}"/>
              </a:ext>
            </a:extLst>
          </p:cNvPr>
          <p:cNvSpPr/>
          <p:nvPr/>
        </p:nvSpPr>
        <p:spPr>
          <a:xfrm>
            <a:off x="6771587" y="3442365"/>
            <a:ext cx="5022000" cy="540000"/>
          </a:xfrm>
          <a:prstGeom prst="roundRect">
            <a:avLst>
              <a:gd name="adj" fmla="val 12816"/>
            </a:avLst>
          </a:prstGeom>
          <a:noFill/>
          <a:ln w="12700">
            <a:solidFill>
              <a:schemeClr val="tx1"/>
            </a:solidFill>
            <a:prstDash val="solid"/>
          </a:ln>
        </p:spPr>
        <p:style>
          <a:lnRef idx="1">
            <a:schemeClr val="accent1"/>
          </a:lnRef>
          <a:fillRef idx="0">
            <a:schemeClr val="accent1"/>
          </a:fillRef>
          <a:effectRef idx="0">
            <a:schemeClr val="accent1"/>
          </a:effectRef>
          <a:fontRef idx="minor">
            <a:schemeClr val="tx1"/>
          </a:fontRef>
        </p:style>
        <p:txBody>
          <a:bodyPr wrap="square" rtlCol="0" anchor="ctr"/>
          <a:lstStyle/>
          <a:p>
            <a:pPr marL="171450" indent="-171450">
              <a:buFont typeface="Arial" panose="020B0604020202020204" pitchFamily="34" charset="0"/>
              <a:buChar char="•"/>
            </a:pPr>
            <a:r>
              <a:rPr kumimoji="1" lang="zh-CN" altLang="en-US" sz="1200">
                <a:solidFill>
                  <a:srgbClr val="080808"/>
                </a:solidFill>
                <a:latin typeface="微软雅黑" panose="020B0503020204020204" pitchFamily="34" charset="-122"/>
                <a:ea typeface="微软雅黑" panose="020B0503020204020204" pitchFamily="34" charset="-122"/>
              </a:rPr>
              <a:t>维拉苷酶</a:t>
            </a:r>
            <a:r>
              <a:rPr kumimoji="1" lang="en-US" altLang="zh-CN" sz="1200">
                <a:solidFill>
                  <a:srgbClr val="080808"/>
                </a:solidFill>
                <a:latin typeface="微软雅黑" panose="020B0503020204020204" pitchFamily="34" charset="-122"/>
                <a:ea typeface="微软雅黑" panose="020B0503020204020204" pitchFamily="34" charset="-122"/>
              </a:rPr>
              <a:t>α</a:t>
            </a:r>
            <a:r>
              <a:rPr kumimoji="1" lang="zh-CN" altLang="en-US" sz="1200">
                <a:solidFill>
                  <a:srgbClr val="080808"/>
                </a:solidFill>
                <a:latin typeface="微软雅黑" panose="020B0503020204020204" pitchFamily="34" charset="-122"/>
                <a:ea typeface="微软雅黑" panose="020B0503020204020204" pitchFamily="34" charset="-122"/>
              </a:rPr>
              <a:t>是戈谢病必要治疗药物之一 </a:t>
            </a:r>
            <a:endParaRPr kumimoji="1" lang="zh-CN" altLang="en-US" sz="1200" dirty="0">
              <a:solidFill>
                <a:srgbClr val="080808"/>
              </a:solidFill>
              <a:latin typeface="微软雅黑" panose="020B0503020204020204" pitchFamily="34" charset="-122"/>
              <a:ea typeface="微软雅黑" panose="020B0503020204020204" pitchFamily="34" charset="-122"/>
            </a:endParaRPr>
          </a:p>
        </p:txBody>
      </p:sp>
      <p:sp>
        <p:nvSpPr>
          <p:cNvPr id="32" name="Text Placeholder 5">
            <a:extLst>
              <a:ext uri="{FF2B5EF4-FFF2-40B4-BE49-F238E27FC236}">
                <a16:creationId xmlns:a16="http://schemas.microsoft.com/office/drawing/2014/main" id="{F3C01454-4DE1-4BBE-A2F1-966E6AE859B5}"/>
              </a:ext>
            </a:extLst>
          </p:cNvPr>
          <p:cNvSpPr txBox="1">
            <a:spLocks/>
          </p:cNvSpPr>
          <p:nvPr/>
        </p:nvSpPr>
        <p:spPr>
          <a:xfrm>
            <a:off x="3073274" y="4691733"/>
            <a:ext cx="8719124" cy="1181095"/>
          </a:xfrm>
          <a:prstGeom prst="rect">
            <a:avLst/>
          </a:prstGeom>
        </p:spPr>
        <p:txBody>
          <a:bodyPr anchor="ctr"/>
          <a:lstStyle>
            <a:lvl1pPr marL="457071" indent="-457071" algn="l" defTabSz="914150" rtl="0" eaLnBrk="1" latinLnBrk="0" hangingPunct="1">
              <a:spcBef>
                <a:spcPct val="20000"/>
              </a:spcBef>
              <a:buClr>
                <a:srgbClr val="4C4948"/>
              </a:buClr>
              <a:buFont typeface="Arial" panose="020B0604020202020204" pitchFamily="34" charset="0"/>
              <a:buChar char="•"/>
              <a:defRPr kumimoji="1" sz="2000" b="0" i="0" kern="1200" baseline="0">
                <a:solidFill>
                  <a:schemeClr val="tx1"/>
                </a:solidFill>
                <a:latin typeface="Calibri" panose="020F0502020204030204" pitchFamily="34" charset="0"/>
                <a:ea typeface="メイリオ" pitchFamily="50" charset="-128"/>
                <a:cs typeface="Calibri" pitchFamily="34" charset="0"/>
              </a:defRPr>
            </a:lvl1pPr>
            <a:lvl2pPr marL="742745" indent="-285677" algn="l" defTabSz="914150" rtl="0" eaLnBrk="1" latinLnBrk="0" hangingPunct="1">
              <a:spcBef>
                <a:spcPct val="20000"/>
              </a:spcBef>
              <a:buClr>
                <a:srgbClr val="4C4948"/>
              </a:buClr>
              <a:buFont typeface="Arial" pitchFamily="34" charset="0"/>
              <a:buChar char="–"/>
              <a:defRPr kumimoji="1" sz="2000" b="0" i="0" kern="1200">
                <a:solidFill>
                  <a:schemeClr val="tx1"/>
                </a:solidFill>
                <a:latin typeface="Calibri" panose="020F0502020204030204" pitchFamily="34" charset="0"/>
                <a:ea typeface="メイリオ" pitchFamily="50" charset="-128"/>
                <a:cs typeface="Calibri" pitchFamily="34" charset="0"/>
              </a:defRPr>
            </a:lvl2pPr>
            <a:lvl3pPr marL="1142690" indent="-228541" algn="l" defTabSz="914150" rtl="0" eaLnBrk="1" latinLnBrk="0" hangingPunct="1">
              <a:spcBef>
                <a:spcPct val="20000"/>
              </a:spcBef>
              <a:buClr>
                <a:srgbClr val="4C4948"/>
              </a:buClr>
              <a:buFont typeface="Arial" pitchFamily="34" charset="0"/>
              <a:buChar char="•"/>
              <a:defRPr kumimoji="1" sz="2000" b="0" i="0" kern="1200" baseline="0">
                <a:solidFill>
                  <a:schemeClr val="tx1"/>
                </a:solidFill>
                <a:latin typeface="Calibri" panose="020F0502020204030204" pitchFamily="34" charset="0"/>
                <a:ea typeface="メイリオ" pitchFamily="50" charset="-128"/>
                <a:cs typeface="Calibri" pitchFamily="34" charset="0"/>
              </a:defRPr>
            </a:lvl3pPr>
            <a:lvl4pPr marL="1599760" indent="-228541" algn="l" defTabSz="914150" rtl="0" eaLnBrk="1" latinLnBrk="0" hangingPunct="1">
              <a:spcBef>
                <a:spcPct val="20000"/>
              </a:spcBef>
              <a:buClr>
                <a:srgbClr val="4C4948"/>
              </a:buClr>
              <a:buFont typeface="Arial" pitchFamily="34" charset="0"/>
              <a:buChar char="–"/>
              <a:defRPr kumimoji="1" sz="2000" b="0" i="0" kern="1200" baseline="0">
                <a:solidFill>
                  <a:schemeClr val="tx1"/>
                </a:solidFill>
                <a:latin typeface="Calibri" panose="020F0502020204030204" pitchFamily="34" charset="0"/>
                <a:ea typeface="メイリオ" pitchFamily="50" charset="-128"/>
                <a:cs typeface="Calibri" pitchFamily="34" charset="0"/>
              </a:defRPr>
            </a:lvl4pPr>
            <a:lvl5pPr marL="2056831" indent="-228541" algn="l" defTabSz="914150" rtl="0" eaLnBrk="1" latinLnBrk="0" hangingPunct="1">
              <a:spcBef>
                <a:spcPct val="20000"/>
              </a:spcBef>
              <a:buClr>
                <a:srgbClr val="4C4948"/>
              </a:buClr>
              <a:buFont typeface="Arial" pitchFamily="34" charset="0"/>
              <a:buChar char="»"/>
              <a:defRPr kumimoji="1" sz="2000" b="0" i="0" kern="1200" baseline="0">
                <a:solidFill>
                  <a:schemeClr val="tx1"/>
                </a:solidFill>
                <a:latin typeface="Calibri" panose="020F0502020204030204" pitchFamily="34" charset="0"/>
                <a:ea typeface="メイリオ" pitchFamily="50" charset="-128"/>
                <a:cs typeface="Calibri" pitchFamily="34" charset="0"/>
              </a:defRPr>
            </a:lvl5pPr>
            <a:lvl6pPr marL="2513910"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0986"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8061"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5142"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buNone/>
            </a:pPr>
            <a:r>
              <a:rPr lang="en-US" altLang="zh-CN" sz="1600" i="1" dirty="0">
                <a:latin typeface="微软雅黑" panose="020B0503020204020204" pitchFamily="34" charset="-122"/>
                <a:ea typeface="微软雅黑" panose="020B0503020204020204" pitchFamily="34" charset="-122"/>
              </a:rPr>
              <a:t>“</a:t>
            </a:r>
            <a:r>
              <a:rPr lang="zh-CN" altLang="en-US" sz="1600" i="1" dirty="0">
                <a:latin typeface="微软雅黑" panose="020B0503020204020204" pitchFamily="34" charset="-122"/>
                <a:ea typeface="微软雅黑" panose="020B0503020204020204" pitchFamily="34" charset="-122"/>
              </a:rPr>
              <a:t>本品已完成的关键临床研究包括初治人群及既往经伊米苷酶治疗人群，证实了</a:t>
            </a:r>
            <a:r>
              <a:rPr lang="zh-CN" altLang="en-US" sz="1600" b="1" i="1" dirty="0">
                <a:latin typeface="微软雅黑" panose="020B0503020204020204" pitchFamily="34" charset="-122"/>
                <a:ea typeface="微软雅黑" panose="020B0503020204020204" pitchFamily="34" charset="-122"/>
              </a:rPr>
              <a:t>本品在</a:t>
            </a:r>
            <a:r>
              <a:rPr lang="en-US" altLang="zh-CN" sz="1600" b="1" i="1" dirty="0">
                <a:latin typeface="微软雅黑" panose="020B0503020204020204" pitchFamily="34" charset="-122"/>
                <a:ea typeface="微软雅黑" panose="020B0503020204020204" pitchFamily="34" charset="-122"/>
              </a:rPr>
              <a:t>1</a:t>
            </a:r>
            <a:r>
              <a:rPr lang="zh-CN" altLang="en-US" sz="1600" b="1" i="1" dirty="0">
                <a:latin typeface="微软雅黑" panose="020B0503020204020204" pitchFamily="34" charset="-122"/>
                <a:ea typeface="微软雅黑" panose="020B0503020204020204" pitchFamily="34" charset="-122"/>
              </a:rPr>
              <a:t>型戈谢病初治患者及经伊米苷酶治疗转至维拉苷酶</a:t>
            </a:r>
            <a:r>
              <a:rPr lang="en-US" altLang="zh-CN" sz="1600" b="1" i="1" dirty="0">
                <a:latin typeface="微软雅黑" panose="020B0503020204020204" pitchFamily="34" charset="-122"/>
                <a:ea typeface="微软雅黑" panose="020B0503020204020204" pitchFamily="34" charset="-122"/>
              </a:rPr>
              <a:t>α</a:t>
            </a:r>
            <a:r>
              <a:rPr lang="zh-CN" altLang="en-US" sz="1600" b="1" i="1" dirty="0">
                <a:latin typeface="微软雅黑" panose="020B0503020204020204" pitchFamily="34" charset="-122"/>
                <a:ea typeface="微软雅黑" panose="020B0503020204020204" pitchFamily="34" charset="-122"/>
              </a:rPr>
              <a:t>人群的有效性</a:t>
            </a:r>
            <a:r>
              <a:rPr lang="zh-CN" altLang="en-US" sz="1600" i="1" dirty="0">
                <a:latin typeface="微软雅黑" panose="020B0503020204020204" pitchFamily="34" charset="-122"/>
                <a:ea typeface="微软雅黑" panose="020B0503020204020204" pitchFamily="34" charset="-122"/>
              </a:rPr>
              <a:t>；此外后续开展的</a:t>
            </a:r>
            <a:r>
              <a:rPr lang="zh-CN" altLang="en-US" sz="1600" b="1" i="1" dirty="0">
                <a:latin typeface="微软雅黑" panose="020B0503020204020204" pitchFamily="34" charset="-122"/>
                <a:ea typeface="微软雅黑" panose="020B0503020204020204" pitchFamily="34" charset="-122"/>
              </a:rPr>
              <a:t>扩展性研究进一步证实了本品疗效的可持续性</a:t>
            </a:r>
            <a:r>
              <a:rPr lang="en-US" altLang="zh-CN" sz="1600" b="1" i="1" dirty="0">
                <a:latin typeface="微软雅黑" panose="020B0503020204020204" pitchFamily="34" charset="-122"/>
                <a:ea typeface="微软雅黑" panose="020B0503020204020204" pitchFamily="34" charset="-122"/>
              </a:rPr>
              <a:t>”</a:t>
            </a:r>
            <a:endParaRPr lang="en-US" altLang="zh-CN" sz="1600" i="1" dirty="0">
              <a:latin typeface="微软雅黑" panose="020B0503020204020204" pitchFamily="34" charset="-122"/>
              <a:ea typeface="微软雅黑" panose="020B0503020204020204" pitchFamily="34" charset="-122"/>
            </a:endParaRPr>
          </a:p>
          <a:p>
            <a:pPr marL="0" indent="0" algn="ctr">
              <a:buNone/>
            </a:pPr>
            <a:endParaRPr lang="zh-CN" altLang="en-US" sz="1600" b="1" i="1" dirty="0">
              <a:solidFill>
                <a:srgbClr val="1A1918"/>
              </a:solidFill>
              <a:latin typeface="微软雅黑" panose="020B0503020204020204" pitchFamily="34" charset="-122"/>
              <a:ea typeface="微软雅黑" panose="020B0503020204020204" pitchFamily="34" charset="-122"/>
            </a:endParaRPr>
          </a:p>
        </p:txBody>
      </p:sp>
      <p:sp>
        <p:nvSpPr>
          <p:cNvPr id="34" name="文本框 33">
            <a:extLst>
              <a:ext uri="{FF2B5EF4-FFF2-40B4-BE49-F238E27FC236}">
                <a16:creationId xmlns:a16="http://schemas.microsoft.com/office/drawing/2014/main" id="{6A5C9154-8FB2-4E01-83F0-E3D105E719CB}"/>
              </a:ext>
            </a:extLst>
          </p:cNvPr>
          <p:cNvSpPr txBox="1"/>
          <p:nvPr/>
        </p:nvSpPr>
        <p:spPr>
          <a:xfrm>
            <a:off x="713421" y="4874867"/>
            <a:ext cx="1961783" cy="653064"/>
          </a:xfrm>
          <a:prstGeom prst="rect">
            <a:avLst/>
          </a:prstGeom>
          <a:noFill/>
        </p:spPr>
        <p:txBody>
          <a:bodyPr wrap="square">
            <a:spAutoFit/>
          </a:bodyPr>
          <a:lstStyle/>
          <a:p>
            <a:pPr marL="0" indent="0" algn="ctr">
              <a:buNone/>
            </a:pPr>
            <a:r>
              <a:rPr lang="zh-CN" altLang="en-US" sz="1800" b="1" dirty="0">
                <a:solidFill>
                  <a:schemeClr val="bg1"/>
                </a:solidFill>
                <a:latin typeface="微软雅黑" panose="020B0503020204020204" pitchFamily="34" charset="-122"/>
                <a:ea typeface="微软雅黑" panose="020B0503020204020204" pitchFamily="34" charset="-122"/>
              </a:rPr>
              <a:t>维拉苷酶</a:t>
            </a:r>
            <a:r>
              <a:rPr lang="en-US" altLang="zh-CN" sz="1800" b="1" dirty="0">
                <a:solidFill>
                  <a:schemeClr val="bg1"/>
                </a:solidFill>
                <a:latin typeface="微软雅黑" panose="020B0503020204020204" pitchFamily="34" charset="-122"/>
                <a:ea typeface="微软雅黑" panose="020B0503020204020204" pitchFamily="34" charset="-122"/>
              </a:rPr>
              <a:t>α《</a:t>
            </a:r>
            <a:r>
              <a:rPr lang="zh-CN" altLang="en-US" sz="1800" b="1" dirty="0">
                <a:solidFill>
                  <a:schemeClr val="bg1"/>
                </a:solidFill>
                <a:latin typeface="微软雅黑" panose="020B0503020204020204" pitchFamily="34" charset="-122"/>
                <a:ea typeface="微软雅黑" panose="020B0503020204020204" pitchFamily="34" charset="-122"/>
              </a:rPr>
              <a:t>技术评审报告</a:t>
            </a:r>
            <a:r>
              <a:rPr lang="en-US" altLang="zh-CN" sz="1800" b="1" dirty="0">
                <a:solidFill>
                  <a:schemeClr val="bg1"/>
                </a:solidFill>
                <a:latin typeface="微软雅黑" panose="020B0503020204020204" pitchFamily="34" charset="-122"/>
                <a:ea typeface="微软雅黑" panose="020B0503020204020204" pitchFamily="34" charset="-122"/>
              </a:rPr>
              <a:t>》</a:t>
            </a:r>
          </a:p>
        </p:txBody>
      </p:sp>
      <p:sp>
        <p:nvSpPr>
          <p:cNvPr id="35" name="矩形: 圆角 34">
            <a:extLst>
              <a:ext uri="{FF2B5EF4-FFF2-40B4-BE49-F238E27FC236}">
                <a16:creationId xmlns:a16="http://schemas.microsoft.com/office/drawing/2014/main" id="{BB0A5B3B-BFCD-4959-A47B-1DF98833CD9A}"/>
              </a:ext>
            </a:extLst>
          </p:cNvPr>
          <p:cNvSpPr/>
          <p:nvPr/>
        </p:nvSpPr>
        <p:spPr>
          <a:xfrm>
            <a:off x="3050027" y="4260406"/>
            <a:ext cx="8742371" cy="1881987"/>
          </a:xfrm>
          <a:prstGeom prst="roundRect">
            <a:avLst>
              <a:gd name="adj" fmla="val 12677"/>
            </a:avLst>
          </a:prstGeom>
          <a:noFill/>
          <a:ln w="19050">
            <a:solidFill>
              <a:schemeClr val="accent2"/>
            </a:soli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wrap="none" rtlCol="0" anchor="ctr"/>
          <a:lstStyle/>
          <a:p>
            <a:pPr algn="ctr"/>
            <a:endParaRPr kumimoji="1" lang="zh-CN" altLang="en-US" dirty="0"/>
          </a:p>
        </p:txBody>
      </p:sp>
      <p:sp>
        <p:nvSpPr>
          <p:cNvPr id="39" name="文本框 38">
            <a:extLst>
              <a:ext uri="{FF2B5EF4-FFF2-40B4-BE49-F238E27FC236}">
                <a16:creationId xmlns:a16="http://schemas.microsoft.com/office/drawing/2014/main" id="{BF1A0219-97E9-445A-9137-5C216F3BA3AC}"/>
              </a:ext>
            </a:extLst>
          </p:cNvPr>
          <p:cNvSpPr txBox="1"/>
          <p:nvPr/>
        </p:nvSpPr>
        <p:spPr>
          <a:xfrm>
            <a:off x="587375" y="6416675"/>
            <a:ext cx="11391809" cy="369332"/>
          </a:xfrm>
          <a:prstGeom prst="rect">
            <a:avLst/>
          </a:prstGeom>
          <a:noFill/>
        </p:spPr>
        <p:txBody>
          <a:bodyPr wrap="square">
            <a:spAutoFit/>
          </a:bodyPr>
          <a:lstStyle/>
          <a:p>
            <a:r>
              <a:rPr lang="zh-CN" altLang="en-US" sz="600" dirty="0">
                <a:latin typeface="微软雅黑" panose="020B0503020204020204" pitchFamily="34" charset="-122"/>
                <a:ea typeface="微软雅黑" panose="020B0503020204020204" pitchFamily="34" charset="-122"/>
              </a:rPr>
              <a:t>参考文献：</a:t>
            </a:r>
            <a:r>
              <a:rPr lang="en-US" sz="600" dirty="0">
                <a:latin typeface="微软雅黑" panose="020B0503020204020204" pitchFamily="34" charset="-122"/>
                <a:ea typeface="微软雅黑" panose="020B0503020204020204" pitchFamily="34" charset="-122"/>
              </a:rPr>
              <a:t>1. </a:t>
            </a:r>
            <a:r>
              <a:rPr lang="zh-CN" altLang="en-US" sz="600" dirty="0">
                <a:latin typeface="微软雅黑" panose="020B0503020204020204" pitchFamily="34" charset="-122"/>
                <a:ea typeface="微软雅黑" panose="020B0503020204020204" pitchFamily="34" charset="-122"/>
              </a:rPr>
              <a:t>中国儿童戈谢病诊治专家共识（</a:t>
            </a:r>
            <a:r>
              <a:rPr lang="en-US" altLang="zh-CN" sz="600" dirty="0">
                <a:latin typeface="微软雅黑" panose="020B0503020204020204" pitchFamily="34" charset="-122"/>
                <a:ea typeface="微软雅黑" panose="020B0503020204020204" pitchFamily="34" charset="-122"/>
              </a:rPr>
              <a:t>2021</a:t>
            </a:r>
            <a:r>
              <a:rPr lang="zh-CN" altLang="en-US" sz="600" dirty="0">
                <a:latin typeface="微软雅黑" panose="020B0503020204020204" pitchFamily="34" charset="-122"/>
                <a:ea typeface="微软雅黑" panose="020B0503020204020204" pitchFamily="34" charset="-122"/>
              </a:rPr>
              <a:t>）</a:t>
            </a:r>
            <a:r>
              <a:rPr lang="en-US" altLang="zh-CN" sz="600" dirty="0">
                <a:latin typeface="微软雅黑" panose="020B0503020204020204" pitchFamily="34" charset="-122"/>
                <a:ea typeface="微软雅黑" panose="020B0503020204020204" pitchFamily="34" charset="-122"/>
              </a:rPr>
              <a:t>;</a:t>
            </a:r>
            <a:r>
              <a:rPr lang="zh-CN" altLang="en-US" sz="600" dirty="0">
                <a:latin typeface="微软雅黑" panose="020B0503020204020204" pitchFamily="34" charset="-122"/>
                <a:ea typeface="微软雅黑" panose="020B0503020204020204" pitchFamily="34" charset="-122"/>
              </a:rPr>
              <a:t> </a:t>
            </a:r>
            <a:r>
              <a:rPr lang="en-US" altLang="zh-CN" sz="600" dirty="0">
                <a:latin typeface="微软雅黑" panose="020B0503020204020204" pitchFamily="34" charset="-122"/>
                <a:ea typeface="微软雅黑" panose="020B0503020204020204" pitchFamily="34" charset="-122"/>
              </a:rPr>
              <a:t>2. </a:t>
            </a:r>
            <a:r>
              <a:rPr lang="zh-CN" altLang="en-US" sz="600" dirty="0">
                <a:latin typeface="微软雅黑" panose="020B0503020204020204" pitchFamily="34" charset="-122"/>
                <a:ea typeface="微软雅黑" panose="020B0503020204020204" pitchFamily="34" charset="-122"/>
              </a:rPr>
              <a:t>中国戈谢病多学科诊疗专家共识</a:t>
            </a:r>
            <a:r>
              <a:rPr lang="en-US" altLang="zh-CN" sz="600" dirty="0">
                <a:latin typeface="微软雅黑" panose="020B0503020204020204" pitchFamily="34" charset="-122"/>
                <a:ea typeface="微软雅黑" panose="020B0503020204020204" pitchFamily="34" charset="-122"/>
              </a:rPr>
              <a:t>; 3. </a:t>
            </a:r>
            <a:r>
              <a:rPr lang="zh-CN" altLang="en-US" sz="600" dirty="0">
                <a:latin typeface="微软雅黑" panose="020B0503020204020204" pitchFamily="34" charset="-122"/>
                <a:ea typeface="微软雅黑" panose="020B0503020204020204" pitchFamily="34" charset="-122"/>
              </a:rPr>
              <a:t>美国戈谢病治疗指南</a:t>
            </a:r>
            <a:r>
              <a:rPr lang="en-US" altLang="zh-CN" sz="600" dirty="0">
                <a:latin typeface="微软雅黑" panose="020B0503020204020204" pitchFamily="34" charset="-122"/>
                <a:ea typeface="微软雅黑" panose="020B0503020204020204" pitchFamily="34" charset="-122"/>
              </a:rPr>
              <a:t>; 5.</a:t>
            </a:r>
            <a:r>
              <a:rPr lang="zh-CN" altLang="en-US" sz="600" dirty="0">
                <a:latin typeface="微软雅黑" panose="020B0503020204020204" pitchFamily="34" charset="-122"/>
                <a:ea typeface="微软雅黑" panose="020B0503020204020204" pitchFamily="34" charset="-122"/>
              </a:rPr>
              <a:t>维拉苷酶</a:t>
            </a:r>
            <a:r>
              <a:rPr lang="en-US" altLang="zh-CN" sz="600" dirty="0">
                <a:latin typeface="微软雅黑" panose="020B0503020204020204" pitchFamily="34" charset="-122"/>
                <a:ea typeface="微软雅黑" panose="020B0503020204020204" pitchFamily="34" charset="-122"/>
              </a:rPr>
              <a:t>α</a:t>
            </a:r>
            <a:r>
              <a:rPr lang="zh-CN" altLang="en-US" sz="600" dirty="0">
                <a:latin typeface="微软雅黑" panose="020B0503020204020204" pitchFamily="34" charset="-122"/>
                <a:ea typeface="微软雅黑" panose="020B0503020204020204" pitchFamily="34" charset="-122"/>
              </a:rPr>
              <a:t>技术评审报告</a:t>
            </a:r>
            <a:endParaRPr lang="en-US" altLang="zh-CN" sz="600" dirty="0">
              <a:latin typeface="微软雅黑" panose="020B0503020204020204" pitchFamily="34" charset="-122"/>
              <a:ea typeface="微软雅黑" panose="020B0503020204020204" pitchFamily="34" charset="-122"/>
            </a:endParaRPr>
          </a:p>
          <a:p>
            <a:r>
              <a:rPr lang="en-US" altLang="zh-CN" sz="600" dirty="0">
                <a:latin typeface="微软雅黑" panose="020B0503020204020204" pitchFamily="34" charset="-122"/>
                <a:ea typeface="微软雅黑" panose="020B0503020204020204" pitchFamily="34" charset="-122"/>
              </a:rPr>
              <a:t> </a:t>
            </a:r>
            <a:endParaRPr lang="zh-CN" altLang="en-US" sz="600" dirty="0">
              <a:latin typeface="微软雅黑" panose="020B0503020204020204" pitchFamily="34" charset="-122"/>
              <a:ea typeface="微软雅黑" panose="020B0503020204020204" pitchFamily="34" charset="-122"/>
            </a:endParaRPr>
          </a:p>
          <a:p>
            <a:endParaRPr lang="en-US" sz="600" dirty="0">
              <a:latin typeface="微软雅黑" panose="020B0503020204020204" pitchFamily="34" charset="-122"/>
              <a:ea typeface="微软雅黑" panose="020B0503020204020204" pitchFamily="34" charset="-122"/>
            </a:endParaRPr>
          </a:p>
        </p:txBody>
      </p:sp>
      <p:sp>
        <p:nvSpPr>
          <p:cNvPr id="2" name="Text Placeholder 5">
            <a:extLst>
              <a:ext uri="{FF2B5EF4-FFF2-40B4-BE49-F238E27FC236}">
                <a16:creationId xmlns:a16="http://schemas.microsoft.com/office/drawing/2014/main" id="{E4BE691E-F190-F571-47B2-D9018C3E2854}"/>
              </a:ext>
            </a:extLst>
          </p:cNvPr>
          <p:cNvSpPr txBox="1">
            <a:spLocks/>
          </p:cNvSpPr>
          <p:nvPr/>
        </p:nvSpPr>
        <p:spPr>
          <a:xfrm>
            <a:off x="1038225" y="817217"/>
            <a:ext cx="10853738" cy="451205"/>
          </a:xfrm>
          <a:prstGeom prst="rect">
            <a:avLst/>
          </a:prstGeom>
        </p:spPr>
        <p:txBody>
          <a:bodyPr/>
          <a:lstStyle>
            <a:lvl1pPr marL="457071" indent="-457071" algn="l" defTabSz="914150" rtl="0" eaLnBrk="1" latinLnBrk="0" hangingPunct="1">
              <a:spcBef>
                <a:spcPct val="20000"/>
              </a:spcBef>
              <a:buClr>
                <a:srgbClr val="4C4948"/>
              </a:buClr>
              <a:buFont typeface="Arial" panose="020B0604020202020204" pitchFamily="34" charset="0"/>
              <a:buChar char="•"/>
              <a:defRPr kumimoji="1" sz="2000" b="0" i="0" kern="1200" baseline="0">
                <a:solidFill>
                  <a:schemeClr val="tx1"/>
                </a:solidFill>
                <a:latin typeface="Calibri" panose="020F0502020204030204" pitchFamily="34" charset="0"/>
                <a:ea typeface="メイリオ" pitchFamily="50" charset="-128"/>
                <a:cs typeface="Calibri" pitchFamily="34" charset="0"/>
              </a:defRPr>
            </a:lvl1pPr>
            <a:lvl2pPr marL="742745" indent="-285677" algn="l" defTabSz="914150" rtl="0" eaLnBrk="1" latinLnBrk="0" hangingPunct="1">
              <a:spcBef>
                <a:spcPct val="20000"/>
              </a:spcBef>
              <a:buClr>
                <a:srgbClr val="4C4948"/>
              </a:buClr>
              <a:buFont typeface="Arial" pitchFamily="34" charset="0"/>
              <a:buChar char="–"/>
              <a:defRPr kumimoji="1" sz="2000" b="0" i="0" kern="1200">
                <a:solidFill>
                  <a:schemeClr val="tx1"/>
                </a:solidFill>
                <a:latin typeface="Calibri" panose="020F0502020204030204" pitchFamily="34" charset="0"/>
                <a:ea typeface="メイリオ" pitchFamily="50" charset="-128"/>
                <a:cs typeface="Calibri" pitchFamily="34" charset="0"/>
              </a:defRPr>
            </a:lvl2pPr>
            <a:lvl3pPr marL="1142690" indent="-228541" algn="l" defTabSz="914150" rtl="0" eaLnBrk="1" latinLnBrk="0" hangingPunct="1">
              <a:spcBef>
                <a:spcPct val="20000"/>
              </a:spcBef>
              <a:buClr>
                <a:srgbClr val="4C4948"/>
              </a:buClr>
              <a:buFont typeface="Arial" pitchFamily="34" charset="0"/>
              <a:buChar char="•"/>
              <a:defRPr kumimoji="1" sz="2000" b="0" i="0" kern="1200" baseline="0">
                <a:solidFill>
                  <a:schemeClr val="tx1"/>
                </a:solidFill>
                <a:latin typeface="Calibri" panose="020F0502020204030204" pitchFamily="34" charset="0"/>
                <a:ea typeface="メイリオ" pitchFamily="50" charset="-128"/>
                <a:cs typeface="Calibri" pitchFamily="34" charset="0"/>
              </a:defRPr>
            </a:lvl3pPr>
            <a:lvl4pPr marL="1599760" indent="-228541" algn="l" defTabSz="914150" rtl="0" eaLnBrk="1" latinLnBrk="0" hangingPunct="1">
              <a:spcBef>
                <a:spcPct val="20000"/>
              </a:spcBef>
              <a:buClr>
                <a:srgbClr val="4C4948"/>
              </a:buClr>
              <a:buFont typeface="Arial" pitchFamily="34" charset="0"/>
              <a:buChar char="–"/>
              <a:defRPr kumimoji="1" sz="2000" b="0" i="0" kern="1200" baseline="0">
                <a:solidFill>
                  <a:schemeClr val="tx1"/>
                </a:solidFill>
                <a:latin typeface="Calibri" panose="020F0502020204030204" pitchFamily="34" charset="0"/>
                <a:ea typeface="メイリオ" pitchFamily="50" charset="-128"/>
                <a:cs typeface="Calibri" pitchFamily="34" charset="0"/>
              </a:defRPr>
            </a:lvl4pPr>
            <a:lvl5pPr marL="2056831" indent="-228541" algn="l" defTabSz="914150" rtl="0" eaLnBrk="1" latinLnBrk="0" hangingPunct="1">
              <a:spcBef>
                <a:spcPct val="20000"/>
              </a:spcBef>
              <a:buClr>
                <a:srgbClr val="4C4948"/>
              </a:buClr>
              <a:buFont typeface="Arial" pitchFamily="34" charset="0"/>
              <a:buChar char="»"/>
              <a:defRPr kumimoji="1" sz="2000" b="0" i="0" kern="1200" baseline="0">
                <a:solidFill>
                  <a:schemeClr val="tx1"/>
                </a:solidFill>
                <a:latin typeface="Calibri" panose="020F0502020204030204" pitchFamily="34" charset="0"/>
                <a:ea typeface="メイリオ" pitchFamily="50" charset="-128"/>
                <a:cs typeface="Calibri" pitchFamily="34" charset="0"/>
              </a:defRPr>
            </a:lvl5pPr>
            <a:lvl6pPr marL="2513910"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0986"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8061"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5142"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buNone/>
            </a:pPr>
            <a:r>
              <a:rPr lang="en-US" altLang="zh-CN" sz="1800" b="1" dirty="0">
                <a:solidFill>
                  <a:srgbClr val="1A1918"/>
                </a:solidFill>
                <a:latin typeface="微软雅黑" panose="020B0503020204020204" pitchFamily="34" charset="-122"/>
                <a:ea typeface="微软雅黑" panose="020B0503020204020204" pitchFamily="34" charset="-122"/>
              </a:rPr>
              <a:t>——</a:t>
            </a:r>
            <a:r>
              <a:rPr lang="zh-CN" altLang="en-US" sz="1800" b="1" dirty="0">
                <a:solidFill>
                  <a:srgbClr val="1A1918"/>
                </a:solidFill>
                <a:latin typeface="微软雅黑" panose="020B0503020204020204" pitchFamily="34" charset="-122"/>
                <a:ea typeface="微软雅黑" panose="020B0503020204020204" pitchFamily="34" charset="-122"/>
              </a:rPr>
              <a:t>维拉苷酶</a:t>
            </a:r>
            <a:r>
              <a:rPr lang="en-US" altLang="zh-CN" sz="1800" b="1" dirty="0">
                <a:solidFill>
                  <a:srgbClr val="1A1918"/>
                </a:solidFill>
                <a:latin typeface="微软雅黑" panose="020B0503020204020204" pitchFamily="34" charset="-122"/>
                <a:ea typeface="微软雅黑" panose="020B0503020204020204" pitchFamily="34" charset="-122"/>
              </a:rPr>
              <a:t>α</a:t>
            </a:r>
            <a:r>
              <a:rPr lang="zh-CN" altLang="en-US" sz="1800" b="1" dirty="0">
                <a:solidFill>
                  <a:srgbClr val="1A1918"/>
                </a:solidFill>
                <a:latin typeface="微软雅黑" panose="020B0503020204020204" pitchFamily="34" charset="-122"/>
                <a:ea typeface="微软雅黑" panose="020B0503020204020204" pitchFamily="34" charset="-122"/>
              </a:rPr>
              <a:t>获得</a:t>
            </a:r>
            <a:r>
              <a:rPr lang="zh-CN" altLang="en-US" sz="2400" b="1" dirty="0">
                <a:solidFill>
                  <a:srgbClr val="C00000"/>
                </a:solidFill>
                <a:latin typeface="微软雅黑" panose="020B0503020204020204" pitchFamily="34" charset="-122"/>
                <a:ea typeface="微软雅黑" panose="020B0503020204020204" pitchFamily="34" charset="-122"/>
              </a:rPr>
              <a:t>国内外临床指南推荐</a:t>
            </a:r>
            <a:r>
              <a:rPr lang="zh-CN" altLang="en-US" sz="1800" b="1" dirty="0">
                <a:solidFill>
                  <a:srgbClr val="1A1918"/>
                </a:solidFill>
                <a:latin typeface="微软雅黑" panose="020B0503020204020204" pitchFamily="34" charset="-122"/>
                <a:ea typeface="微软雅黑" panose="020B0503020204020204" pitchFamily="34" charset="-122"/>
              </a:rPr>
              <a:t>并得到药监评审部门的认可</a:t>
            </a:r>
            <a:endParaRPr lang="zh-CN" altLang="en-US" sz="2400" b="1" dirty="0">
              <a:solidFill>
                <a:srgbClr val="C00000"/>
              </a:solidFill>
              <a:latin typeface="微软雅黑" panose="020B0503020204020204" pitchFamily="34" charset="-122"/>
              <a:ea typeface="微软雅黑" panose="020B0503020204020204" pitchFamily="34" charset="-122"/>
            </a:endParaRPr>
          </a:p>
          <a:p>
            <a:pPr marL="0" indent="0">
              <a:buNone/>
            </a:pPr>
            <a:endParaRPr lang="en-JP" sz="1800" b="1" dirty="0">
              <a:solidFill>
                <a:srgbClr val="1A1918"/>
              </a:solidFill>
              <a:latin typeface="微软雅黑" panose="020B0503020204020204" pitchFamily="34" charset="-122"/>
              <a:ea typeface="微软雅黑" panose="020B0503020204020204" pitchFamily="34" charset="-122"/>
            </a:endParaRPr>
          </a:p>
        </p:txBody>
      </p:sp>
    </p:spTree>
    <p:extLst>
      <p:ext uri="{BB962C8B-B14F-4D97-AF65-F5344CB8AC3E}">
        <p14:creationId xmlns:p14="http://schemas.microsoft.com/office/powerpoint/2010/main" val="332433310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灯片编号占位符 6">
            <a:extLst>
              <a:ext uri="{FF2B5EF4-FFF2-40B4-BE49-F238E27FC236}">
                <a16:creationId xmlns:a16="http://schemas.microsoft.com/office/drawing/2014/main" id="{99545714-DB56-7803-434F-14BC28FCDEEE}"/>
              </a:ext>
            </a:extLst>
          </p:cNvPr>
          <p:cNvSpPr>
            <a:spLocks noGrp="1"/>
          </p:cNvSpPr>
          <p:nvPr>
            <p:ph type="sldNum" sz="quarter" idx="4"/>
          </p:nvPr>
        </p:nvSpPr>
        <p:spPr/>
        <p:txBody>
          <a:bodyPr/>
          <a:lstStyle/>
          <a:p>
            <a:pPr defTabSz="1218810"/>
            <a:fld id="{E9B57936-92EF-4126-AE48-1D9D36D15E98}" type="slidenum">
              <a:rPr lang="ja-JP" altLang="en-US" smtClean="0"/>
              <a:pPr defTabSz="1218810"/>
              <a:t>9</a:t>
            </a:fld>
            <a:endParaRPr lang="ja-JP" altLang="en-US"/>
          </a:p>
        </p:txBody>
      </p:sp>
      <p:sp>
        <p:nvSpPr>
          <p:cNvPr id="12" name="Title 3">
            <a:extLst>
              <a:ext uri="{FF2B5EF4-FFF2-40B4-BE49-F238E27FC236}">
                <a16:creationId xmlns:a16="http://schemas.microsoft.com/office/drawing/2014/main" id="{CD052CD0-0FAE-4B10-79EC-68394FDD55FF}"/>
              </a:ext>
            </a:extLst>
          </p:cNvPr>
          <p:cNvSpPr>
            <a:spLocks noGrp="1"/>
          </p:cNvSpPr>
          <p:nvPr>
            <p:ph type="title"/>
          </p:nvPr>
        </p:nvSpPr>
        <p:spPr>
          <a:xfrm>
            <a:off x="1038225" y="209230"/>
            <a:ext cx="9508106" cy="685801"/>
          </a:xfrm>
        </p:spPr>
        <p:txBody>
          <a:bodyPr>
            <a:normAutofit/>
          </a:bodyPr>
          <a:lstStyle/>
          <a:p>
            <a:r>
              <a:rPr lang="zh-CN" altLang="en-US" sz="3200" dirty="0">
                <a:solidFill>
                  <a:srgbClr val="1A1918"/>
                </a:solidFill>
                <a:latin typeface="Arial" panose="020B0604020202020204" pitchFamily="34" charset="0"/>
                <a:ea typeface="微软雅黑" panose="020B0503020204020204" pitchFamily="34" charset="-122"/>
              </a:rPr>
              <a:t>创新性</a:t>
            </a:r>
          </a:p>
        </p:txBody>
      </p:sp>
      <p:sp>
        <p:nvSpPr>
          <p:cNvPr id="13" name="椭圆 12">
            <a:extLst>
              <a:ext uri="{FF2B5EF4-FFF2-40B4-BE49-F238E27FC236}">
                <a16:creationId xmlns:a16="http://schemas.microsoft.com/office/drawing/2014/main" id="{5C09C18A-DD2A-F546-FC7D-3C5457D3D547}"/>
              </a:ext>
            </a:extLst>
          </p:cNvPr>
          <p:cNvSpPr/>
          <p:nvPr/>
        </p:nvSpPr>
        <p:spPr>
          <a:xfrm>
            <a:off x="616186" y="315174"/>
            <a:ext cx="360000" cy="360000"/>
          </a:xfrm>
          <a:prstGeom prst="ellipse">
            <a:avLst/>
          </a:prstGeom>
          <a:solidFill>
            <a:schemeClr val="accent2">
              <a:lumMod val="75000"/>
            </a:schemeClr>
          </a:solidFill>
          <a:ln w="28575">
            <a:noFill/>
          </a:ln>
        </p:spPr>
        <p:style>
          <a:lnRef idx="1">
            <a:schemeClr val="accent1"/>
          </a:lnRef>
          <a:fillRef idx="0">
            <a:schemeClr val="accent1"/>
          </a:fillRef>
          <a:effectRef idx="0">
            <a:schemeClr val="accent1"/>
          </a:effectRef>
          <a:fontRef idx="minor">
            <a:schemeClr val="tx1"/>
          </a:fontRef>
        </p:style>
        <p:txBody>
          <a:bodyPr wrap="none" rtlCol="0" anchor="ctr"/>
          <a:lstStyle/>
          <a:p>
            <a:pPr algn="ctr"/>
            <a:r>
              <a:rPr kumimoji="1" lang="en-US" altLang="zh-CN" sz="1600" b="1" dirty="0">
                <a:solidFill>
                  <a:schemeClr val="bg1"/>
                </a:solidFill>
                <a:latin typeface="Arial" panose="020B0604020202020204" pitchFamily="34" charset="0"/>
                <a:ea typeface="微软雅黑" panose="020B0503020204020204" pitchFamily="34" charset="-122"/>
              </a:rPr>
              <a:t>5</a:t>
            </a:r>
            <a:endParaRPr kumimoji="1" lang="zh-CN" altLang="en-US" sz="1600" b="1" dirty="0">
              <a:solidFill>
                <a:schemeClr val="bg1"/>
              </a:solidFill>
              <a:latin typeface="Arial" panose="020B0604020202020204" pitchFamily="34" charset="0"/>
              <a:ea typeface="微软雅黑" panose="020B0503020204020204" pitchFamily="34" charset="-122"/>
            </a:endParaRPr>
          </a:p>
        </p:txBody>
      </p:sp>
      <p:sp>
        <p:nvSpPr>
          <p:cNvPr id="14" name="Text Placeholder 5">
            <a:extLst>
              <a:ext uri="{FF2B5EF4-FFF2-40B4-BE49-F238E27FC236}">
                <a16:creationId xmlns:a16="http://schemas.microsoft.com/office/drawing/2014/main" id="{78365E64-6FF8-B10E-5729-72558B1435C5}"/>
              </a:ext>
            </a:extLst>
          </p:cNvPr>
          <p:cNvSpPr txBox="1">
            <a:spLocks/>
          </p:cNvSpPr>
          <p:nvPr/>
        </p:nvSpPr>
        <p:spPr>
          <a:xfrm>
            <a:off x="1038225" y="817217"/>
            <a:ext cx="10853738" cy="451205"/>
          </a:xfrm>
          <a:prstGeom prst="rect">
            <a:avLst/>
          </a:prstGeom>
        </p:spPr>
        <p:txBody>
          <a:bodyPr/>
          <a:lstStyle>
            <a:lvl1pPr marL="457071" indent="-457071" algn="l" defTabSz="914150" rtl="0" eaLnBrk="1" latinLnBrk="0" hangingPunct="1">
              <a:spcBef>
                <a:spcPct val="20000"/>
              </a:spcBef>
              <a:buClr>
                <a:srgbClr val="4C4948"/>
              </a:buClr>
              <a:buFont typeface="Arial" panose="020B0604020202020204" pitchFamily="34" charset="0"/>
              <a:buChar char="•"/>
              <a:defRPr kumimoji="1" sz="2000" b="0" i="0" kern="1200" baseline="0">
                <a:solidFill>
                  <a:schemeClr val="tx1"/>
                </a:solidFill>
                <a:latin typeface="Calibri" panose="020F0502020204030204" pitchFamily="34" charset="0"/>
                <a:ea typeface="メイリオ" pitchFamily="50" charset="-128"/>
                <a:cs typeface="Calibri" pitchFamily="34" charset="0"/>
              </a:defRPr>
            </a:lvl1pPr>
            <a:lvl2pPr marL="742745" indent="-285677" algn="l" defTabSz="914150" rtl="0" eaLnBrk="1" latinLnBrk="0" hangingPunct="1">
              <a:spcBef>
                <a:spcPct val="20000"/>
              </a:spcBef>
              <a:buClr>
                <a:srgbClr val="4C4948"/>
              </a:buClr>
              <a:buFont typeface="Arial" pitchFamily="34" charset="0"/>
              <a:buChar char="–"/>
              <a:defRPr kumimoji="1" sz="2000" b="0" i="0" kern="1200">
                <a:solidFill>
                  <a:schemeClr val="tx1"/>
                </a:solidFill>
                <a:latin typeface="Calibri" panose="020F0502020204030204" pitchFamily="34" charset="0"/>
                <a:ea typeface="メイリオ" pitchFamily="50" charset="-128"/>
                <a:cs typeface="Calibri" pitchFamily="34" charset="0"/>
              </a:defRPr>
            </a:lvl2pPr>
            <a:lvl3pPr marL="1142690" indent="-228541" algn="l" defTabSz="914150" rtl="0" eaLnBrk="1" latinLnBrk="0" hangingPunct="1">
              <a:spcBef>
                <a:spcPct val="20000"/>
              </a:spcBef>
              <a:buClr>
                <a:srgbClr val="4C4948"/>
              </a:buClr>
              <a:buFont typeface="Arial" pitchFamily="34" charset="0"/>
              <a:buChar char="•"/>
              <a:defRPr kumimoji="1" sz="2000" b="0" i="0" kern="1200" baseline="0">
                <a:solidFill>
                  <a:schemeClr val="tx1"/>
                </a:solidFill>
                <a:latin typeface="Calibri" panose="020F0502020204030204" pitchFamily="34" charset="0"/>
                <a:ea typeface="メイリオ" pitchFamily="50" charset="-128"/>
                <a:cs typeface="Calibri" pitchFamily="34" charset="0"/>
              </a:defRPr>
            </a:lvl3pPr>
            <a:lvl4pPr marL="1599760" indent="-228541" algn="l" defTabSz="914150" rtl="0" eaLnBrk="1" latinLnBrk="0" hangingPunct="1">
              <a:spcBef>
                <a:spcPct val="20000"/>
              </a:spcBef>
              <a:buClr>
                <a:srgbClr val="4C4948"/>
              </a:buClr>
              <a:buFont typeface="Arial" pitchFamily="34" charset="0"/>
              <a:buChar char="–"/>
              <a:defRPr kumimoji="1" sz="2000" b="0" i="0" kern="1200" baseline="0">
                <a:solidFill>
                  <a:schemeClr val="tx1"/>
                </a:solidFill>
                <a:latin typeface="Calibri" panose="020F0502020204030204" pitchFamily="34" charset="0"/>
                <a:ea typeface="メイリオ" pitchFamily="50" charset="-128"/>
                <a:cs typeface="Calibri" pitchFamily="34" charset="0"/>
              </a:defRPr>
            </a:lvl4pPr>
            <a:lvl5pPr marL="2056831" indent="-228541" algn="l" defTabSz="914150" rtl="0" eaLnBrk="1" latinLnBrk="0" hangingPunct="1">
              <a:spcBef>
                <a:spcPct val="20000"/>
              </a:spcBef>
              <a:buClr>
                <a:srgbClr val="4C4948"/>
              </a:buClr>
              <a:buFont typeface="Arial" pitchFamily="34" charset="0"/>
              <a:buChar char="»"/>
              <a:defRPr kumimoji="1" sz="2000" b="0" i="0" kern="1200" baseline="0">
                <a:solidFill>
                  <a:schemeClr val="tx1"/>
                </a:solidFill>
                <a:latin typeface="Calibri" panose="020F0502020204030204" pitchFamily="34" charset="0"/>
                <a:ea typeface="メイリオ" pitchFamily="50" charset="-128"/>
                <a:cs typeface="Calibri" pitchFamily="34" charset="0"/>
              </a:defRPr>
            </a:lvl5pPr>
            <a:lvl6pPr marL="2513910"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0986"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8061"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5142"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buNone/>
            </a:pPr>
            <a:r>
              <a:rPr lang="en-US" altLang="zh-CN" sz="1800" b="1" dirty="0">
                <a:solidFill>
                  <a:srgbClr val="1A1918"/>
                </a:solidFill>
                <a:latin typeface="微软雅黑" panose="020B0503020204020204" pitchFamily="34" charset="-122"/>
                <a:ea typeface="微软雅黑" panose="020B0503020204020204" pitchFamily="34" charset="-122"/>
              </a:rPr>
              <a:t>——</a:t>
            </a:r>
            <a:r>
              <a:rPr lang="zh-CN" altLang="en-US" sz="1800" b="1" dirty="0">
                <a:solidFill>
                  <a:srgbClr val="1A1918"/>
                </a:solidFill>
                <a:latin typeface="Arial" panose="020B0604020202020204" pitchFamily="34" charset="0"/>
                <a:ea typeface="微软雅黑" panose="020B0503020204020204" pitchFamily="34" charset="-122"/>
              </a:rPr>
              <a:t>维拉苷酶</a:t>
            </a:r>
            <a:r>
              <a:rPr lang="en-US" altLang="zh-CN" sz="1800" b="1" dirty="0">
                <a:solidFill>
                  <a:srgbClr val="1A1918"/>
                </a:solidFill>
                <a:latin typeface="Arial" panose="020B0604020202020204" pitchFamily="34" charset="0"/>
                <a:ea typeface="微软雅黑" panose="020B0503020204020204" pitchFamily="34" charset="-122"/>
              </a:rPr>
              <a:t>α</a:t>
            </a:r>
            <a:r>
              <a:rPr lang="zh-CN" altLang="en-US" sz="1800" b="1" dirty="0">
                <a:solidFill>
                  <a:srgbClr val="1A1918"/>
                </a:solidFill>
                <a:latin typeface="Arial" panose="020B0604020202020204" pitchFamily="34" charset="0"/>
                <a:ea typeface="微软雅黑" panose="020B0503020204020204" pitchFamily="34" charset="-122"/>
              </a:rPr>
              <a:t>具有</a:t>
            </a:r>
            <a:r>
              <a:rPr lang="zh-CN" altLang="en-US" sz="2400" b="1" dirty="0">
                <a:solidFill>
                  <a:srgbClr val="C00000"/>
                </a:solidFill>
                <a:latin typeface="微软雅黑" panose="020B0503020204020204" pitchFamily="34" charset="-122"/>
                <a:ea typeface="微软雅黑" panose="020B0503020204020204" pitchFamily="34" charset="-122"/>
              </a:rPr>
              <a:t>与天然葡萄糖脑苷脂酶完全相同的氨基酸序列</a:t>
            </a:r>
            <a:r>
              <a:rPr lang="zh-CN" altLang="en-US" sz="1800" b="1" dirty="0">
                <a:solidFill>
                  <a:srgbClr val="1A1918"/>
                </a:solidFill>
                <a:latin typeface="Arial" panose="020B0604020202020204" pitchFamily="34" charset="0"/>
                <a:ea typeface="微软雅黑" panose="020B0503020204020204" pitchFamily="34" charset="-122"/>
              </a:rPr>
              <a:t>，免疫原性低</a:t>
            </a:r>
            <a:endParaRPr lang="en-JP" sz="1800" b="1" dirty="0">
              <a:solidFill>
                <a:srgbClr val="1A1918"/>
              </a:solidFill>
              <a:latin typeface="微软雅黑" panose="020B0503020204020204" pitchFamily="34" charset="-122"/>
              <a:ea typeface="微软雅黑" panose="020B0503020204020204" pitchFamily="34" charset="-122"/>
            </a:endParaRPr>
          </a:p>
        </p:txBody>
      </p:sp>
      <p:grpSp>
        <p:nvGrpSpPr>
          <p:cNvPr id="153" name="组合 152">
            <a:extLst>
              <a:ext uri="{FF2B5EF4-FFF2-40B4-BE49-F238E27FC236}">
                <a16:creationId xmlns:a16="http://schemas.microsoft.com/office/drawing/2014/main" id="{99399924-17CF-5B68-3434-3865ADC99D17}"/>
              </a:ext>
            </a:extLst>
          </p:cNvPr>
          <p:cNvGrpSpPr/>
          <p:nvPr/>
        </p:nvGrpSpPr>
        <p:grpSpPr>
          <a:xfrm>
            <a:off x="6382761" y="1395059"/>
            <a:ext cx="5257198" cy="2430322"/>
            <a:chOff x="6419340" y="1387906"/>
            <a:chExt cx="5257198" cy="2555388"/>
          </a:xfrm>
        </p:grpSpPr>
        <p:sp>
          <p:nvSpPr>
            <p:cNvPr id="36" name="Rounded Rectangle 18">
              <a:extLst>
                <a:ext uri="{FF2B5EF4-FFF2-40B4-BE49-F238E27FC236}">
                  <a16:creationId xmlns:a16="http://schemas.microsoft.com/office/drawing/2014/main" id="{F867FFA7-6C5A-717E-7248-7AA2CDDA3103}"/>
                </a:ext>
              </a:extLst>
            </p:cNvPr>
            <p:cNvSpPr/>
            <p:nvPr/>
          </p:nvSpPr>
          <p:spPr>
            <a:xfrm>
              <a:off x="8284981" y="2202387"/>
              <a:ext cx="1474946" cy="1540411"/>
            </a:xfrm>
            <a:prstGeom prst="roundRect">
              <a:avLst/>
            </a:prstGeom>
            <a:solidFill>
              <a:schemeClr val="bg1">
                <a:lumMod val="95000"/>
              </a:schemeClr>
            </a:solidFill>
            <a:ln w="9525">
              <a:noFill/>
              <a:miter lim="800000"/>
            </a:ln>
            <a:effectLst>
              <a:outerShdw blurRad="50800" dist="38100" dir="2700000" algn="tl" rotWithShape="0">
                <a:prstClr val="black">
                  <a:alpha val="40000"/>
                </a:prstClr>
              </a:outerShdw>
            </a:effectLst>
          </p:spPr>
          <p:txBody>
            <a:bodyPr wrap="square" lIns="36000" tIns="36000" rIns="36000" bIns="36000" anchor="ctr" anchorCtr="0">
              <a:noAutofit/>
            </a:bodyPr>
            <a:lstStyle/>
            <a:p>
              <a:pPr algn="ctr" rtl="0"/>
              <a:endParaRPr lang="el-GR" altLang="zh-CN" sz="1200" b="1" dirty="0">
                <a:solidFill>
                  <a:srgbClr val="1A1918"/>
                </a:solidFill>
                <a:latin typeface="微软雅黑" panose="020B0503020204020204" pitchFamily="34" charset="-122"/>
                <a:ea typeface="微软雅黑" panose="020B0503020204020204" pitchFamily="34" charset="-122"/>
                <a:sym typeface="微软雅黑" panose="020B0503020204020204" pitchFamily="34" charset="-122"/>
              </a:endParaRPr>
            </a:p>
          </p:txBody>
        </p:sp>
        <p:sp>
          <p:nvSpPr>
            <p:cNvPr id="37" name="Rounded Rectangle 18">
              <a:extLst>
                <a:ext uri="{FF2B5EF4-FFF2-40B4-BE49-F238E27FC236}">
                  <a16:creationId xmlns:a16="http://schemas.microsoft.com/office/drawing/2014/main" id="{C640D876-4288-2552-4757-48BDF4391ACA}"/>
                </a:ext>
              </a:extLst>
            </p:cNvPr>
            <p:cNvSpPr/>
            <p:nvPr/>
          </p:nvSpPr>
          <p:spPr>
            <a:xfrm>
              <a:off x="9961001" y="2202387"/>
              <a:ext cx="1512032" cy="1540411"/>
            </a:xfrm>
            <a:prstGeom prst="roundRect">
              <a:avLst/>
            </a:prstGeom>
            <a:solidFill>
              <a:schemeClr val="bg1">
                <a:lumMod val="95000"/>
              </a:schemeClr>
            </a:solidFill>
            <a:ln w="9525">
              <a:noFill/>
              <a:miter lim="800000"/>
            </a:ln>
            <a:effectLst>
              <a:outerShdw blurRad="50800" dist="38100" dir="2700000" algn="tl" rotWithShape="0">
                <a:prstClr val="black">
                  <a:alpha val="40000"/>
                </a:prstClr>
              </a:outerShdw>
            </a:effectLst>
          </p:spPr>
          <p:txBody>
            <a:bodyPr wrap="square" lIns="36000" tIns="36000" rIns="36000" bIns="36000" anchor="ctr" anchorCtr="0">
              <a:noAutofit/>
            </a:bodyPr>
            <a:lstStyle/>
            <a:p>
              <a:pPr algn="ctr" rtl="0"/>
              <a:endParaRPr lang="el-GR" altLang="zh-CN" sz="1200" b="1" dirty="0">
                <a:solidFill>
                  <a:srgbClr val="1A1918"/>
                </a:solidFill>
                <a:latin typeface="微软雅黑" panose="020B0503020204020204" pitchFamily="34" charset="-122"/>
                <a:ea typeface="微软雅黑" panose="020B0503020204020204" pitchFamily="34" charset="-122"/>
                <a:sym typeface="微软雅黑" panose="020B0503020204020204" pitchFamily="34" charset="-122"/>
              </a:endParaRPr>
            </a:p>
          </p:txBody>
        </p:sp>
        <p:sp>
          <p:nvSpPr>
            <p:cNvPr id="38" name="Rounded Rectangle 18">
              <a:extLst>
                <a:ext uri="{FF2B5EF4-FFF2-40B4-BE49-F238E27FC236}">
                  <a16:creationId xmlns:a16="http://schemas.microsoft.com/office/drawing/2014/main" id="{C206E2D7-108B-F435-18E8-7A2C8FD60611}"/>
                </a:ext>
              </a:extLst>
            </p:cNvPr>
            <p:cNvSpPr/>
            <p:nvPr/>
          </p:nvSpPr>
          <p:spPr>
            <a:xfrm>
              <a:off x="6612283" y="2202387"/>
              <a:ext cx="1474946" cy="1540411"/>
            </a:xfrm>
            <a:prstGeom prst="roundRect">
              <a:avLst/>
            </a:prstGeom>
            <a:solidFill>
              <a:schemeClr val="bg1">
                <a:lumMod val="95000"/>
              </a:schemeClr>
            </a:solidFill>
            <a:ln w="9525">
              <a:noFill/>
              <a:miter lim="800000"/>
            </a:ln>
            <a:effectLst>
              <a:outerShdw blurRad="50800" dist="38100" dir="2700000" algn="tl" rotWithShape="0">
                <a:prstClr val="black">
                  <a:alpha val="40000"/>
                </a:prstClr>
              </a:outerShdw>
            </a:effectLst>
          </p:spPr>
          <p:txBody>
            <a:bodyPr wrap="square" lIns="36000" tIns="36000" rIns="36000" bIns="36000" anchor="ctr" anchorCtr="0">
              <a:noAutofit/>
            </a:bodyPr>
            <a:lstStyle/>
            <a:p>
              <a:pPr algn="ctr" rtl="0"/>
              <a:endParaRPr lang="el-GR" altLang="zh-CN" sz="1200" b="1" dirty="0">
                <a:solidFill>
                  <a:srgbClr val="1A1918"/>
                </a:solidFill>
                <a:latin typeface="微软雅黑" panose="020B0503020204020204" pitchFamily="34" charset="-122"/>
                <a:ea typeface="微软雅黑" panose="020B0503020204020204" pitchFamily="34" charset="-122"/>
                <a:sym typeface="微软雅黑" panose="020B0503020204020204" pitchFamily="34" charset="-122"/>
              </a:endParaRPr>
            </a:p>
          </p:txBody>
        </p:sp>
        <p:sp>
          <p:nvSpPr>
            <p:cNvPr id="39" name="矩形: 圆角 38">
              <a:extLst>
                <a:ext uri="{FF2B5EF4-FFF2-40B4-BE49-F238E27FC236}">
                  <a16:creationId xmlns:a16="http://schemas.microsoft.com/office/drawing/2014/main" id="{77144DB1-B9E1-5857-A370-3410ED750E94}"/>
                </a:ext>
              </a:extLst>
            </p:cNvPr>
            <p:cNvSpPr/>
            <p:nvPr/>
          </p:nvSpPr>
          <p:spPr>
            <a:xfrm>
              <a:off x="6420538" y="1391285"/>
              <a:ext cx="5256000" cy="2552009"/>
            </a:xfrm>
            <a:prstGeom prst="roundRect">
              <a:avLst>
                <a:gd name="adj" fmla="val 0"/>
              </a:avLst>
            </a:prstGeom>
            <a:noFill/>
            <a:ln w="19050">
              <a:solidFill>
                <a:schemeClr val="accent2"/>
              </a:soli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wrap="none" rtlCol="0" anchor="ctr"/>
            <a:lstStyle/>
            <a:p>
              <a:pPr algn="ctr"/>
              <a:endParaRPr kumimoji="1" lang="zh-CN" altLang="en-US" dirty="0">
                <a:latin typeface="Arial" panose="020B0604020202020204" pitchFamily="34" charset="0"/>
                <a:ea typeface="微软雅黑" panose="020B0503020204020204" pitchFamily="34" charset="-122"/>
              </a:endParaRPr>
            </a:p>
          </p:txBody>
        </p:sp>
        <p:sp>
          <p:nvSpPr>
            <p:cNvPr id="40" name="矩形 39">
              <a:extLst>
                <a:ext uri="{FF2B5EF4-FFF2-40B4-BE49-F238E27FC236}">
                  <a16:creationId xmlns:a16="http://schemas.microsoft.com/office/drawing/2014/main" id="{8B11E730-19CA-7A05-2E5F-9F23884A3964}"/>
                </a:ext>
              </a:extLst>
            </p:cNvPr>
            <p:cNvSpPr/>
            <p:nvPr/>
          </p:nvSpPr>
          <p:spPr>
            <a:xfrm>
              <a:off x="6419340" y="1387906"/>
              <a:ext cx="5256000" cy="363292"/>
            </a:xfrm>
            <a:prstGeom prst="rect">
              <a:avLst/>
            </a:prstGeom>
            <a:solidFill>
              <a:schemeClr val="accent2">
                <a:lumMod val="75000"/>
              </a:schemeClr>
            </a:solidFill>
            <a:ln w="28575">
              <a:noFill/>
            </a:ln>
          </p:spPr>
          <p:style>
            <a:lnRef idx="1">
              <a:schemeClr val="accent1"/>
            </a:lnRef>
            <a:fillRef idx="0">
              <a:schemeClr val="accent1"/>
            </a:fillRef>
            <a:effectRef idx="0">
              <a:schemeClr val="accent1"/>
            </a:effectRef>
            <a:fontRef idx="minor">
              <a:schemeClr val="tx1"/>
            </a:fontRef>
          </p:style>
          <p:txBody>
            <a:bodyPr wrap="none" rtlCol="0" anchor="ctr"/>
            <a:lstStyle/>
            <a:p>
              <a:pPr algn="ctr"/>
              <a:r>
                <a:rPr kumimoji="1" lang="zh-CN" altLang="en-US" sz="1600" b="1" dirty="0">
                  <a:solidFill>
                    <a:schemeClr val="bg1"/>
                  </a:solidFill>
                  <a:latin typeface="Arial" panose="020B0604020202020204" pitchFamily="34" charset="0"/>
                  <a:ea typeface="微软雅黑" panose="020B0503020204020204" pitchFamily="34" charset="-122"/>
                </a:rPr>
                <a:t>疗效安全性优势</a:t>
              </a:r>
            </a:p>
          </p:txBody>
        </p:sp>
        <p:sp>
          <p:nvSpPr>
            <p:cNvPr id="41" name="文本框 40">
              <a:extLst>
                <a:ext uri="{FF2B5EF4-FFF2-40B4-BE49-F238E27FC236}">
                  <a16:creationId xmlns:a16="http://schemas.microsoft.com/office/drawing/2014/main" id="{1094F008-4685-D4D8-148E-6224A99DE56C}"/>
                </a:ext>
              </a:extLst>
            </p:cNvPr>
            <p:cNvSpPr txBox="1"/>
            <p:nvPr/>
          </p:nvSpPr>
          <p:spPr>
            <a:xfrm>
              <a:off x="6542463" y="1846843"/>
              <a:ext cx="5105453" cy="310591"/>
            </a:xfrm>
            <a:prstGeom prst="rect">
              <a:avLst/>
            </a:prstGeom>
            <a:noFill/>
          </p:spPr>
          <p:txBody>
            <a:bodyPr wrap="square">
              <a:spAutoFit/>
            </a:bodyPr>
            <a:lstStyle/>
            <a:p>
              <a:pPr marL="285750" lvl="1" indent="-285750">
                <a:buFont typeface="Wingdings" panose="05000000000000000000" pitchFamily="2" charset="2"/>
                <a:buChar char="l"/>
              </a:pPr>
              <a:r>
                <a:rPr lang="zh-CN" altLang="en-US" sz="1400" dirty="0">
                  <a:solidFill>
                    <a:srgbClr val="1A1918"/>
                  </a:solidFill>
                  <a:latin typeface="Arial" panose="020B0604020202020204" pitchFamily="34" charset="0"/>
                  <a:ea typeface="微软雅黑" panose="020B0503020204020204" pitchFamily="34" charset="-122"/>
                </a:rPr>
                <a:t>免疫原性低，不易产生药物抗体，可持续有效</a:t>
              </a:r>
              <a:endParaRPr lang="en-US" altLang="zh-CN" sz="1400" dirty="0">
                <a:solidFill>
                  <a:srgbClr val="1A1918"/>
                </a:solidFill>
                <a:latin typeface="Arial" panose="020B0604020202020204" pitchFamily="34" charset="0"/>
                <a:ea typeface="微软雅黑" panose="020B0503020204020204" pitchFamily="34" charset="-122"/>
              </a:endParaRPr>
            </a:p>
          </p:txBody>
        </p:sp>
        <p:sp>
          <p:nvSpPr>
            <p:cNvPr id="42" name="Rectangle 35">
              <a:extLst>
                <a:ext uri="{FF2B5EF4-FFF2-40B4-BE49-F238E27FC236}">
                  <a16:creationId xmlns:a16="http://schemas.microsoft.com/office/drawing/2014/main" id="{B65195B4-E3E4-3AA5-ADDD-19A48CD988F4}"/>
                </a:ext>
              </a:extLst>
            </p:cNvPr>
            <p:cNvSpPr/>
            <p:nvPr/>
          </p:nvSpPr>
          <p:spPr>
            <a:xfrm>
              <a:off x="6605481" y="3352715"/>
              <a:ext cx="1505424" cy="323615"/>
            </a:xfrm>
            <a:prstGeom prst="rect">
              <a:avLst/>
            </a:prstGeom>
          </p:spPr>
          <p:txBody>
            <a:bodyPr wrap="square">
              <a:spAutoFit/>
            </a:bodyPr>
            <a:lstStyle/>
            <a:p>
              <a:pPr algn="ctr"/>
              <a:r>
                <a:rPr lang="zh-CN" altLang="en-US" sz="1400" b="1" dirty="0">
                  <a:solidFill>
                    <a:srgbClr val="C00000"/>
                  </a:solidFill>
                  <a:latin typeface="Arial" panose="020B0604020202020204" pitchFamily="34" charset="0"/>
                  <a:ea typeface="微软雅黑" panose="020B0503020204020204" pitchFamily="34" charset="-122"/>
                </a:rPr>
                <a:t>免疫原性低</a:t>
              </a:r>
              <a:endParaRPr lang="en-US" altLang="zh-CN" sz="1400" b="1" dirty="0">
                <a:solidFill>
                  <a:srgbClr val="C00000"/>
                </a:solidFill>
                <a:latin typeface="Arial" panose="020B0604020202020204" pitchFamily="34" charset="0"/>
                <a:ea typeface="微软雅黑" panose="020B0503020204020204" pitchFamily="34" charset="-122"/>
              </a:endParaRPr>
            </a:p>
          </p:txBody>
        </p:sp>
        <p:sp>
          <p:nvSpPr>
            <p:cNvPr id="43" name="Rectangle 37">
              <a:extLst>
                <a:ext uri="{FF2B5EF4-FFF2-40B4-BE49-F238E27FC236}">
                  <a16:creationId xmlns:a16="http://schemas.microsoft.com/office/drawing/2014/main" id="{813EFAE8-0D97-1517-200D-A6DA20239632}"/>
                </a:ext>
              </a:extLst>
            </p:cNvPr>
            <p:cNvSpPr/>
            <p:nvPr/>
          </p:nvSpPr>
          <p:spPr>
            <a:xfrm>
              <a:off x="8260865" y="3352715"/>
              <a:ext cx="1505424" cy="323615"/>
            </a:xfrm>
            <a:prstGeom prst="rect">
              <a:avLst/>
            </a:prstGeom>
          </p:spPr>
          <p:txBody>
            <a:bodyPr wrap="square">
              <a:spAutoFit/>
            </a:bodyPr>
            <a:lstStyle/>
            <a:p>
              <a:pPr algn="ctr"/>
              <a:r>
                <a:rPr lang="zh-CN" altLang="en-US" sz="1400" b="1" dirty="0">
                  <a:solidFill>
                    <a:srgbClr val="C00000"/>
                  </a:solidFill>
                  <a:latin typeface="Arial" panose="020B0604020202020204" pitchFamily="34" charset="0"/>
                  <a:ea typeface="微软雅黑" panose="020B0503020204020204" pitchFamily="34" charset="-122"/>
                </a:rPr>
                <a:t>输注反应少</a:t>
              </a:r>
              <a:endParaRPr lang="en-US" altLang="zh-CN" sz="1400" b="1" dirty="0">
                <a:solidFill>
                  <a:srgbClr val="C00000"/>
                </a:solidFill>
                <a:latin typeface="Arial" panose="020B0604020202020204" pitchFamily="34" charset="0"/>
                <a:ea typeface="微软雅黑" panose="020B0503020204020204" pitchFamily="34" charset="-122"/>
              </a:endParaRPr>
            </a:p>
          </p:txBody>
        </p:sp>
        <p:sp>
          <p:nvSpPr>
            <p:cNvPr id="44" name="Rectangle 36">
              <a:extLst>
                <a:ext uri="{FF2B5EF4-FFF2-40B4-BE49-F238E27FC236}">
                  <a16:creationId xmlns:a16="http://schemas.microsoft.com/office/drawing/2014/main" id="{E2C4E2DC-0CB9-1B9D-AEDD-C6DF37568037}"/>
                </a:ext>
              </a:extLst>
            </p:cNvPr>
            <p:cNvSpPr/>
            <p:nvPr/>
          </p:nvSpPr>
          <p:spPr>
            <a:xfrm>
              <a:off x="9964885" y="3220890"/>
              <a:ext cx="1474947" cy="550145"/>
            </a:xfrm>
            <a:prstGeom prst="rect">
              <a:avLst/>
            </a:prstGeom>
          </p:spPr>
          <p:txBody>
            <a:bodyPr wrap="square">
              <a:spAutoFit/>
            </a:bodyPr>
            <a:lstStyle/>
            <a:p>
              <a:pPr algn="ctr"/>
              <a:r>
                <a:rPr lang="zh-CN" altLang="en-US" sz="1400" b="1" dirty="0">
                  <a:solidFill>
                    <a:srgbClr val="C00000"/>
                  </a:solidFill>
                  <a:latin typeface="Arial" panose="020B0604020202020204" pitchFamily="34" charset="0"/>
                  <a:ea typeface="微软雅黑" panose="020B0503020204020204" pitchFamily="34" charset="-122"/>
                </a:rPr>
                <a:t>不易产生药物抗体，可持续有效</a:t>
              </a:r>
              <a:endParaRPr lang="en-US" altLang="zh-CN" sz="1400" b="1" dirty="0">
                <a:solidFill>
                  <a:srgbClr val="C00000"/>
                </a:solidFill>
                <a:latin typeface="Arial" panose="020B0604020202020204" pitchFamily="34" charset="0"/>
                <a:ea typeface="微软雅黑" panose="020B0503020204020204" pitchFamily="34" charset="-122"/>
              </a:endParaRPr>
            </a:p>
          </p:txBody>
        </p:sp>
        <p:grpSp>
          <p:nvGrpSpPr>
            <p:cNvPr id="45" name="组合 44">
              <a:extLst>
                <a:ext uri="{FF2B5EF4-FFF2-40B4-BE49-F238E27FC236}">
                  <a16:creationId xmlns:a16="http://schemas.microsoft.com/office/drawing/2014/main" id="{22B4D2F9-25F3-6C44-C56E-997F0A0EB1C5}"/>
                </a:ext>
              </a:extLst>
            </p:cNvPr>
            <p:cNvGrpSpPr/>
            <p:nvPr/>
          </p:nvGrpSpPr>
          <p:grpSpPr>
            <a:xfrm>
              <a:off x="7436302" y="2461172"/>
              <a:ext cx="472509" cy="749835"/>
              <a:chOff x="1" y="1695671"/>
              <a:chExt cx="642102" cy="672392"/>
            </a:xfrm>
            <a:solidFill>
              <a:schemeClr val="accent1">
                <a:lumMod val="20000"/>
                <a:lumOff val="80000"/>
              </a:schemeClr>
            </a:solidFill>
            <a:effectLst>
              <a:outerShdw blurRad="50800" dist="38100" dir="2700000" algn="tl" rotWithShape="0">
                <a:prstClr val="black">
                  <a:alpha val="40000"/>
                </a:prstClr>
              </a:outerShdw>
            </a:effectLst>
          </p:grpSpPr>
          <p:sp>
            <p:nvSpPr>
              <p:cNvPr id="46" name="等腰三角形 45">
                <a:extLst>
                  <a:ext uri="{FF2B5EF4-FFF2-40B4-BE49-F238E27FC236}">
                    <a16:creationId xmlns:a16="http://schemas.microsoft.com/office/drawing/2014/main" id="{B33B6139-C2F6-4FBD-BB67-ECFB00F9622A}"/>
                  </a:ext>
                </a:extLst>
              </p:cNvPr>
              <p:cNvSpPr/>
              <p:nvPr/>
            </p:nvSpPr>
            <p:spPr>
              <a:xfrm flipV="1">
                <a:off x="1" y="1695671"/>
                <a:ext cx="642102" cy="360000"/>
              </a:xfrm>
              <a:prstGeom prst="triangle">
                <a:avLst/>
              </a:prstGeom>
              <a:grpFill/>
              <a:ln w="28575">
                <a:noFill/>
              </a:ln>
            </p:spPr>
            <p:style>
              <a:lnRef idx="1">
                <a:schemeClr val="accent1"/>
              </a:lnRef>
              <a:fillRef idx="0">
                <a:schemeClr val="accent1"/>
              </a:fillRef>
              <a:effectRef idx="0">
                <a:schemeClr val="accent1"/>
              </a:effectRef>
              <a:fontRef idx="minor">
                <a:schemeClr val="tx1"/>
              </a:fontRef>
            </p:style>
            <p:txBody>
              <a:bodyPr wrap="none" rtlCol="0" anchor="ctr"/>
              <a:lstStyle/>
              <a:p>
                <a:pPr algn="ctr"/>
                <a:endParaRPr kumimoji="1" lang="zh-CN" altLang="en-US" dirty="0"/>
              </a:p>
            </p:txBody>
          </p:sp>
          <p:sp>
            <p:nvSpPr>
              <p:cNvPr id="47" name="等腰三角形 46">
                <a:extLst>
                  <a:ext uri="{FF2B5EF4-FFF2-40B4-BE49-F238E27FC236}">
                    <a16:creationId xmlns:a16="http://schemas.microsoft.com/office/drawing/2014/main" id="{A7976B74-2C8F-703B-AC48-BEB7BDB27F7D}"/>
                  </a:ext>
                </a:extLst>
              </p:cNvPr>
              <p:cNvSpPr/>
              <p:nvPr/>
            </p:nvSpPr>
            <p:spPr>
              <a:xfrm flipV="1">
                <a:off x="1" y="1829894"/>
                <a:ext cx="642102" cy="360000"/>
              </a:xfrm>
              <a:prstGeom prst="triangle">
                <a:avLst/>
              </a:prstGeom>
              <a:grpFill/>
              <a:ln w="28575">
                <a:noFill/>
              </a:ln>
            </p:spPr>
            <p:style>
              <a:lnRef idx="1">
                <a:schemeClr val="accent1"/>
              </a:lnRef>
              <a:fillRef idx="0">
                <a:schemeClr val="accent1"/>
              </a:fillRef>
              <a:effectRef idx="0">
                <a:schemeClr val="accent1"/>
              </a:effectRef>
              <a:fontRef idx="minor">
                <a:schemeClr val="tx1"/>
              </a:fontRef>
            </p:style>
            <p:txBody>
              <a:bodyPr wrap="none" rtlCol="0" anchor="ctr"/>
              <a:lstStyle/>
              <a:p>
                <a:pPr algn="ctr"/>
                <a:endParaRPr kumimoji="1" lang="zh-CN" altLang="en-US" dirty="0"/>
              </a:p>
            </p:txBody>
          </p:sp>
          <p:sp>
            <p:nvSpPr>
              <p:cNvPr id="48" name="等腰三角形 47">
                <a:extLst>
                  <a:ext uri="{FF2B5EF4-FFF2-40B4-BE49-F238E27FC236}">
                    <a16:creationId xmlns:a16="http://schemas.microsoft.com/office/drawing/2014/main" id="{3A43B10D-11A4-08D6-5C71-3EB569087116}"/>
                  </a:ext>
                </a:extLst>
              </p:cNvPr>
              <p:cNvSpPr/>
              <p:nvPr/>
            </p:nvSpPr>
            <p:spPr>
              <a:xfrm flipV="1">
                <a:off x="1" y="2008063"/>
                <a:ext cx="642102" cy="360000"/>
              </a:xfrm>
              <a:prstGeom prst="triangle">
                <a:avLst/>
              </a:prstGeom>
              <a:grpFill/>
              <a:ln w="28575">
                <a:noFill/>
              </a:ln>
            </p:spPr>
            <p:style>
              <a:lnRef idx="1">
                <a:schemeClr val="accent1"/>
              </a:lnRef>
              <a:fillRef idx="0">
                <a:schemeClr val="accent1"/>
              </a:fillRef>
              <a:effectRef idx="0">
                <a:schemeClr val="accent1"/>
              </a:effectRef>
              <a:fontRef idx="minor">
                <a:schemeClr val="tx1"/>
              </a:fontRef>
            </p:style>
            <p:txBody>
              <a:bodyPr wrap="none" rtlCol="0" anchor="ctr"/>
              <a:lstStyle/>
              <a:p>
                <a:pPr algn="ctr"/>
                <a:endParaRPr kumimoji="1" lang="zh-CN" altLang="en-US" dirty="0"/>
              </a:p>
            </p:txBody>
          </p:sp>
        </p:grpSp>
        <p:grpSp>
          <p:nvGrpSpPr>
            <p:cNvPr id="49" name="组合 48">
              <a:extLst>
                <a:ext uri="{FF2B5EF4-FFF2-40B4-BE49-F238E27FC236}">
                  <a16:creationId xmlns:a16="http://schemas.microsoft.com/office/drawing/2014/main" id="{D95F8A31-571C-FA46-EB7C-68A71F07F98A}"/>
                </a:ext>
              </a:extLst>
            </p:cNvPr>
            <p:cNvGrpSpPr/>
            <p:nvPr/>
          </p:nvGrpSpPr>
          <p:grpSpPr>
            <a:xfrm>
              <a:off x="9107661" y="2461172"/>
              <a:ext cx="472509" cy="749835"/>
              <a:chOff x="1" y="1695671"/>
              <a:chExt cx="642102" cy="672392"/>
            </a:xfrm>
            <a:solidFill>
              <a:schemeClr val="accent1">
                <a:lumMod val="20000"/>
                <a:lumOff val="80000"/>
              </a:schemeClr>
            </a:solidFill>
            <a:effectLst>
              <a:outerShdw blurRad="50800" dist="38100" dir="2700000" algn="tl" rotWithShape="0">
                <a:prstClr val="black">
                  <a:alpha val="40000"/>
                </a:prstClr>
              </a:outerShdw>
            </a:effectLst>
          </p:grpSpPr>
          <p:sp>
            <p:nvSpPr>
              <p:cNvPr id="50" name="等腰三角形 49">
                <a:extLst>
                  <a:ext uri="{FF2B5EF4-FFF2-40B4-BE49-F238E27FC236}">
                    <a16:creationId xmlns:a16="http://schemas.microsoft.com/office/drawing/2014/main" id="{1FE2DDBC-3F7B-E618-988A-B3DD909BFAB4}"/>
                  </a:ext>
                </a:extLst>
              </p:cNvPr>
              <p:cNvSpPr/>
              <p:nvPr/>
            </p:nvSpPr>
            <p:spPr>
              <a:xfrm flipV="1">
                <a:off x="1" y="1695671"/>
                <a:ext cx="642102" cy="360000"/>
              </a:xfrm>
              <a:prstGeom prst="triangle">
                <a:avLst/>
              </a:prstGeom>
              <a:grpFill/>
              <a:ln w="28575">
                <a:noFill/>
              </a:ln>
            </p:spPr>
            <p:style>
              <a:lnRef idx="1">
                <a:schemeClr val="accent1"/>
              </a:lnRef>
              <a:fillRef idx="0">
                <a:schemeClr val="accent1"/>
              </a:fillRef>
              <a:effectRef idx="0">
                <a:schemeClr val="accent1"/>
              </a:effectRef>
              <a:fontRef idx="minor">
                <a:schemeClr val="tx1"/>
              </a:fontRef>
            </p:style>
            <p:txBody>
              <a:bodyPr wrap="none" rtlCol="0" anchor="ctr"/>
              <a:lstStyle/>
              <a:p>
                <a:pPr algn="ctr"/>
                <a:endParaRPr kumimoji="1" lang="zh-CN" altLang="en-US" dirty="0"/>
              </a:p>
            </p:txBody>
          </p:sp>
          <p:sp>
            <p:nvSpPr>
              <p:cNvPr id="51" name="等腰三角形 50">
                <a:extLst>
                  <a:ext uri="{FF2B5EF4-FFF2-40B4-BE49-F238E27FC236}">
                    <a16:creationId xmlns:a16="http://schemas.microsoft.com/office/drawing/2014/main" id="{D3DABF55-39A4-DD73-43C8-E5B7C02CB0A3}"/>
                  </a:ext>
                </a:extLst>
              </p:cNvPr>
              <p:cNvSpPr/>
              <p:nvPr/>
            </p:nvSpPr>
            <p:spPr>
              <a:xfrm flipV="1">
                <a:off x="1" y="1829894"/>
                <a:ext cx="642102" cy="360000"/>
              </a:xfrm>
              <a:prstGeom prst="triangle">
                <a:avLst/>
              </a:prstGeom>
              <a:grpFill/>
              <a:ln w="28575">
                <a:noFill/>
              </a:ln>
            </p:spPr>
            <p:style>
              <a:lnRef idx="1">
                <a:schemeClr val="accent1"/>
              </a:lnRef>
              <a:fillRef idx="0">
                <a:schemeClr val="accent1"/>
              </a:fillRef>
              <a:effectRef idx="0">
                <a:schemeClr val="accent1"/>
              </a:effectRef>
              <a:fontRef idx="minor">
                <a:schemeClr val="tx1"/>
              </a:fontRef>
            </p:style>
            <p:txBody>
              <a:bodyPr wrap="none" rtlCol="0" anchor="ctr"/>
              <a:lstStyle/>
              <a:p>
                <a:pPr algn="ctr"/>
                <a:endParaRPr kumimoji="1" lang="zh-CN" altLang="en-US" dirty="0"/>
              </a:p>
            </p:txBody>
          </p:sp>
          <p:sp>
            <p:nvSpPr>
              <p:cNvPr id="52" name="等腰三角形 51">
                <a:extLst>
                  <a:ext uri="{FF2B5EF4-FFF2-40B4-BE49-F238E27FC236}">
                    <a16:creationId xmlns:a16="http://schemas.microsoft.com/office/drawing/2014/main" id="{27250910-735F-D93A-6893-0392C0419184}"/>
                  </a:ext>
                </a:extLst>
              </p:cNvPr>
              <p:cNvSpPr/>
              <p:nvPr/>
            </p:nvSpPr>
            <p:spPr>
              <a:xfrm flipV="1">
                <a:off x="1" y="2008063"/>
                <a:ext cx="642102" cy="360000"/>
              </a:xfrm>
              <a:prstGeom prst="triangle">
                <a:avLst/>
              </a:prstGeom>
              <a:grpFill/>
              <a:ln w="28575">
                <a:noFill/>
              </a:ln>
            </p:spPr>
            <p:style>
              <a:lnRef idx="1">
                <a:schemeClr val="accent1"/>
              </a:lnRef>
              <a:fillRef idx="0">
                <a:schemeClr val="accent1"/>
              </a:fillRef>
              <a:effectRef idx="0">
                <a:schemeClr val="accent1"/>
              </a:effectRef>
              <a:fontRef idx="minor">
                <a:schemeClr val="tx1"/>
              </a:fontRef>
            </p:style>
            <p:txBody>
              <a:bodyPr wrap="none" rtlCol="0" anchor="ctr"/>
              <a:lstStyle/>
              <a:p>
                <a:pPr algn="ctr"/>
                <a:endParaRPr kumimoji="1" lang="zh-CN" altLang="en-US" dirty="0"/>
              </a:p>
            </p:txBody>
          </p:sp>
        </p:grpSp>
        <p:grpSp>
          <p:nvGrpSpPr>
            <p:cNvPr id="53" name="Group 172">
              <a:extLst>
                <a:ext uri="{FF2B5EF4-FFF2-40B4-BE49-F238E27FC236}">
                  <a16:creationId xmlns:a16="http://schemas.microsoft.com/office/drawing/2014/main" id="{9CC69D04-013B-EB3C-2A51-77D9F715F361}"/>
                </a:ext>
              </a:extLst>
            </p:cNvPr>
            <p:cNvGrpSpPr/>
            <p:nvPr/>
          </p:nvGrpSpPr>
          <p:grpSpPr>
            <a:xfrm>
              <a:off x="8437577" y="2529632"/>
              <a:ext cx="576000" cy="581267"/>
              <a:chOff x="12949238" y="4703763"/>
              <a:chExt cx="7326619" cy="7326619"/>
            </a:xfrm>
          </p:grpSpPr>
          <p:sp>
            <p:nvSpPr>
              <p:cNvPr id="54" name="Freeform 113">
                <a:extLst>
                  <a:ext uri="{FF2B5EF4-FFF2-40B4-BE49-F238E27FC236}">
                    <a16:creationId xmlns:a16="http://schemas.microsoft.com/office/drawing/2014/main" id="{00904AF4-299B-B714-7B71-B2D2E2592708}"/>
                  </a:ext>
                </a:extLst>
              </p:cNvPr>
              <p:cNvSpPr>
                <a:spLocks/>
              </p:cNvSpPr>
              <p:nvPr/>
            </p:nvSpPr>
            <p:spPr bwMode="auto">
              <a:xfrm>
                <a:off x="12949238" y="4703763"/>
                <a:ext cx="7326619" cy="7326619"/>
              </a:xfrm>
              <a:custGeom>
                <a:avLst/>
                <a:gdLst/>
                <a:ahLst/>
                <a:cxnLst>
                  <a:cxn ang="0">
                    <a:pos x="4778" y="2578"/>
                  </a:cxn>
                  <a:cxn ang="0">
                    <a:pos x="4736" y="2876"/>
                  </a:cxn>
                  <a:cxn ang="0">
                    <a:pos x="4660" y="3160"/>
                  </a:cxn>
                  <a:cxn ang="0">
                    <a:pos x="4550" y="3430"/>
                  </a:cxn>
                  <a:cxn ang="0">
                    <a:pos x="4408" y="3684"/>
                  </a:cxn>
                  <a:cxn ang="0">
                    <a:pos x="4238" y="3916"/>
                  </a:cxn>
                  <a:cxn ang="0">
                    <a:pos x="4044" y="4126"/>
                  </a:cxn>
                  <a:cxn ang="0">
                    <a:pos x="3824" y="4310"/>
                  </a:cxn>
                  <a:cxn ang="0">
                    <a:pos x="3584" y="4470"/>
                  </a:cxn>
                  <a:cxn ang="0">
                    <a:pos x="3324" y="4598"/>
                  </a:cxn>
                  <a:cxn ang="0">
                    <a:pos x="3048" y="4696"/>
                  </a:cxn>
                  <a:cxn ang="0">
                    <a:pos x="2756" y="4758"/>
                  </a:cxn>
                  <a:cxn ang="0">
                    <a:pos x="2454" y="4786"/>
                  </a:cxn>
                  <a:cxn ang="0">
                    <a:pos x="2208" y="4780"/>
                  </a:cxn>
                  <a:cxn ang="0">
                    <a:pos x="1910" y="4738"/>
                  </a:cxn>
                  <a:cxn ang="0">
                    <a:pos x="1626" y="4660"/>
                  </a:cxn>
                  <a:cxn ang="0">
                    <a:pos x="1356" y="4550"/>
                  </a:cxn>
                  <a:cxn ang="0">
                    <a:pos x="1102" y="4410"/>
                  </a:cxn>
                  <a:cxn ang="0">
                    <a:pos x="870" y="4240"/>
                  </a:cxn>
                  <a:cxn ang="0">
                    <a:pos x="660" y="4044"/>
                  </a:cxn>
                  <a:cxn ang="0">
                    <a:pos x="476" y="3826"/>
                  </a:cxn>
                  <a:cxn ang="0">
                    <a:pos x="316" y="3584"/>
                  </a:cxn>
                  <a:cxn ang="0">
                    <a:pos x="188" y="3324"/>
                  </a:cxn>
                  <a:cxn ang="0">
                    <a:pos x="90" y="3048"/>
                  </a:cxn>
                  <a:cxn ang="0">
                    <a:pos x="28" y="2758"/>
                  </a:cxn>
                  <a:cxn ang="0">
                    <a:pos x="0" y="2456"/>
                  </a:cxn>
                  <a:cxn ang="0">
                    <a:pos x="6" y="2210"/>
                  </a:cxn>
                  <a:cxn ang="0">
                    <a:pos x="48" y="1912"/>
                  </a:cxn>
                  <a:cxn ang="0">
                    <a:pos x="126" y="1626"/>
                  </a:cxn>
                  <a:cxn ang="0">
                    <a:pos x="236" y="1356"/>
                  </a:cxn>
                  <a:cxn ang="0">
                    <a:pos x="376" y="1104"/>
                  </a:cxn>
                  <a:cxn ang="0">
                    <a:pos x="546" y="872"/>
                  </a:cxn>
                  <a:cxn ang="0">
                    <a:pos x="742" y="662"/>
                  </a:cxn>
                  <a:cxn ang="0">
                    <a:pos x="960" y="476"/>
                  </a:cxn>
                  <a:cxn ang="0">
                    <a:pos x="1202" y="318"/>
                  </a:cxn>
                  <a:cxn ang="0">
                    <a:pos x="1462" y="188"/>
                  </a:cxn>
                  <a:cxn ang="0">
                    <a:pos x="1738" y="92"/>
                  </a:cxn>
                  <a:cxn ang="0">
                    <a:pos x="2028" y="28"/>
                  </a:cxn>
                  <a:cxn ang="0">
                    <a:pos x="2330" y="2"/>
                  </a:cxn>
                  <a:cxn ang="0">
                    <a:pos x="2576" y="8"/>
                  </a:cxn>
                  <a:cxn ang="0">
                    <a:pos x="2874" y="50"/>
                  </a:cxn>
                  <a:cxn ang="0">
                    <a:pos x="3160" y="126"/>
                  </a:cxn>
                  <a:cxn ang="0">
                    <a:pos x="3430" y="236"/>
                  </a:cxn>
                  <a:cxn ang="0">
                    <a:pos x="3682" y="378"/>
                  </a:cxn>
                  <a:cxn ang="0">
                    <a:pos x="3914" y="548"/>
                  </a:cxn>
                  <a:cxn ang="0">
                    <a:pos x="4124" y="742"/>
                  </a:cxn>
                  <a:cxn ang="0">
                    <a:pos x="4310" y="962"/>
                  </a:cxn>
                  <a:cxn ang="0">
                    <a:pos x="4468" y="1202"/>
                  </a:cxn>
                  <a:cxn ang="0">
                    <a:pos x="4598" y="1462"/>
                  </a:cxn>
                  <a:cxn ang="0">
                    <a:pos x="4694" y="1738"/>
                  </a:cxn>
                  <a:cxn ang="0">
                    <a:pos x="4758" y="2030"/>
                  </a:cxn>
                  <a:cxn ang="0">
                    <a:pos x="4784" y="2332"/>
                  </a:cxn>
                </a:cxnLst>
                <a:rect l="0" t="0" r="r" b="b"/>
                <a:pathLst>
                  <a:path w="4786" h="4786">
                    <a:moveTo>
                      <a:pt x="4786" y="2394"/>
                    </a:moveTo>
                    <a:lnTo>
                      <a:pt x="4786" y="2394"/>
                    </a:lnTo>
                    <a:lnTo>
                      <a:pt x="4784" y="2456"/>
                    </a:lnTo>
                    <a:lnTo>
                      <a:pt x="4782" y="2516"/>
                    </a:lnTo>
                    <a:lnTo>
                      <a:pt x="4778" y="2578"/>
                    </a:lnTo>
                    <a:lnTo>
                      <a:pt x="4774" y="2638"/>
                    </a:lnTo>
                    <a:lnTo>
                      <a:pt x="4766" y="2698"/>
                    </a:lnTo>
                    <a:lnTo>
                      <a:pt x="4758" y="2758"/>
                    </a:lnTo>
                    <a:lnTo>
                      <a:pt x="4748" y="2818"/>
                    </a:lnTo>
                    <a:lnTo>
                      <a:pt x="4736" y="2876"/>
                    </a:lnTo>
                    <a:lnTo>
                      <a:pt x="4724" y="2934"/>
                    </a:lnTo>
                    <a:lnTo>
                      <a:pt x="4710" y="2992"/>
                    </a:lnTo>
                    <a:lnTo>
                      <a:pt x="4694" y="3048"/>
                    </a:lnTo>
                    <a:lnTo>
                      <a:pt x="4678" y="3106"/>
                    </a:lnTo>
                    <a:lnTo>
                      <a:pt x="4660" y="3160"/>
                    </a:lnTo>
                    <a:lnTo>
                      <a:pt x="4640" y="3216"/>
                    </a:lnTo>
                    <a:lnTo>
                      <a:pt x="4620" y="3270"/>
                    </a:lnTo>
                    <a:lnTo>
                      <a:pt x="4598" y="3324"/>
                    </a:lnTo>
                    <a:lnTo>
                      <a:pt x="4574" y="3378"/>
                    </a:lnTo>
                    <a:lnTo>
                      <a:pt x="4550" y="3430"/>
                    </a:lnTo>
                    <a:lnTo>
                      <a:pt x="4524" y="3482"/>
                    </a:lnTo>
                    <a:lnTo>
                      <a:pt x="4496" y="3534"/>
                    </a:lnTo>
                    <a:lnTo>
                      <a:pt x="4468" y="3584"/>
                    </a:lnTo>
                    <a:lnTo>
                      <a:pt x="4438" y="3634"/>
                    </a:lnTo>
                    <a:lnTo>
                      <a:pt x="4408" y="3684"/>
                    </a:lnTo>
                    <a:lnTo>
                      <a:pt x="4376" y="3732"/>
                    </a:lnTo>
                    <a:lnTo>
                      <a:pt x="4344" y="3778"/>
                    </a:lnTo>
                    <a:lnTo>
                      <a:pt x="4310" y="3826"/>
                    </a:lnTo>
                    <a:lnTo>
                      <a:pt x="4276" y="3870"/>
                    </a:lnTo>
                    <a:lnTo>
                      <a:pt x="4238" y="3916"/>
                    </a:lnTo>
                    <a:lnTo>
                      <a:pt x="4202" y="3960"/>
                    </a:lnTo>
                    <a:lnTo>
                      <a:pt x="4164" y="4002"/>
                    </a:lnTo>
                    <a:lnTo>
                      <a:pt x="4124" y="4044"/>
                    </a:lnTo>
                    <a:lnTo>
                      <a:pt x="4084" y="4086"/>
                    </a:lnTo>
                    <a:lnTo>
                      <a:pt x="4044" y="4126"/>
                    </a:lnTo>
                    <a:lnTo>
                      <a:pt x="4002" y="4164"/>
                    </a:lnTo>
                    <a:lnTo>
                      <a:pt x="3958" y="4202"/>
                    </a:lnTo>
                    <a:lnTo>
                      <a:pt x="3914" y="4240"/>
                    </a:lnTo>
                    <a:lnTo>
                      <a:pt x="3870" y="4276"/>
                    </a:lnTo>
                    <a:lnTo>
                      <a:pt x="3824" y="4310"/>
                    </a:lnTo>
                    <a:lnTo>
                      <a:pt x="3778" y="4344"/>
                    </a:lnTo>
                    <a:lnTo>
                      <a:pt x="3730" y="4378"/>
                    </a:lnTo>
                    <a:lnTo>
                      <a:pt x="3682" y="4410"/>
                    </a:lnTo>
                    <a:lnTo>
                      <a:pt x="3634" y="4440"/>
                    </a:lnTo>
                    <a:lnTo>
                      <a:pt x="3584" y="4470"/>
                    </a:lnTo>
                    <a:lnTo>
                      <a:pt x="3534" y="4498"/>
                    </a:lnTo>
                    <a:lnTo>
                      <a:pt x="3482" y="4524"/>
                    </a:lnTo>
                    <a:lnTo>
                      <a:pt x="3430" y="4550"/>
                    </a:lnTo>
                    <a:lnTo>
                      <a:pt x="3378" y="4574"/>
                    </a:lnTo>
                    <a:lnTo>
                      <a:pt x="3324" y="4598"/>
                    </a:lnTo>
                    <a:lnTo>
                      <a:pt x="3270" y="4620"/>
                    </a:lnTo>
                    <a:lnTo>
                      <a:pt x="3216" y="4642"/>
                    </a:lnTo>
                    <a:lnTo>
                      <a:pt x="3160" y="4660"/>
                    </a:lnTo>
                    <a:lnTo>
                      <a:pt x="3104" y="4678"/>
                    </a:lnTo>
                    <a:lnTo>
                      <a:pt x="3048" y="4696"/>
                    </a:lnTo>
                    <a:lnTo>
                      <a:pt x="2990" y="4712"/>
                    </a:lnTo>
                    <a:lnTo>
                      <a:pt x="2932" y="4726"/>
                    </a:lnTo>
                    <a:lnTo>
                      <a:pt x="2874" y="4738"/>
                    </a:lnTo>
                    <a:lnTo>
                      <a:pt x="2816" y="4748"/>
                    </a:lnTo>
                    <a:lnTo>
                      <a:pt x="2756" y="4758"/>
                    </a:lnTo>
                    <a:lnTo>
                      <a:pt x="2698" y="4768"/>
                    </a:lnTo>
                    <a:lnTo>
                      <a:pt x="2638" y="4774"/>
                    </a:lnTo>
                    <a:lnTo>
                      <a:pt x="2576" y="4780"/>
                    </a:lnTo>
                    <a:lnTo>
                      <a:pt x="2516" y="4784"/>
                    </a:lnTo>
                    <a:lnTo>
                      <a:pt x="2454" y="4786"/>
                    </a:lnTo>
                    <a:lnTo>
                      <a:pt x="2392" y="4786"/>
                    </a:lnTo>
                    <a:lnTo>
                      <a:pt x="2392" y="4786"/>
                    </a:lnTo>
                    <a:lnTo>
                      <a:pt x="2330" y="4786"/>
                    </a:lnTo>
                    <a:lnTo>
                      <a:pt x="2270" y="4784"/>
                    </a:lnTo>
                    <a:lnTo>
                      <a:pt x="2208" y="4780"/>
                    </a:lnTo>
                    <a:lnTo>
                      <a:pt x="2148" y="4774"/>
                    </a:lnTo>
                    <a:lnTo>
                      <a:pt x="2088" y="4768"/>
                    </a:lnTo>
                    <a:lnTo>
                      <a:pt x="2028" y="4758"/>
                    </a:lnTo>
                    <a:lnTo>
                      <a:pt x="1968" y="4748"/>
                    </a:lnTo>
                    <a:lnTo>
                      <a:pt x="1910" y="4738"/>
                    </a:lnTo>
                    <a:lnTo>
                      <a:pt x="1852" y="4726"/>
                    </a:lnTo>
                    <a:lnTo>
                      <a:pt x="1794" y="4712"/>
                    </a:lnTo>
                    <a:lnTo>
                      <a:pt x="1738" y="4696"/>
                    </a:lnTo>
                    <a:lnTo>
                      <a:pt x="1682" y="4678"/>
                    </a:lnTo>
                    <a:lnTo>
                      <a:pt x="1626" y="4660"/>
                    </a:lnTo>
                    <a:lnTo>
                      <a:pt x="1570" y="4642"/>
                    </a:lnTo>
                    <a:lnTo>
                      <a:pt x="1516" y="4620"/>
                    </a:lnTo>
                    <a:lnTo>
                      <a:pt x="1462" y="4598"/>
                    </a:lnTo>
                    <a:lnTo>
                      <a:pt x="1408" y="4574"/>
                    </a:lnTo>
                    <a:lnTo>
                      <a:pt x="1356" y="4550"/>
                    </a:lnTo>
                    <a:lnTo>
                      <a:pt x="1304" y="4524"/>
                    </a:lnTo>
                    <a:lnTo>
                      <a:pt x="1252" y="4498"/>
                    </a:lnTo>
                    <a:lnTo>
                      <a:pt x="1202" y="4470"/>
                    </a:lnTo>
                    <a:lnTo>
                      <a:pt x="1152" y="4440"/>
                    </a:lnTo>
                    <a:lnTo>
                      <a:pt x="1102" y="4410"/>
                    </a:lnTo>
                    <a:lnTo>
                      <a:pt x="1054" y="4378"/>
                    </a:lnTo>
                    <a:lnTo>
                      <a:pt x="1008" y="4344"/>
                    </a:lnTo>
                    <a:lnTo>
                      <a:pt x="960" y="4310"/>
                    </a:lnTo>
                    <a:lnTo>
                      <a:pt x="916" y="4276"/>
                    </a:lnTo>
                    <a:lnTo>
                      <a:pt x="870" y="4240"/>
                    </a:lnTo>
                    <a:lnTo>
                      <a:pt x="826" y="4202"/>
                    </a:lnTo>
                    <a:lnTo>
                      <a:pt x="784" y="4164"/>
                    </a:lnTo>
                    <a:lnTo>
                      <a:pt x="742" y="4126"/>
                    </a:lnTo>
                    <a:lnTo>
                      <a:pt x="700" y="4086"/>
                    </a:lnTo>
                    <a:lnTo>
                      <a:pt x="660" y="4044"/>
                    </a:lnTo>
                    <a:lnTo>
                      <a:pt x="622" y="4002"/>
                    </a:lnTo>
                    <a:lnTo>
                      <a:pt x="584" y="3960"/>
                    </a:lnTo>
                    <a:lnTo>
                      <a:pt x="546" y="3916"/>
                    </a:lnTo>
                    <a:lnTo>
                      <a:pt x="510" y="3870"/>
                    </a:lnTo>
                    <a:lnTo>
                      <a:pt x="476" y="3826"/>
                    </a:lnTo>
                    <a:lnTo>
                      <a:pt x="442" y="3778"/>
                    </a:lnTo>
                    <a:lnTo>
                      <a:pt x="408" y="3732"/>
                    </a:lnTo>
                    <a:lnTo>
                      <a:pt x="376" y="3684"/>
                    </a:lnTo>
                    <a:lnTo>
                      <a:pt x="346" y="3634"/>
                    </a:lnTo>
                    <a:lnTo>
                      <a:pt x="316" y="3584"/>
                    </a:lnTo>
                    <a:lnTo>
                      <a:pt x="288" y="3534"/>
                    </a:lnTo>
                    <a:lnTo>
                      <a:pt x="262" y="3482"/>
                    </a:lnTo>
                    <a:lnTo>
                      <a:pt x="236" y="3430"/>
                    </a:lnTo>
                    <a:lnTo>
                      <a:pt x="212" y="3378"/>
                    </a:lnTo>
                    <a:lnTo>
                      <a:pt x="188" y="3324"/>
                    </a:lnTo>
                    <a:lnTo>
                      <a:pt x="166" y="3270"/>
                    </a:lnTo>
                    <a:lnTo>
                      <a:pt x="144" y="3216"/>
                    </a:lnTo>
                    <a:lnTo>
                      <a:pt x="126" y="3160"/>
                    </a:lnTo>
                    <a:lnTo>
                      <a:pt x="108" y="3106"/>
                    </a:lnTo>
                    <a:lnTo>
                      <a:pt x="90" y="3048"/>
                    </a:lnTo>
                    <a:lnTo>
                      <a:pt x="76" y="2992"/>
                    </a:lnTo>
                    <a:lnTo>
                      <a:pt x="62" y="2934"/>
                    </a:lnTo>
                    <a:lnTo>
                      <a:pt x="48" y="2876"/>
                    </a:lnTo>
                    <a:lnTo>
                      <a:pt x="38" y="2818"/>
                    </a:lnTo>
                    <a:lnTo>
                      <a:pt x="28" y="2758"/>
                    </a:lnTo>
                    <a:lnTo>
                      <a:pt x="18" y="2698"/>
                    </a:lnTo>
                    <a:lnTo>
                      <a:pt x="12" y="2638"/>
                    </a:lnTo>
                    <a:lnTo>
                      <a:pt x="6" y="2578"/>
                    </a:lnTo>
                    <a:lnTo>
                      <a:pt x="2" y="2516"/>
                    </a:lnTo>
                    <a:lnTo>
                      <a:pt x="0" y="2456"/>
                    </a:lnTo>
                    <a:lnTo>
                      <a:pt x="0" y="2394"/>
                    </a:lnTo>
                    <a:lnTo>
                      <a:pt x="0" y="2394"/>
                    </a:lnTo>
                    <a:lnTo>
                      <a:pt x="0" y="2332"/>
                    </a:lnTo>
                    <a:lnTo>
                      <a:pt x="2" y="2270"/>
                    </a:lnTo>
                    <a:lnTo>
                      <a:pt x="6" y="2210"/>
                    </a:lnTo>
                    <a:lnTo>
                      <a:pt x="12" y="2148"/>
                    </a:lnTo>
                    <a:lnTo>
                      <a:pt x="18" y="2088"/>
                    </a:lnTo>
                    <a:lnTo>
                      <a:pt x="28" y="2030"/>
                    </a:lnTo>
                    <a:lnTo>
                      <a:pt x="38" y="1970"/>
                    </a:lnTo>
                    <a:lnTo>
                      <a:pt x="48" y="1912"/>
                    </a:lnTo>
                    <a:lnTo>
                      <a:pt x="62" y="1854"/>
                    </a:lnTo>
                    <a:lnTo>
                      <a:pt x="76" y="1796"/>
                    </a:lnTo>
                    <a:lnTo>
                      <a:pt x="90" y="1738"/>
                    </a:lnTo>
                    <a:lnTo>
                      <a:pt x="108" y="1682"/>
                    </a:lnTo>
                    <a:lnTo>
                      <a:pt x="126" y="1626"/>
                    </a:lnTo>
                    <a:lnTo>
                      <a:pt x="144" y="1570"/>
                    </a:lnTo>
                    <a:lnTo>
                      <a:pt x="166" y="1516"/>
                    </a:lnTo>
                    <a:lnTo>
                      <a:pt x="188" y="1462"/>
                    </a:lnTo>
                    <a:lnTo>
                      <a:pt x="212" y="1408"/>
                    </a:lnTo>
                    <a:lnTo>
                      <a:pt x="236" y="1356"/>
                    </a:lnTo>
                    <a:lnTo>
                      <a:pt x="262" y="1304"/>
                    </a:lnTo>
                    <a:lnTo>
                      <a:pt x="288" y="1252"/>
                    </a:lnTo>
                    <a:lnTo>
                      <a:pt x="316" y="1202"/>
                    </a:lnTo>
                    <a:lnTo>
                      <a:pt x="346" y="1152"/>
                    </a:lnTo>
                    <a:lnTo>
                      <a:pt x="376" y="1104"/>
                    </a:lnTo>
                    <a:lnTo>
                      <a:pt x="408" y="1056"/>
                    </a:lnTo>
                    <a:lnTo>
                      <a:pt x="442" y="1008"/>
                    </a:lnTo>
                    <a:lnTo>
                      <a:pt x="476" y="962"/>
                    </a:lnTo>
                    <a:lnTo>
                      <a:pt x="510" y="916"/>
                    </a:lnTo>
                    <a:lnTo>
                      <a:pt x="546" y="872"/>
                    </a:lnTo>
                    <a:lnTo>
                      <a:pt x="584" y="828"/>
                    </a:lnTo>
                    <a:lnTo>
                      <a:pt x="622" y="784"/>
                    </a:lnTo>
                    <a:lnTo>
                      <a:pt x="660" y="742"/>
                    </a:lnTo>
                    <a:lnTo>
                      <a:pt x="700" y="702"/>
                    </a:lnTo>
                    <a:lnTo>
                      <a:pt x="742" y="662"/>
                    </a:lnTo>
                    <a:lnTo>
                      <a:pt x="784" y="622"/>
                    </a:lnTo>
                    <a:lnTo>
                      <a:pt x="826" y="584"/>
                    </a:lnTo>
                    <a:lnTo>
                      <a:pt x="870" y="548"/>
                    </a:lnTo>
                    <a:lnTo>
                      <a:pt x="916" y="512"/>
                    </a:lnTo>
                    <a:lnTo>
                      <a:pt x="960" y="476"/>
                    </a:lnTo>
                    <a:lnTo>
                      <a:pt x="1008" y="442"/>
                    </a:lnTo>
                    <a:lnTo>
                      <a:pt x="1054" y="410"/>
                    </a:lnTo>
                    <a:lnTo>
                      <a:pt x="1102" y="378"/>
                    </a:lnTo>
                    <a:lnTo>
                      <a:pt x="1152" y="348"/>
                    </a:lnTo>
                    <a:lnTo>
                      <a:pt x="1202" y="318"/>
                    </a:lnTo>
                    <a:lnTo>
                      <a:pt x="1252" y="290"/>
                    </a:lnTo>
                    <a:lnTo>
                      <a:pt x="1304" y="262"/>
                    </a:lnTo>
                    <a:lnTo>
                      <a:pt x="1356" y="236"/>
                    </a:lnTo>
                    <a:lnTo>
                      <a:pt x="1408" y="212"/>
                    </a:lnTo>
                    <a:lnTo>
                      <a:pt x="1462" y="188"/>
                    </a:lnTo>
                    <a:lnTo>
                      <a:pt x="1516" y="166"/>
                    </a:lnTo>
                    <a:lnTo>
                      <a:pt x="1570" y="146"/>
                    </a:lnTo>
                    <a:lnTo>
                      <a:pt x="1626" y="126"/>
                    </a:lnTo>
                    <a:lnTo>
                      <a:pt x="1682" y="108"/>
                    </a:lnTo>
                    <a:lnTo>
                      <a:pt x="1738" y="92"/>
                    </a:lnTo>
                    <a:lnTo>
                      <a:pt x="1794" y="76"/>
                    </a:lnTo>
                    <a:lnTo>
                      <a:pt x="1852" y="62"/>
                    </a:lnTo>
                    <a:lnTo>
                      <a:pt x="1910" y="50"/>
                    </a:lnTo>
                    <a:lnTo>
                      <a:pt x="1968" y="38"/>
                    </a:lnTo>
                    <a:lnTo>
                      <a:pt x="2028" y="28"/>
                    </a:lnTo>
                    <a:lnTo>
                      <a:pt x="2088" y="20"/>
                    </a:lnTo>
                    <a:lnTo>
                      <a:pt x="2148" y="14"/>
                    </a:lnTo>
                    <a:lnTo>
                      <a:pt x="2208" y="8"/>
                    </a:lnTo>
                    <a:lnTo>
                      <a:pt x="2270" y="4"/>
                    </a:lnTo>
                    <a:lnTo>
                      <a:pt x="2330" y="2"/>
                    </a:lnTo>
                    <a:lnTo>
                      <a:pt x="2392" y="0"/>
                    </a:lnTo>
                    <a:lnTo>
                      <a:pt x="2392" y="0"/>
                    </a:lnTo>
                    <a:lnTo>
                      <a:pt x="2454" y="2"/>
                    </a:lnTo>
                    <a:lnTo>
                      <a:pt x="2516" y="4"/>
                    </a:lnTo>
                    <a:lnTo>
                      <a:pt x="2576" y="8"/>
                    </a:lnTo>
                    <a:lnTo>
                      <a:pt x="2638" y="14"/>
                    </a:lnTo>
                    <a:lnTo>
                      <a:pt x="2698" y="20"/>
                    </a:lnTo>
                    <a:lnTo>
                      <a:pt x="2756" y="28"/>
                    </a:lnTo>
                    <a:lnTo>
                      <a:pt x="2816" y="38"/>
                    </a:lnTo>
                    <a:lnTo>
                      <a:pt x="2874" y="50"/>
                    </a:lnTo>
                    <a:lnTo>
                      <a:pt x="2932" y="62"/>
                    </a:lnTo>
                    <a:lnTo>
                      <a:pt x="2990" y="76"/>
                    </a:lnTo>
                    <a:lnTo>
                      <a:pt x="3048" y="92"/>
                    </a:lnTo>
                    <a:lnTo>
                      <a:pt x="3104" y="108"/>
                    </a:lnTo>
                    <a:lnTo>
                      <a:pt x="3160" y="126"/>
                    </a:lnTo>
                    <a:lnTo>
                      <a:pt x="3216" y="146"/>
                    </a:lnTo>
                    <a:lnTo>
                      <a:pt x="3270" y="166"/>
                    </a:lnTo>
                    <a:lnTo>
                      <a:pt x="3324" y="188"/>
                    </a:lnTo>
                    <a:lnTo>
                      <a:pt x="3378" y="212"/>
                    </a:lnTo>
                    <a:lnTo>
                      <a:pt x="3430" y="236"/>
                    </a:lnTo>
                    <a:lnTo>
                      <a:pt x="3482" y="262"/>
                    </a:lnTo>
                    <a:lnTo>
                      <a:pt x="3534" y="290"/>
                    </a:lnTo>
                    <a:lnTo>
                      <a:pt x="3584" y="318"/>
                    </a:lnTo>
                    <a:lnTo>
                      <a:pt x="3634" y="348"/>
                    </a:lnTo>
                    <a:lnTo>
                      <a:pt x="3682" y="378"/>
                    </a:lnTo>
                    <a:lnTo>
                      <a:pt x="3730" y="410"/>
                    </a:lnTo>
                    <a:lnTo>
                      <a:pt x="3778" y="442"/>
                    </a:lnTo>
                    <a:lnTo>
                      <a:pt x="3824" y="476"/>
                    </a:lnTo>
                    <a:lnTo>
                      <a:pt x="3870" y="512"/>
                    </a:lnTo>
                    <a:lnTo>
                      <a:pt x="3914" y="548"/>
                    </a:lnTo>
                    <a:lnTo>
                      <a:pt x="3958" y="584"/>
                    </a:lnTo>
                    <a:lnTo>
                      <a:pt x="4002" y="622"/>
                    </a:lnTo>
                    <a:lnTo>
                      <a:pt x="4044" y="662"/>
                    </a:lnTo>
                    <a:lnTo>
                      <a:pt x="4084" y="702"/>
                    </a:lnTo>
                    <a:lnTo>
                      <a:pt x="4124" y="742"/>
                    </a:lnTo>
                    <a:lnTo>
                      <a:pt x="4164" y="784"/>
                    </a:lnTo>
                    <a:lnTo>
                      <a:pt x="4202" y="828"/>
                    </a:lnTo>
                    <a:lnTo>
                      <a:pt x="4238" y="872"/>
                    </a:lnTo>
                    <a:lnTo>
                      <a:pt x="4276" y="916"/>
                    </a:lnTo>
                    <a:lnTo>
                      <a:pt x="4310" y="962"/>
                    </a:lnTo>
                    <a:lnTo>
                      <a:pt x="4344" y="1008"/>
                    </a:lnTo>
                    <a:lnTo>
                      <a:pt x="4376" y="1056"/>
                    </a:lnTo>
                    <a:lnTo>
                      <a:pt x="4408" y="1104"/>
                    </a:lnTo>
                    <a:lnTo>
                      <a:pt x="4438" y="1152"/>
                    </a:lnTo>
                    <a:lnTo>
                      <a:pt x="4468" y="1202"/>
                    </a:lnTo>
                    <a:lnTo>
                      <a:pt x="4496" y="1252"/>
                    </a:lnTo>
                    <a:lnTo>
                      <a:pt x="4524" y="1304"/>
                    </a:lnTo>
                    <a:lnTo>
                      <a:pt x="4550" y="1356"/>
                    </a:lnTo>
                    <a:lnTo>
                      <a:pt x="4574" y="1408"/>
                    </a:lnTo>
                    <a:lnTo>
                      <a:pt x="4598" y="1462"/>
                    </a:lnTo>
                    <a:lnTo>
                      <a:pt x="4620" y="1516"/>
                    </a:lnTo>
                    <a:lnTo>
                      <a:pt x="4640" y="1570"/>
                    </a:lnTo>
                    <a:lnTo>
                      <a:pt x="4660" y="1626"/>
                    </a:lnTo>
                    <a:lnTo>
                      <a:pt x="4678" y="1682"/>
                    </a:lnTo>
                    <a:lnTo>
                      <a:pt x="4694" y="1738"/>
                    </a:lnTo>
                    <a:lnTo>
                      <a:pt x="4710" y="1796"/>
                    </a:lnTo>
                    <a:lnTo>
                      <a:pt x="4724" y="1854"/>
                    </a:lnTo>
                    <a:lnTo>
                      <a:pt x="4736" y="1912"/>
                    </a:lnTo>
                    <a:lnTo>
                      <a:pt x="4748" y="1970"/>
                    </a:lnTo>
                    <a:lnTo>
                      <a:pt x="4758" y="2030"/>
                    </a:lnTo>
                    <a:lnTo>
                      <a:pt x="4766" y="2088"/>
                    </a:lnTo>
                    <a:lnTo>
                      <a:pt x="4774" y="2148"/>
                    </a:lnTo>
                    <a:lnTo>
                      <a:pt x="4778" y="2210"/>
                    </a:lnTo>
                    <a:lnTo>
                      <a:pt x="4782" y="2270"/>
                    </a:lnTo>
                    <a:lnTo>
                      <a:pt x="4784" y="2332"/>
                    </a:lnTo>
                    <a:lnTo>
                      <a:pt x="4786" y="2394"/>
                    </a:lnTo>
                    <a:lnTo>
                      <a:pt x="4786" y="2394"/>
                    </a:lnTo>
                    <a:close/>
                  </a:path>
                </a:pathLst>
              </a:custGeom>
              <a:solidFill>
                <a:schemeClr val="accent1">
                  <a:lumMod val="75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55" name="Freeform 114">
                <a:extLst>
                  <a:ext uri="{FF2B5EF4-FFF2-40B4-BE49-F238E27FC236}">
                    <a16:creationId xmlns:a16="http://schemas.microsoft.com/office/drawing/2014/main" id="{D6224708-0B3A-77BE-0FA1-3A5CA53E9F91}"/>
                  </a:ext>
                </a:extLst>
              </p:cNvPr>
              <p:cNvSpPr>
                <a:spLocks noEditPoints="1"/>
              </p:cNvSpPr>
              <p:nvPr/>
            </p:nvSpPr>
            <p:spPr bwMode="auto">
              <a:xfrm>
                <a:off x="14457363" y="6021388"/>
                <a:ext cx="4248150" cy="4168775"/>
              </a:xfrm>
              <a:custGeom>
                <a:avLst/>
                <a:gdLst/>
                <a:ahLst/>
                <a:cxnLst>
                  <a:cxn ang="0">
                    <a:pos x="942" y="302"/>
                  </a:cxn>
                  <a:cxn ang="0">
                    <a:pos x="778" y="466"/>
                  </a:cxn>
                  <a:cxn ang="0">
                    <a:pos x="588" y="276"/>
                  </a:cxn>
                  <a:cxn ang="0">
                    <a:pos x="746" y="118"/>
                  </a:cxn>
                  <a:cxn ang="0">
                    <a:pos x="630" y="0"/>
                  </a:cxn>
                  <a:cxn ang="0">
                    <a:pos x="0" y="630"/>
                  </a:cxn>
                  <a:cxn ang="0">
                    <a:pos x="116" y="748"/>
                  </a:cxn>
                  <a:cxn ang="0">
                    <a:pos x="276" y="590"/>
                  </a:cxn>
                  <a:cxn ang="0">
                    <a:pos x="466" y="780"/>
                  </a:cxn>
                  <a:cxn ang="0">
                    <a:pos x="302" y="944"/>
                  </a:cxn>
                  <a:cxn ang="0">
                    <a:pos x="1720" y="2362"/>
                  </a:cxn>
                  <a:cxn ang="0">
                    <a:pos x="2310" y="2374"/>
                  </a:cxn>
                  <a:cxn ang="0">
                    <a:pos x="2560" y="2626"/>
                  </a:cxn>
                  <a:cxn ang="0">
                    <a:pos x="2676" y="2614"/>
                  </a:cxn>
                  <a:cxn ang="0">
                    <a:pos x="2374" y="2312"/>
                  </a:cxn>
                  <a:cxn ang="0">
                    <a:pos x="2360" y="1720"/>
                  </a:cxn>
                  <a:cxn ang="0">
                    <a:pos x="942" y="302"/>
                  </a:cxn>
                  <a:cxn ang="0">
                    <a:pos x="942" y="490"/>
                  </a:cxn>
                  <a:cxn ang="0">
                    <a:pos x="1662" y="1210"/>
                  </a:cxn>
                  <a:cxn ang="0">
                    <a:pos x="1208" y="1664"/>
                  </a:cxn>
                  <a:cxn ang="0">
                    <a:pos x="1026" y="1480"/>
                  </a:cxn>
                  <a:cxn ang="0">
                    <a:pos x="1252" y="1254"/>
                  </a:cxn>
                  <a:cxn ang="0">
                    <a:pos x="1156" y="1158"/>
                  </a:cxn>
                  <a:cxn ang="0">
                    <a:pos x="930" y="1384"/>
                  </a:cxn>
                  <a:cxn ang="0">
                    <a:pos x="760" y="1214"/>
                  </a:cxn>
                  <a:cxn ang="0">
                    <a:pos x="986" y="988"/>
                  </a:cxn>
                  <a:cxn ang="0">
                    <a:pos x="890" y="892"/>
                  </a:cxn>
                  <a:cxn ang="0">
                    <a:pos x="664" y="1118"/>
                  </a:cxn>
                  <a:cxn ang="0">
                    <a:pos x="488" y="944"/>
                  </a:cxn>
                  <a:cxn ang="0">
                    <a:pos x="942" y="490"/>
                  </a:cxn>
                </a:cxnLst>
                <a:rect l="0" t="0" r="r" b="b"/>
                <a:pathLst>
                  <a:path w="2676" h="2626">
                    <a:moveTo>
                      <a:pt x="942" y="302"/>
                    </a:moveTo>
                    <a:lnTo>
                      <a:pt x="778" y="466"/>
                    </a:lnTo>
                    <a:lnTo>
                      <a:pt x="588" y="276"/>
                    </a:lnTo>
                    <a:lnTo>
                      <a:pt x="746" y="118"/>
                    </a:lnTo>
                    <a:lnTo>
                      <a:pt x="630" y="0"/>
                    </a:lnTo>
                    <a:lnTo>
                      <a:pt x="0" y="630"/>
                    </a:lnTo>
                    <a:lnTo>
                      <a:pt x="116" y="748"/>
                    </a:lnTo>
                    <a:lnTo>
                      <a:pt x="276" y="590"/>
                    </a:lnTo>
                    <a:lnTo>
                      <a:pt x="466" y="780"/>
                    </a:lnTo>
                    <a:lnTo>
                      <a:pt x="302" y="944"/>
                    </a:lnTo>
                    <a:lnTo>
                      <a:pt x="1720" y="2362"/>
                    </a:lnTo>
                    <a:lnTo>
                      <a:pt x="2310" y="2374"/>
                    </a:lnTo>
                    <a:lnTo>
                      <a:pt x="2560" y="2626"/>
                    </a:lnTo>
                    <a:lnTo>
                      <a:pt x="2676" y="2614"/>
                    </a:lnTo>
                    <a:lnTo>
                      <a:pt x="2374" y="2312"/>
                    </a:lnTo>
                    <a:lnTo>
                      <a:pt x="2360" y="1720"/>
                    </a:lnTo>
                    <a:lnTo>
                      <a:pt x="942" y="302"/>
                    </a:lnTo>
                    <a:close/>
                    <a:moveTo>
                      <a:pt x="942" y="490"/>
                    </a:moveTo>
                    <a:lnTo>
                      <a:pt x="1662" y="1210"/>
                    </a:lnTo>
                    <a:lnTo>
                      <a:pt x="1208" y="1664"/>
                    </a:lnTo>
                    <a:lnTo>
                      <a:pt x="1026" y="1480"/>
                    </a:lnTo>
                    <a:lnTo>
                      <a:pt x="1252" y="1254"/>
                    </a:lnTo>
                    <a:lnTo>
                      <a:pt x="1156" y="1158"/>
                    </a:lnTo>
                    <a:lnTo>
                      <a:pt x="930" y="1384"/>
                    </a:lnTo>
                    <a:lnTo>
                      <a:pt x="760" y="1214"/>
                    </a:lnTo>
                    <a:lnTo>
                      <a:pt x="986" y="988"/>
                    </a:lnTo>
                    <a:lnTo>
                      <a:pt x="890" y="892"/>
                    </a:lnTo>
                    <a:lnTo>
                      <a:pt x="664" y="1118"/>
                    </a:lnTo>
                    <a:lnTo>
                      <a:pt x="488" y="944"/>
                    </a:lnTo>
                    <a:lnTo>
                      <a:pt x="942" y="49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grpSp>
          <p:nvGrpSpPr>
            <p:cNvPr id="56" name="Group 162">
              <a:extLst>
                <a:ext uri="{FF2B5EF4-FFF2-40B4-BE49-F238E27FC236}">
                  <a16:creationId xmlns:a16="http://schemas.microsoft.com/office/drawing/2014/main" id="{05FAA6EB-5553-813C-A09A-E888EF1E9586}"/>
                </a:ext>
              </a:extLst>
            </p:cNvPr>
            <p:cNvGrpSpPr/>
            <p:nvPr/>
          </p:nvGrpSpPr>
          <p:grpSpPr>
            <a:xfrm>
              <a:off x="6734209" y="2529632"/>
              <a:ext cx="576000" cy="581267"/>
              <a:chOff x="3425315" y="-4815154"/>
              <a:chExt cx="6468011" cy="6468011"/>
            </a:xfrm>
          </p:grpSpPr>
          <p:sp>
            <p:nvSpPr>
              <p:cNvPr id="57" name="Freeform 70">
                <a:extLst>
                  <a:ext uri="{FF2B5EF4-FFF2-40B4-BE49-F238E27FC236}">
                    <a16:creationId xmlns:a16="http://schemas.microsoft.com/office/drawing/2014/main" id="{EDB91559-9011-1F6B-9EBD-E26388997742}"/>
                  </a:ext>
                </a:extLst>
              </p:cNvPr>
              <p:cNvSpPr>
                <a:spLocks/>
              </p:cNvSpPr>
              <p:nvPr/>
            </p:nvSpPr>
            <p:spPr bwMode="auto">
              <a:xfrm>
                <a:off x="3425315" y="-4815154"/>
                <a:ext cx="6468011" cy="6468011"/>
              </a:xfrm>
              <a:custGeom>
                <a:avLst/>
                <a:gdLst/>
                <a:ahLst/>
                <a:cxnLst>
                  <a:cxn ang="0">
                    <a:pos x="4780" y="2576"/>
                  </a:cxn>
                  <a:cxn ang="0">
                    <a:pos x="4738" y="2874"/>
                  </a:cxn>
                  <a:cxn ang="0">
                    <a:pos x="4660" y="3160"/>
                  </a:cxn>
                  <a:cxn ang="0">
                    <a:pos x="4550" y="3430"/>
                  </a:cxn>
                  <a:cxn ang="0">
                    <a:pos x="4410" y="3682"/>
                  </a:cxn>
                  <a:cxn ang="0">
                    <a:pos x="4240" y="3914"/>
                  </a:cxn>
                  <a:cxn ang="0">
                    <a:pos x="4044" y="4124"/>
                  </a:cxn>
                  <a:cxn ang="0">
                    <a:pos x="3826" y="4310"/>
                  </a:cxn>
                  <a:cxn ang="0">
                    <a:pos x="3584" y="4468"/>
                  </a:cxn>
                  <a:cxn ang="0">
                    <a:pos x="3324" y="4598"/>
                  </a:cxn>
                  <a:cxn ang="0">
                    <a:pos x="3048" y="4694"/>
                  </a:cxn>
                  <a:cxn ang="0">
                    <a:pos x="2758" y="4758"/>
                  </a:cxn>
                  <a:cxn ang="0">
                    <a:pos x="2456" y="4784"/>
                  </a:cxn>
                  <a:cxn ang="0">
                    <a:pos x="2210" y="4778"/>
                  </a:cxn>
                  <a:cxn ang="0">
                    <a:pos x="1912" y="4736"/>
                  </a:cxn>
                  <a:cxn ang="0">
                    <a:pos x="1626" y="4660"/>
                  </a:cxn>
                  <a:cxn ang="0">
                    <a:pos x="1356" y="4550"/>
                  </a:cxn>
                  <a:cxn ang="0">
                    <a:pos x="1104" y="4408"/>
                  </a:cxn>
                  <a:cxn ang="0">
                    <a:pos x="872" y="4238"/>
                  </a:cxn>
                  <a:cxn ang="0">
                    <a:pos x="662" y="4044"/>
                  </a:cxn>
                  <a:cxn ang="0">
                    <a:pos x="476" y="3824"/>
                  </a:cxn>
                  <a:cxn ang="0">
                    <a:pos x="318" y="3584"/>
                  </a:cxn>
                  <a:cxn ang="0">
                    <a:pos x="188" y="3324"/>
                  </a:cxn>
                  <a:cxn ang="0">
                    <a:pos x="92" y="3048"/>
                  </a:cxn>
                  <a:cxn ang="0">
                    <a:pos x="28" y="2756"/>
                  </a:cxn>
                  <a:cxn ang="0">
                    <a:pos x="2" y="2454"/>
                  </a:cxn>
                  <a:cxn ang="0">
                    <a:pos x="8" y="2208"/>
                  </a:cxn>
                  <a:cxn ang="0">
                    <a:pos x="50" y="1910"/>
                  </a:cxn>
                  <a:cxn ang="0">
                    <a:pos x="126" y="1626"/>
                  </a:cxn>
                  <a:cxn ang="0">
                    <a:pos x="236" y="1356"/>
                  </a:cxn>
                  <a:cxn ang="0">
                    <a:pos x="378" y="1102"/>
                  </a:cxn>
                  <a:cxn ang="0">
                    <a:pos x="548" y="870"/>
                  </a:cxn>
                  <a:cxn ang="0">
                    <a:pos x="742" y="660"/>
                  </a:cxn>
                  <a:cxn ang="0">
                    <a:pos x="962" y="476"/>
                  </a:cxn>
                  <a:cxn ang="0">
                    <a:pos x="1202" y="316"/>
                  </a:cxn>
                  <a:cxn ang="0">
                    <a:pos x="1462" y="188"/>
                  </a:cxn>
                  <a:cxn ang="0">
                    <a:pos x="1738" y="90"/>
                  </a:cxn>
                  <a:cxn ang="0">
                    <a:pos x="2030" y="28"/>
                  </a:cxn>
                  <a:cxn ang="0">
                    <a:pos x="2332" y="0"/>
                  </a:cxn>
                  <a:cxn ang="0">
                    <a:pos x="2578" y="6"/>
                  </a:cxn>
                  <a:cxn ang="0">
                    <a:pos x="2876" y="48"/>
                  </a:cxn>
                  <a:cxn ang="0">
                    <a:pos x="3160" y="126"/>
                  </a:cxn>
                  <a:cxn ang="0">
                    <a:pos x="3430" y="236"/>
                  </a:cxn>
                  <a:cxn ang="0">
                    <a:pos x="3684" y="376"/>
                  </a:cxn>
                  <a:cxn ang="0">
                    <a:pos x="3916" y="546"/>
                  </a:cxn>
                  <a:cxn ang="0">
                    <a:pos x="4126" y="742"/>
                  </a:cxn>
                  <a:cxn ang="0">
                    <a:pos x="4310" y="960"/>
                  </a:cxn>
                  <a:cxn ang="0">
                    <a:pos x="4470" y="1202"/>
                  </a:cxn>
                  <a:cxn ang="0">
                    <a:pos x="4598" y="1462"/>
                  </a:cxn>
                  <a:cxn ang="0">
                    <a:pos x="4696" y="1738"/>
                  </a:cxn>
                  <a:cxn ang="0">
                    <a:pos x="4758" y="2028"/>
                  </a:cxn>
                  <a:cxn ang="0">
                    <a:pos x="4786" y="2330"/>
                  </a:cxn>
                </a:cxnLst>
                <a:rect l="0" t="0" r="r" b="b"/>
                <a:pathLst>
                  <a:path w="4786" h="4786">
                    <a:moveTo>
                      <a:pt x="4786" y="2392"/>
                    </a:moveTo>
                    <a:lnTo>
                      <a:pt x="4786" y="2392"/>
                    </a:lnTo>
                    <a:lnTo>
                      <a:pt x="4786" y="2454"/>
                    </a:lnTo>
                    <a:lnTo>
                      <a:pt x="4784" y="2516"/>
                    </a:lnTo>
                    <a:lnTo>
                      <a:pt x="4780" y="2576"/>
                    </a:lnTo>
                    <a:lnTo>
                      <a:pt x="4774" y="2638"/>
                    </a:lnTo>
                    <a:lnTo>
                      <a:pt x="4768" y="2698"/>
                    </a:lnTo>
                    <a:lnTo>
                      <a:pt x="4758" y="2756"/>
                    </a:lnTo>
                    <a:lnTo>
                      <a:pt x="4748" y="2816"/>
                    </a:lnTo>
                    <a:lnTo>
                      <a:pt x="4738" y="2874"/>
                    </a:lnTo>
                    <a:lnTo>
                      <a:pt x="4726" y="2932"/>
                    </a:lnTo>
                    <a:lnTo>
                      <a:pt x="4712" y="2990"/>
                    </a:lnTo>
                    <a:lnTo>
                      <a:pt x="4696" y="3048"/>
                    </a:lnTo>
                    <a:lnTo>
                      <a:pt x="4678" y="3104"/>
                    </a:lnTo>
                    <a:lnTo>
                      <a:pt x="4660" y="3160"/>
                    </a:lnTo>
                    <a:lnTo>
                      <a:pt x="4642" y="3216"/>
                    </a:lnTo>
                    <a:lnTo>
                      <a:pt x="4620" y="3270"/>
                    </a:lnTo>
                    <a:lnTo>
                      <a:pt x="4598" y="3324"/>
                    </a:lnTo>
                    <a:lnTo>
                      <a:pt x="4574" y="3378"/>
                    </a:lnTo>
                    <a:lnTo>
                      <a:pt x="4550" y="3430"/>
                    </a:lnTo>
                    <a:lnTo>
                      <a:pt x="4524" y="3482"/>
                    </a:lnTo>
                    <a:lnTo>
                      <a:pt x="4498" y="3534"/>
                    </a:lnTo>
                    <a:lnTo>
                      <a:pt x="4470" y="3584"/>
                    </a:lnTo>
                    <a:lnTo>
                      <a:pt x="4440" y="3634"/>
                    </a:lnTo>
                    <a:lnTo>
                      <a:pt x="4410" y="3682"/>
                    </a:lnTo>
                    <a:lnTo>
                      <a:pt x="4378" y="3730"/>
                    </a:lnTo>
                    <a:lnTo>
                      <a:pt x="4344" y="3778"/>
                    </a:lnTo>
                    <a:lnTo>
                      <a:pt x="4310" y="3824"/>
                    </a:lnTo>
                    <a:lnTo>
                      <a:pt x="4276" y="3870"/>
                    </a:lnTo>
                    <a:lnTo>
                      <a:pt x="4240" y="3914"/>
                    </a:lnTo>
                    <a:lnTo>
                      <a:pt x="4202" y="3958"/>
                    </a:lnTo>
                    <a:lnTo>
                      <a:pt x="4164" y="4002"/>
                    </a:lnTo>
                    <a:lnTo>
                      <a:pt x="4126" y="4044"/>
                    </a:lnTo>
                    <a:lnTo>
                      <a:pt x="4086" y="4084"/>
                    </a:lnTo>
                    <a:lnTo>
                      <a:pt x="4044" y="4124"/>
                    </a:lnTo>
                    <a:lnTo>
                      <a:pt x="4002" y="4164"/>
                    </a:lnTo>
                    <a:lnTo>
                      <a:pt x="3960" y="4202"/>
                    </a:lnTo>
                    <a:lnTo>
                      <a:pt x="3916" y="4238"/>
                    </a:lnTo>
                    <a:lnTo>
                      <a:pt x="3870" y="4274"/>
                    </a:lnTo>
                    <a:lnTo>
                      <a:pt x="3826" y="4310"/>
                    </a:lnTo>
                    <a:lnTo>
                      <a:pt x="3778" y="4344"/>
                    </a:lnTo>
                    <a:lnTo>
                      <a:pt x="3732" y="4376"/>
                    </a:lnTo>
                    <a:lnTo>
                      <a:pt x="3684" y="4408"/>
                    </a:lnTo>
                    <a:lnTo>
                      <a:pt x="3634" y="4438"/>
                    </a:lnTo>
                    <a:lnTo>
                      <a:pt x="3584" y="4468"/>
                    </a:lnTo>
                    <a:lnTo>
                      <a:pt x="3534" y="4496"/>
                    </a:lnTo>
                    <a:lnTo>
                      <a:pt x="3482" y="4524"/>
                    </a:lnTo>
                    <a:lnTo>
                      <a:pt x="3430" y="4550"/>
                    </a:lnTo>
                    <a:lnTo>
                      <a:pt x="3378" y="4574"/>
                    </a:lnTo>
                    <a:lnTo>
                      <a:pt x="3324" y="4598"/>
                    </a:lnTo>
                    <a:lnTo>
                      <a:pt x="3270" y="4620"/>
                    </a:lnTo>
                    <a:lnTo>
                      <a:pt x="3216" y="4640"/>
                    </a:lnTo>
                    <a:lnTo>
                      <a:pt x="3160" y="4660"/>
                    </a:lnTo>
                    <a:lnTo>
                      <a:pt x="3106" y="4678"/>
                    </a:lnTo>
                    <a:lnTo>
                      <a:pt x="3048" y="4694"/>
                    </a:lnTo>
                    <a:lnTo>
                      <a:pt x="2992" y="4710"/>
                    </a:lnTo>
                    <a:lnTo>
                      <a:pt x="2934" y="4724"/>
                    </a:lnTo>
                    <a:lnTo>
                      <a:pt x="2876" y="4736"/>
                    </a:lnTo>
                    <a:lnTo>
                      <a:pt x="2818" y="4748"/>
                    </a:lnTo>
                    <a:lnTo>
                      <a:pt x="2758" y="4758"/>
                    </a:lnTo>
                    <a:lnTo>
                      <a:pt x="2698" y="4766"/>
                    </a:lnTo>
                    <a:lnTo>
                      <a:pt x="2638" y="4772"/>
                    </a:lnTo>
                    <a:lnTo>
                      <a:pt x="2578" y="4778"/>
                    </a:lnTo>
                    <a:lnTo>
                      <a:pt x="2516" y="4782"/>
                    </a:lnTo>
                    <a:lnTo>
                      <a:pt x="2456" y="4784"/>
                    </a:lnTo>
                    <a:lnTo>
                      <a:pt x="2394" y="4786"/>
                    </a:lnTo>
                    <a:lnTo>
                      <a:pt x="2394" y="4786"/>
                    </a:lnTo>
                    <a:lnTo>
                      <a:pt x="2332" y="4784"/>
                    </a:lnTo>
                    <a:lnTo>
                      <a:pt x="2270" y="4782"/>
                    </a:lnTo>
                    <a:lnTo>
                      <a:pt x="2210" y="4778"/>
                    </a:lnTo>
                    <a:lnTo>
                      <a:pt x="2148" y="4772"/>
                    </a:lnTo>
                    <a:lnTo>
                      <a:pt x="2088" y="4766"/>
                    </a:lnTo>
                    <a:lnTo>
                      <a:pt x="2030" y="4758"/>
                    </a:lnTo>
                    <a:lnTo>
                      <a:pt x="1970" y="4748"/>
                    </a:lnTo>
                    <a:lnTo>
                      <a:pt x="1912" y="4736"/>
                    </a:lnTo>
                    <a:lnTo>
                      <a:pt x="1854" y="4724"/>
                    </a:lnTo>
                    <a:lnTo>
                      <a:pt x="1796" y="4710"/>
                    </a:lnTo>
                    <a:lnTo>
                      <a:pt x="1738" y="4694"/>
                    </a:lnTo>
                    <a:lnTo>
                      <a:pt x="1682" y="4678"/>
                    </a:lnTo>
                    <a:lnTo>
                      <a:pt x="1626" y="4660"/>
                    </a:lnTo>
                    <a:lnTo>
                      <a:pt x="1570" y="4640"/>
                    </a:lnTo>
                    <a:lnTo>
                      <a:pt x="1516" y="4620"/>
                    </a:lnTo>
                    <a:lnTo>
                      <a:pt x="1462" y="4598"/>
                    </a:lnTo>
                    <a:lnTo>
                      <a:pt x="1408" y="4574"/>
                    </a:lnTo>
                    <a:lnTo>
                      <a:pt x="1356" y="4550"/>
                    </a:lnTo>
                    <a:lnTo>
                      <a:pt x="1304" y="4524"/>
                    </a:lnTo>
                    <a:lnTo>
                      <a:pt x="1252" y="4496"/>
                    </a:lnTo>
                    <a:lnTo>
                      <a:pt x="1202" y="4468"/>
                    </a:lnTo>
                    <a:lnTo>
                      <a:pt x="1152" y="4438"/>
                    </a:lnTo>
                    <a:lnTo>
                      <a:pt x="1104" y="4408"/>
                    </a:lnTo>
                    <a:lnTo>
                      <a:pt x="1056" y="4376"/>
                    </a:lnTo>
                    <a:lnTo>
                      <a:pt x="1008" y="4344"/>
                    </a:lnTo>
                    <a:lnTo>
                      <a:pt x="962" y="4310"/>
                    </a:lnTo>
                    <a:lnTo>
                      <a:pt x="916" y="4274"/>
                    </a:lnTo>
                    <a:lnTo>
                      <a:pt x="872" y="4238"/>
                    </a:lnTo>
                    <a:lnTo>
                      <a:pt x="828" y="4202"/>
                    </a:lnTo>
                    <a:lnTo>
                      <a:pt x="784" y="4164"/>
                    </a:lnTo>
                    <a:lnTo>
                      <a:pt x="742" y="4124"/>
                    </a:lnTo>
                    <a:lnTo>
                      <a:pt x="702" y="4084"/>
                    </a:lnTo>
                    <a:lnTo>
                      <a:pt x="662" y="4044"/>
                    </a:lnTo>
                    <a:lnTo>
                      <a:pt x="622" y="4002"/>
                    </a:lnTo>
                    <a:lnTo>
                      <a:pt x="584" y="3958"/>
                    </a:lnTo>
                    <a:lnTo>
                      <a:pt x="548" y="3914"/>
                    </a:lnTo>
                    <a:lnTo>
                      <a:pt x="512" y="3870"/>
                    </a:lnTo>
                    <a:lnTo>
                      <a:pt x="476" y="3824"/>
                    </a:lnTo>
                    <a:lnTo>
                      <a:pt x="442" y="3778"/>
                    </a:lnTo>
                    <a:lnTo>
                      <a:pt x="410" y="3730"/>
                    </a:lnTo>
                    <a:lnTo>
                      <a:pt x="378" y="3682"/>
                    </a:lnTo>
                    <a:lnTo>
                      <a:pt x="348" y="3634"/>
                    </a:lnTo>
                    <a:lnTo>
                      <a:pt x="318" y="3584"/>
                    </a:lnTo>
                    <a:lnTo>
                      <a:pt x="290" y="3534"/>
                    </a:lnTo>
                    <a:lnTo>
                      <a:pt x="262" y="3482"/>
                    </a:lnTo>
                    <a:lnTo>
                      <a:pt x="236" y="3430"/>
                    </a:lnTo>
                    <a:lnTo>
                      <a:pt x="212" y="3378"/>
                    </a:lnTo>
                    <a:lnTo>
                      <a:pt x="188" y="3324"/>
                    </a:lnTo>
                    <a:lnTo>
                      <a:pt x="166" y="3270"/>
                    </a:lnTo>
                    <a:lnTo>
                      <a:pt x="146" y="3216"/>
                    </a:lnTo>
                    <a:lnTo>
                      <a:pt x="126" y="3160"/>
                    </a:lnTo>
                    <a:lnTo>
                      <a:pt x="108" y="3104"/>
                    </a:lnTo>
                    <a:lnTo>
                      <a:pt x="92" y="3048"/>
                    </a:lnTo>
                    <a:lnTo>
                      <a:pt x="76" y="2990"/>
                    </a:lnTo>
                    <a:lnTo>
                      <a:pt x="62" y="2932"/>
                    </a:lnTo>
                    <a:lnTo>
                      <a:pt x="50" y="2874"/>
                    </a:lnTo>
                    <a:lnTo>
                      <a:pt x="38" y="2816"/>
                    </a:lnTo>
                    <a:lnTo>
                      <a:pt x="28" y="2756"/>
                    </a:lnTo>
                    <a:lnTo>
                      <a:pt x="20" y="2698"/>
                    </a:lnTo>
                    <a:lnTo>
                      <a:pt x="14" y="2638"/>
                    </a:lnTo>
                    <a:lnTo>
                      <a:pt x="8" y="2576"/>
                    </a:lnTo>
                    <a:lnTo>
                      <a:pt x="4" y="2516"/>
                    </a:lnTo>
                    <a:lnTo>
                      <a:pt x="2" y="2454"/>
                    </a:lnTo>
                    <a:lnTo>
                      <a:pt x="0" y="2392"/>
                    </a:lnTo>
                    <a:lnTo>
                      <a:pt x="0" y="2392"/>
                    </a:lnTo>
                    <a:lnTo>
                      <a:pt x="2" y="2330"/>
                    </a:lnTo>
                    <a:lnTo>
                      <a:pt x="4" y="2270"/>
                    </a:lnTo>
                    <a:lnTo>
                      <a:pt x="8" y="2208"/>
                    </a:lnTo>
                    <a:lnTo>
                      <a:pt x="14" y="2148"/>
                    </a:lnTo>
                    <a:lnTo>
                      <a:pt x="20" y="2088"/>
                    </a:lnTo>
                    <a:lnTo>
                      <a:pt x="28" y="2028"/>
                    </a:lnTo>
                    <a:lnTo>
                      <a:pt x="38" y="1968"/>
                    </a:lnTo>
                    <a:lnTo>
                      <a:pt x="50" y="1910"/>
                    </a:lnTo>
                    <a:lnTo>
                      <a:pt x="62" y="1852"/>
                    </a:lnTo>
                    <a:lnTo>
                      <a:pt x="76" y="1794"/>
                    </a:lnTo>
                    <a:lnTo>
                      <a:pt x="92" y="1738"/>
                    </a:lnTo>
                    <a:lnTo>
                      <a:pt x="108" y="1680"/>
                    </a:lnTo>
                    <a:lnTo>
                      <a:pt x="126" y="1626"/>
                    </a:lnTo>
                    <a:lnTo>
                      <a:pt x="146" y="1570"/>
                    </a:lnTo>
                    <a:lnTo>
                      <a:pt x="166" y="1516"/>
                    </a:lnTo>
                    <a:lnTo>
                      <a:pt x="188" y="1462"/>
                    </a:lnTo>
                    <a:lnTo>
                      <a:pt x="212" y="1408"/>
                    </a:lnTo>
                    <a:lnTo>
                      <a:pt x="236" y="1356"/>
                    </a:lnTo>
                    <a:lnTo>
                      <a:pt x="262" y="1304"/>
                    </a:lnTo>
                    <a:lnTo>
                      <a:pt x="290" y="1252"/>
                    </a:lnTo>
                    <a:lnTo>
                      <a:pt x="318" y="1202"/>
                    </a:lnTo>
                    <a:lnTo>
                      <a:pt x="348" y="1152"/>
                    </a:lnTo>
                    <a:lnTo>
                      <a:pt x="378" y="1102"/>
                    </a:lnTo>
                    <a:lnTo>
                      <a:pt x="410" y="1054"/>
                    </a:lnTo>
                    <a:lnTo>
                      <a:pt x="442" y="1008"/>
                    </a:lnTo>
                    <a:lnTo>
                      <a:pt x="476" y="960"/>
                    </a:lnTo>
                    <a:lnTo>
                      <a:pt x="512" y="916"/>
                    </a:lnTo>
                    <a:lnTo>
                      <a:pt x="548" y="870"/>
                    </a:lnTo>
                    <a:lnTo>
                      <a:pt x="584" y="826"/>
                    </a:lnTo>
                    <a:lnTo>
                      <a:pt x="622" y="784"/>
                    </a:lnTo>
                    <a:lnTo>
                      <a:pt x="662" y="742"/>
                    </a:lnTo>
                    <a:lnTo>
                      <a:pt x="702" y="700"/>
                    </a:lnTo>
                    <a:lnTo>
                      <a:pt x="742" y="660"/>
                    </a:lnTo>
                    <a:lnTo>
                      <a:pt x="784" y="622"/>
                    </a:lnTo>
                    <a:lnTo>
                      <a:pt x="828" y="584"/>
                    </a:lnTo>
                    <a:lnTo>
                      <a:pt x="872" y="546"/>
                    </a:lnTo>
                    <a:lnTo>
                      <a:pt x="916" y="510"/>
                    </a:lnTo>
                    <a:lnTo>
                      <a:pt x="962" y="476"/>
                    </a:lnTo>
                    <a:lnTo>
                      <a:pt x="1008" y="442"/>
                    </a:lnTo>
                    <a:lnTo>
                      <a:pt x="1056" y="408"/>
                    </a:lnTo>
                    <a:lnTo>
                      <a:pt x="1104" y="376"/>
                    </a:lnTo>
                    <a:lnTo>
                      <a:pt x="1152" y="346"/>
                    </a:lnTo>
                    <a:lnTo>
                      <a:pt x="1202" y="316"/>
                    </a:lnTo>
                    <a:lnTo>
                      <a:pt x="1252" y="288"/>
                    </a:lnTo>
                    <a:lnTo>
                      <a:pt x="1304" y="262"/>
                    </a:lnTo>
                    <a:lnTo>
                      <a:pt x="1356" y="236"/>
                    </a:lnTo>
                    <a:lnTo>
                      <a:pt x="1408" y="212"/>
                    </a:lnTo>
                    <a:lnTo>
                      <a:pt x="1462" y="188"/>
                    </a:lnTo>
                    <a:lnTo>
                      <a:pt x="1516" y="166"/>
                    </a:lnTo>
                    <a:lnTo>
                      <a:pt x="1570" y="144"/>
                    </a:lnTo>
                    <a:lnTo>
                      <a:pt x="1626" y="126"/>
                    </a:lnTo>
                    <a:lnTo>
                      <a:pt x="1682" y="108"/>
                    </a:lnTo>
                    <a:lnTo>
                      <a:pt x="1738" y="90"/>
                    </a:lnTo>
                    <a:lnTo>
                      <a:pt x="1796" y="74"/>
                    </a:lnTo>
                    <a:lnTo>
                      <a:pt x="1854" y="60"/>
                    </a:lnTo>
                    <a:lnTo>
                      <a:pt x="1912" y="48"/>
                    </a:lnTo>
                    <a:lnTo>
                      <a:pt x="1970" y="38"/>
                    </a:lnTo>
                    <a:lnTo>
                      <a:pt x="2030" y="28"/>
                    </a:lnTo>
                    <a:lnTo>
                      <a:pt x="2088" y="18"/>
                    </a:lnTo>
                    <a:lnTo>
                      <a:pt x="2148" y="12"/>
                    </a:lnTo>
                    <a:lnTo>
                      <a:pt x="2210" y="6"/>
                    </a:lnTo>
                    <a:lnTo>
                      <a:pt x="2270" y="2"/>
                    </a:lnTo>
                    <a:lnTo>
                      <a:pt x="2332" y="0"/>
                    </a:lnTo>
                    <a:lnTo>
                      <a:pt x="2394" y="0"/>
                    </a:lnTo>
                    <a:lnTo>
                      <a:pt x="2394" y="0"/>
                    </a:lnTo>
                    <a:lnTo>
                      <a:pt x="2456" y="0"/>
                    </a:lnTo>
                    <a:lnTo>
                      <a:pt x="2516" y="2"/>
                    </a:lnTo>
                    <a:lnTo>
                      <a:pt x="2578" y="6"/>
                    </a:lnTo>
                    <a:lnTo>
                      <a:pt x="2638" y="12"/>
                    </a:lnTo>
                    <a:lnTo>
                      <a:pt x="2698" y="18"/>
                    </a:lnTo>
                    <a:lnTo>
                      <a:pt x="2758" y="28"/>
                    </a:lnTo>
                    <a:lnTo>
                      <a:pt x="2818" y="38"/>
                    </a:lnTo>
                    <a:lnTo>
                      <a:pt x="2876" y="48"/>
                    </a:lnTo>
                    <a:lnTo>
                      <a:pt x="2934" y="60"/>
                    </a:lnTo>
                    <a:lnTo>
                      <a:pt x="2992" y="74"/>
                    </a:lnTo>
                    <a:lnTo>
                      <a:pt x="3048" y="90"/>
                    </a:lnTo>
                    <a:lnTo>
                      <a:pt x="3106" y="108"/>
                    </a:lnTo>
                    <a:lnTo>
                      <a:pt x="3160" y="126"/>
                    </a:lnTo>
                    <a:lnTo>
                      <a:pt x="3216" y="144"/>
                    </a:lnTo>
                    <a:lnTo>
                      <a:pt x="3270" y="166"/>
                    </a:lnTo>
                    <a:lnTo>
                      <a:pt x="3324" y="188"/>
                    </a:lnTo>
                    <a:lnTo>
                      <a:pt x="3378" y="212"/>
                    </a:lnTo>
                    <a:lnTo>
                      <a:pt x="3430" y="236"/>
                    </a:lnTo>
                    <a:lnTo>
                      <a:pt x="3482" y="262"/>
                    </a:lnTo>
                    <a:lnTo>
                      <a:pt x="3534" y="288"/>
                    </a:lnTo>
                    <a:lnTo>
                      <a:pt x="3584" y="316"/>
                    </a:lnTo>
                    <a:lnTo>
                      <a:pt x="3634" y="346"/>
                    </a:lnTo>
                    <a:lnTo>
                      <a:pt x="3684" y="376"/>
                    </a:lnTo>
                    <a:lnTo>
                      <a:pt x="3732" y="408"/>
                    </a:lnTo>
                    <a:lnTo>
                      <a:pt x="3778" y="442"/>
                    </a:lnTo>
                    <a:lnTo>
                      <a:pt x="3826" y="476"/>
                    </a:lnTo>
                    <a:lnTo>
                      <a:pt x="3870" y="510"/>
                    </a:lnTo>
                    <a:lnTo>
                      <a:pt x="3916" y="546"/>
                    </a:lnTo>
                    <a:lnTo>
                      <a:pt x="3960" y="584"/>
                    </a:lnTo>
                    <a:lnTo>
                      <a:pt x="4002" y="622"/>
                    </a:lnTo>
                    <a:lnTo>
                      <a:pt x="4044" y="660"/>
                    </a:lnTo>
                    <a:lnTo>
                      <a:pt x="4086" y="700"/>
                    </a:lnTo>
                    <a:lnTo>
                      <a:pt x="4126" y="742"/>
                    </a:lnTo>
                    <a:lnTo>
                      <a:pt x="4164" y="784"/>
                    </a:lnTo>
                    <a:lnTo>
                      <a:pt x="4202" y="826"/>
                    </a:lnTo>
                    <a:lnTo>
                      <a:pt x="4240" y="870"/>
                    </a:lnTo>
                    <a:lnTo>
                      <a:pt x="4276" y="916"/>
                    </a:lnTo>
                    <a:lnTo>
                      <a:pt x="4310" y="960"/>
                    </a:lnTo>
                    <a:lnTo>
                      <a:pt x="4344" y="1008"/>
                    </a:lnTo>
                    <a:lnTo>
                      <a:pt x="4378" y="1054"/>
                    </a:lnTo>
                    <a:lnTo>
                      <a:pt x="4410" y="1102"/>
                    </a:lnTo>
                    <a:lnTo>
                      <a:pt x="4440" y="1152"/>
                    </a:lnTo>
                    <a:lnTo>
                      <a:pt x="4470" y="1202"/>
                    </a:lnTo>
                    <a:lnTo>
                      <a:pt x="4498" y="1252"/>
                    </a:lnTo>
                    <a:lnTo>
                      <a:pt x="4524" y="1304"/>
                    </a:lnTo>
                    <a:lnTo>
                      <a:pt x="4550" y="1356"/>
                    </a:lnTo>
                    <a:lnTo>
                      <a:pt x="4574" y="1408"/>
                    </a:lnTo>
                    <a:lnTo>
                      <a:pt x="4598" y="1462"/>
                    </a:lnTo>
                    <a:lnTo>
                      <a:pt x="4620" y="1516"/>
                    </a:lnTo>
                    <a:lnTo>
                      <a:pt x="4642" y="1570"/>
                    </a:lnTo>
                    <a:lnTo>
                      <a:pt x="4660" y="1626"/>
                    </a:lnTo>
                    <a:lnTo>
                      <a:pt x="4678" y="1680"/>
                    </a:lnTo>
                    <a:lnTo>
                      <a:pt x="4696" y="1738"/>
                    </a:lnTo>
                    <a:lnTo>
                      <a:pt x="4712" y="1794"/>
                    </a:lnTo>
                    <a:lnTo>
                      <a:pt x="4726" y="1852"/>
                    </a:lnTo>
                    <a:lnTo>
                      <a:pt x="4738" y="1910"/>
                    </a:lnTo>
                    <a:lnTo>
                      <a:pt x="4748" y="1968"/>
                    </a:lnTo>
                    <a:lnTo>
                      <a:pt x="4758" y="2028"/>
                    </a:lnTo>
                    <a:lnTo>
                      <a:pt x="4768" y="2088"/>
                    </a:lnTo>
                    <a:lnTo>
                      <a:pt x="4774" y="2148"/>
                    </a:lnTo>
                    <a:lnTo>
                      <a:pt x="4780" y="2208"/>
                    </a:lnTo>
                    <a:lnTo>
                      <a:pt x="4784" y="2270"/>
                    </a:lnTo>
                    <a:lnTo>
                      <a:pt x="4786" y="2330"/>
                    </a:lnTo>
                    <a:lnTo>
                      <a:pt x="4786" y="2392"/>
                    </a:lnTo>
                    <a:lnTo>
                      <a:pt x="4786" y="2392"/>
                    </a:lnTo>
                    <a:close/>
                  </a:path>
                </a:pathLst>
              </a:custGeom>
              <a:solidFill>
                <a:schemeClr val="accent1">
                  <a:lumMod val="75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58" name="Freeform 71">
                <a:extLst>
                  <a:ext uri="{FF2B5EF4-FFF2-40B4-BE49-F238E27FC236}">
                    <a16:creationId xmlns:a16="http://schemas.microsoft.com/office/drawing/2014/main" id="{0C0194F4-EC73-B3E5-439A-E1DCD4DE1D9C}"/>
                  </a:ext>
                </a:extLst>
              </p:cNvPr>
              <p:cNvSpPr>
                <a:spLocks/>
              </p:cNvSpPr>
              <p:nvPr/>
            </p:nvSpPr>
            <p:spPr bwMode="auto">
              <a:xfrm>
                <a:off x="7097713" y="-1509713"/>
                <a:ext cx="933450" cy="2314575"/>
              </a:xfrm>
              <a:custGeom>
                <a:avLst/>
                <a:gdLst/>
                <a:ahLst/>
                <a:cxnLst>
                  <a:cxn ang="0">
                    <a:pos x="306" y="0"/>
                  </a:cxn>
                  <a:cxn ang="0">
                    <a:pos x="306" y="0"/>
                  </a:cxn>
                  <a:cxn ang="0">
                    <a:pos x="270" y="24"/>
                  </a:cxn>
                  <a:cxn ang="0">
                    <a:pos x="236" y="46"/>
                  </a:cxn>
                  <a:cxn ang="0">
                    <a:pos x="198" y="68"/>
                  </a:cxn>
                  <a:cxn ang="0">
                    <a:pos x="160" y="86"/>
                  </a:cxn>
                  <a:cxn ang="0">
                    <a:pos x="122" y="104"/>
                  </a:cxn>
                  <a:cxn ang="0">
                    <a:pos x="82" y="120"/>
                  </a:cxn>
                  <a:cxn ang="0">
                    <a:pos x="40" y="132"/>
                  </a:cxn>
                  <a:cxn ang="0">
                    <a:pos x="0" y="144"/>
                  </a:cxn>
                  <a:cxn ang="0">
                    <a:pos x="0" y="144"/>
                  </a:cxn>
                  <a:cxn ang="0">
                    <a:pos x="32" y="160"/>
                  </a:cxn>
                  <a:cxn ang="0">
                    <a:pos x="64" y="178"/>
                  </a:cxn>
                  <a:cxn ang="0">
                    <a:pos x="92" y="198"/>
                  </a:cxn>
                  <a:cxn ang="0">
                    <a:pos x="122" y="222"/>
                  </a:cxn>
                  <a:cxn ang="0">
                    <a:pos x="148" y="246"/>
                  </a:cxn>
                  <a:cxn ang="0">
                    <a:pos x="172" y="272"/>
                  </a:cxn>
                  <a:cxn ang="0">
                    <a:pos x="196" y="300"/>
                  </a:cxn>
                  <a:cxn ang="0">
                    <a:pos x="216" y="328"/>
                  </a:cxn>
                  <a:cxn ang="0">
                    <a:pos x="236" y="360"/>
                  </a:cxn>
                  <a:cxn ang="0">
                    <a:pos x="252" y="392"/>
                  </a:cxn>
                  <a:cxn ang="0">
                    <a:pos x="266" y="424"/>
                  </a:cxn>
                  <a:cxn ang="0">
                    <a:pos x="278" y="460"/>
                  </a:cxn>
                  <a:cxn ang="0">
                    <a:pos x="288" y="496"/>
                  </a:cxn>
                  <a:cxn ang="0">
                    <a:pos x="294" y="532"/>
                  </a:cxn>
                  <a:cxn ang="0">
                    <a:pos x="300" y="570"/>
                  </a:cxn>
                  <a:cxn ang="0">
                    <a:pos x="300" y="608"/>
                  </a:cxn>
                  <a:cxn ang="0">
                    <a:pos x="300" y="1458"/>
                  </a:cxn>
                  <a:cxn ang="0">
                    <a:pos x="588" y="1458"/>
                  </a:cxn>
                  <a:cxn ang="0">
                    <a:pos x="588" y="608"/>
                  </a:cxn>
                  <a:cxn ang="0">
                    <a:pos x="588" y="608"/>
                  </a:cxn>
                  <a:cxn ang="0">
                    <a:pos x="586" y="562"/>
                  </a:cxn>
                  <a:cxn ang="0">
                    <a:pos x="584" y="518"/>
                  </a:cxn>
                  <a:cxn ang="0">
                    <a:pos x="576" y="474"/>
                  </a:cxn>
                  <a:cxn ang="0">
                    <a:pos x="568" y="430"/>
                  </a:cxn>
                  <a:cxn ang="0">
                    <a:pos x="558" y="388"/>
                  </a:cxn>
                  <a:cxn ang="0">
                    <a:pos x="544" y="348"/>
                  </a:cxn>
                  <a:cxn ang="0">
                    <a:pos x="528" y="308"/>
                  </a:cxn>
                  <a:cxn ang="0">
                    <a:pos x="512" y="268"/>
                  </a:cxn>
                  <a:cxn ang="0">
                    <a:pos x="492" y="230"/>
                  </a:cxn>
                  <a:cxn ang="0">
                    <a:pos x="470" y="192"/>
                  </a:cxn>
                  <a:cxn ang="0">
                    <a:pos x="448" y="158"/>
                  </a:cxn>
                  <a:cxn ang="0">
                    <a:pos x="422" y="122"/>
                  </a:cxn>
                  <a:cxn ang="0">
                    <a:pos x="396" y="90"/>
                  </a:cxn>
                  <a:cxn ang="0">
                    <a:pos x="368" y="58"/>
                  </a:cxn>
                  <a:cxn ang="0">
                    <a:pos x="336" y="28"/>
                  </a:cxn>
                  <a:cxn ang="0">
                    <a:pos x="306" y="0"/>
                  </a:cxn>
                  <a:cxn ang="0">
                    <a:pos x="306" y="0"/>
                  </a:cxn>
                </a:cxnLst>
                <a:rect l="0" t="0" r="r" b="b"/>
                <a:pathLst>
                  <a:path w="588" h="1458">
                    <a:moveTo>
                      <a:pt x="306" y="0"/>
                    </a:moveTo>
                    <a:lnTo>
                      <a:pt x="306" y="0"/>
                    </a:lnTo>
                    <a:lnTo>
                      <a:pt x="270" y="24"/>
                    </a:lnTo>
                    <a:lnTo>
                      <a:pt x="236" y="46"/>
                    </a:lnTo>
                    <a:lnTo>
                      <a:pt x="198" y="68"/>
                    </a:lnTo>
                    <a:lnTo>
                      <a:pt x="160" y="86"/>
                    </a:lnTo>
                    <a:lnTo>
                      <a:pt x="122" y="104"/>
                    </a:lnTo>
                    <a:lnTo>
                      <a:pt x="82" y="120"/>
                    </a:lnTo>
                    <a:lnTo>
                      <a:pt x="40" y="132"/>
                    </a:lnTo>
                    <a:lnTo>
                      <a:pt x="0" y="144"/>
                    </a:lnTo>
                    <a:lnTo>
                      <a:pt x="0" y="144"/>
                    </a:lnTo>
                    <a:lnTo>
                      <a:pt x="32" y="160"/>
                    </a:lnTo>
                    <a:lnTo>
                      <a:pt x="64" y="178"/>
                    </a:lnTo>
                    <a:lnTo>
                      <a:pt x="92" y="198"/>
                    </a:lnTo>
                    <a:lnTo>
                      <a:pt x="122" y="222"/>
                    </a:lnTo>
                    <a:lnTo>
                      <a:pt x="148" y="246"/>
                    </a:lnTo>
                    <a:lnTo>
                      <a:pt x="172" y="272"/>
                    </a:lnTo>
                    <a:lnTo>
                      <a:pt x="196" y="300"/>
                    </a:lnTo>
                    <a:lnTo>
                      <a:pt x="216" y="328"/>
                    </a:lnTo>
                    <a:lnTo>
                      <a:pt x="236" y="360"/>
                    </a:lnTo>
                    <a:lnTo>
                      <a:pt x="252" y="392"/>
                    </a:lnTo>
                    <a:lnTo>
                      <a:pt x="266" y="424"/>
                    </a:lnTo>
                    <a:lnTo>
                      <a:pt x="278" y="460"/>
                    </a:lnTo>
                    <a:lnTo>
                      <a:pt x="288" y="496"/>
                    </a:lnTo>
                    <a:lnTo>
                      <a:pt x="294" y="532"/>
                    </a:lnTo>
                    <a:lnTo>
                      <a:pt x="300" y="570"/>
                    </a:lnTo>
                    <a:lnTo>
                      <a:pt x="300" y="608"/>
                    </a:lnTo>
                    <a:lnTo>
                      <a:pt x="300" y="1458"/>
                    </a:lnTo>
                    <a:lnTo>
                      <a:pt x="588" y="1458"/>
                    </a:lnTo>
                    <a:lnTo>
                      <a:pt x="588" y="608"/>
                    </a:lnTo>
                    <a:lnTo>
                      <a:pt x="588" y="608"/>
                    </a:lnTo>
                    <a:lnTo>
                      <a:pt x="586" y="562"/>
                    </a:lnTo>
                    <a:lnTo>
                      <a:pt x="584" y="518"/>
                    </a:lnTo>
                    <a:lnTo>
                      <a:pt x="576" y="474"/>
                    </a:lnTo>
                    <a:lnTo>
                      <a:pt x="568" y="430"/>
                    </a:lnTo>
                    <a:lnTo>
                      <a:pt x="558" y="388"/>
                    </a:lnTo>
                    <a:lnTo>
                      <a:pt x="544" y="348"/>
                    </a:lnTo>
                    <a:lnTo>
                      <a:pt x="528" y="308"/>
                    </a:lnTo>
                    <a:lnTo>
                      <a:pt x="512" y="268"/>
                    </a:lnTo>
                    <a:lnTo>
                      <a:pt x="492" y="230"/>
                    </a:lnTo>
                    <a:lnTo>
                      <a:pt x="470" y="192"/>
                    </a:lnTo>
                    <a:lnTo>
                      <a:pt x="448" y="158"/>
                    </a:lnTo>
                    <a:lnTo>
                      <a:pt x="422" y="122"/>
                    </a:lnTo>
                    <a:lnTo>
                      <a:pt x="396" y="90"/>
                    </a:lnTo>
                    <a:lnTo>
                      <a:pt x="368" y="58"/>
                    </a:lnTo>
                    <a:lnTo>
                      <a:pt x="336" y="28"/>
                    </a:lnTo>
                    <a:lnTo>
                      <a:pt x="306" y="0"/>
                    </a:lnTo>
                    <a:lnTo>
                      <a:pt x="306"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59" name="Freeform 72">
                <a:extLst>
                  <a:ext uri="{FF2B5EF4-FFF2-40B4-BE49-F238E27FC236}">
                    <a16:creationId xmlns:a16="http://schemas.microsoft.com/office/drawing/2014/main" id="{879DE863-F2D7-38EB-1766-BCCC88F7438A}"/>
                  </a:ext>
                </a:extLst>
              </p:cNvPr>
              <p:cNvSpPr>
                <a:spLocks/>
              </p:cNvSpPr>
              <p:nvPr/>
            </p:nvSpPr>
            <p:spPr bwMode="auto">
              <a:xfrm>
                <a:off x="5500688" y="-3967163"/>
                <a:ext cx="936625" cy="2314575"/>
              </a:xfrm>
              <a:custGeom>
                <a:avLst/>
                <a:gdLst/>
                <a:ahLst/>
                <a:cxnLst>
                  <a:cxn ang="0">
                    <a:pos x="284" y="1458"/>
                  </a:cxn>
                  <a:cxn ang="0">
                    <a:pos x="284" y="1458"/>
                  </a:cxn>
                  <a:cxn ang="0">
                    <a:pos x="318" y="1434"/>
                  </a:cxn>
                  <a:cxn ang="0">
                    <a:pos x="354" y="1410"/>
                  </a:cxn>
                  <a:cxn ang="0">
                    <a:pos x="390" y="1390"/>
                  </a:cxn>
                  <a:cxn ang="0">
                    <a:pos x="428" y="1372"/>
                  </a:cxn>
                  <a:cxn ang="0">
                    <a:pos x="468" y="1354"/>
                  </a:cxn>
                  <a:cxn ang="0">
                    <a:pos x="508" y="1338"/>
                  </a:cxn>
                  <a:cxn ang="0">
                    <a:pos x="548" y="1326"/>
                  </a:cxn>
                  <a:cxn ang="0">
                    <a:pos x="590" y="1314"/>
                  </a:cxn>
                  <a:cxn ang="0">
                    <a:pos x="590" y="1314"/>
                  </a:cxn>
                  <a:cxn ang="0">
                    <a:pos x="558" y="1298"/>
                  </a:cxn>
                  <a:cxn ang="0">
                    <a:pos x="526" y="1280"/>
                  </a:cxn>
                  <a:cxn ang="0">
                    <a:pos x="496" y="1260"/>
                  </a:cxn>
                  <a:cxn ang="0">
                    <a:pos x="468" y="1236"/>
                  </a:cxn>
                  <a:cxn ang="0">
                    <a:pos x="442" y="1212"/>
                  </a:cxn>
                  <a:cxn ang="0">
                    <a:pos x="416" y="1186"/>
                  </a:cxn>
                  <a:cxn ang="0">
                    <a:pos x="394" y="1158"/>
                  </a:cxn>
                  <a:cxn ang="0">
                    <a:pos x="372" y="1130"/>
                  </a:cxn>
                  <a:cxn ang="0">
                    <a:pos x="354" y="1098"/>
                  </a:cxn>
                  <a:cxn ang="0">
                    <a:pos x="338" y="1066"/>
                  </a:cxn>
                  <a:cxn ang="0">
                    <a:pos x="322" y="1032"/>
                  </a:cxn>
                  <a:cxn ang="0">
                    <a:pos x="310" y="998"/>
                  </a:cxn>
                  <a:cxn ang="0">
                    <a:pos x="302" y="962"/>
                  </a:cxn>
                  <a:cxn ang="0">
                    <a:pos x="294" y="926"/>
                  </a:cxn>
                  <a:cxn ang="0">
                    <a:pos x="290" y="888"/>
                  </a:cxn>
                  <a:cxn ang="0">
                    <a:pos x="288" y="850"/>
                  </a:cxn>
                  <a:cxn ang="0">
                    <a:pos x="288" y="0"/>
                  </a:cxn>
                  <a:cxn ang="0">
                    <a:pos x="0" y="0"/>
                  </a:cxn>
                  <a:cxn ang="0">
                    <a:pos x="0" y="850"/>
                  </a:cxn>
                  <a:cxn ang="0">
                    <a:pos x="0" y="850"/>
                  </a:cxn>
                  <a:cxn ang="0">
                    <a:pos x="2" y="894"/>
                  </a:cxn>
                  <a:cxn ang="0">
                    <a:pos x="6" y="940"/>
                  </a:cxn>
                  <a:cxn ang="0">
                    <a:pos x="12" y="984"/>
                  </a:cxn>
                  <a:cxn ang="0">
                    <a:pos x="20" y="1026"/>
                  </a:cxn>
                  <a:cxn ang="0">
                    <a:pos x="32" y="1070"/>
                  </a:cxn>
                  <a:cxn ang="0">
                    <a:pos x="44" y="1110"/>
                  </a:cxn>
                  <a:cxn ang="0">
                    <a:pos x="60" y="1150"/>
                  </a:cxn>
                  <a:cxn ang="0">
                    <a:pos x="78" y="1190"/>
                  </a:cxn>
                  <a:cxn ang="0">
                    <a:pos x="96" y="1228"/>
                  </a:cxn>
                  <a:cxn ang="0">
                    <a:pos x="118" y="1266"/>
                  </a:cxn>
                  <a:cxn ang="0">
                    <a:pos x="142" y="1300"/>
                  </a:cxn>
                  <a:cxn ang="0">
                    <a:pos x="166" y="1336"/>
                  </a:cxn>
                  <a:cxn ang="0">
                    <a:pos x="194" y="1368"/>
                  </a:cxn>
                  <a:cxn ang="0">
                    <a:pos x="222" y="1400"/>
                  </a:cxn>
                  <a:cxn ang="0">
                    <a:pos x="252" y="1430"/>
                  </a:cxn>
                  <a:cxn ang="0">
                    <a:pos x="284" y="1458"/>
                  </a:cxn>
                  <a:cxn ang="0">
                    <a:pos x="284" y="1458"/>
                  </a:cxn>
                </a:cxnLst>
                <a:rect l="0" t="0" r="r" b="b"/>
                <a:pathLst>
                  <a:path w="590" h="1458">
                    <a:moveTo>
                      <a:pt x="284" y="1458"/>
                    </a:moveTo>
                    <a:lnTo>
                      <a:pt x="284" y="1458"/>
                    </a:lnTo>
                    <a:lnTo>
                      <a:pt x="318" y="1434"/>
                    </a:lnTo>
                    <a:lnTo>
                      <a:pt x="354" y="1410"/>
                    </a:lnTo>
                    <a:lnTo>
                      <a:pt x="390" y="1390"/>
                    </a:lnTo>
                    <a:lnTo>
                      <a:pt x="428" y="1372"/>
                    </a:lnTo>
                    <a:lnTo>
                      <a:pt x="468" y="1354"/>
                    </a:lnTo>
                    <a:lnTo>
                      <a:pt x="508" y="1338"/>
                    </a:lnTo>
                    <a:lnTo>
                      <a:pt x="548" y="1326"/>
                    </a:lnTo>
                    <a:lnTo>
                      <a:pt x="590" y="1314"/>
                    </a:lnTo>
                    <a:lnTo>
                      <a:pt x="590" y="1314"/>
                    </a:lnTo>
                    <a:lnTo>
                      <a:pt x="558" y="1298"/>
                    </a:lnTo>
                    <a:lnTo>
                      <a:pt x="526" y="1280"/>
                    </a:lnTo>
                    <a:lnTo>
                      <a:pt x="496" y="1260"/>
                    </a:lnTo>
                    <a:lnTo>
                      <a:pt x="468" y="1236"/>
                    </a:lnTo>
                    <a:lnTo>
                      <a:pt x="442" y="1212"/>
                    </a:lnTo>
                    <a:lnTo>
                      <a:pt x="416" y="1186"/>
                    </a:lnTo>
                    <a:lnTo>
                      <a:pt x="394" y="1158"/>
                    </a:lnTo>
                    <a:lnTo>
                      <a:pt x="372" y="1130"/>
                    </a:lnTo>
                    <a:lnTo>
                      <a:pt x="354" y="1098"/>
                    </a:lnTo>
                    <a:lnTo>
                      <a:pt x="338" y="1066"/>
                    </a:lnTo>
                    <a:lnTo>
                      <a:pt x="322" y="1032"/>
                    </a:lnTo>
                    <a:lnTo>
                      <a:pt x="310" y="998"/>
                    </a:lnTo>
                    <a:lnTo>
                      <a:pt x="302" y="962"/>
                    </a:lnTo>
                    <a:lnTo>
                      <a:pt x="294" y="926"/>
                    </a:lnTo>
                    <a:lnTo>
                      <a:pt x="290" y="888"/>
                    </a:lnTo>
                    <a:lnTo>
                      <a:pt x="288" y="850"/>
                    </a:lnTo>
                    <a:lnTo>
                      <a:pt x="288" y="0"/>
                    </a:lnTo>
                    <a:lnTo>
                      <a:pt x="0" y="0"/>
                    </a:lnTo>
                    <a:lnTo>
                      <a:pt x="0" y="850"/>
                    </a:lnTo>
                    <a:lnTo>
                      <a:pt x="0" y="850"/>
                    </a:lnTo>
                    <a:lnTo>
                      <a:pt x="2" y="894"/>
                    </a:lnTo>
                    <a:lnTo>
                      <a:pt x="6" y="940"/>
                    </a:lnTo>
                    <a:lnTo>
                      <a:pt x="12" y="984"/>
                    </a:lnTo>
                    <a:lnTo>
                      <a:pt x="20" y="1026"/>
                    </a:lnTo>
                    <a:lnTo>
                      <a:pt x="32" y="1070"/>
                    </a:lnTo>
                    <a:lnTo>
                      <a:pt x="44" y="1110"/>
                    </a:lnTo>
                    <a:lnTo>
                      <a:pt x="60" y="1150"/>
                    </a:lnTo>
                    <a:lnTo>
                      <a:pt x="78" y="1190"/>
                    </a:lnTo>
                    <a:lnTo>
                      <a:pt x="96" y="1228"/>
                    </a:lnTo>
                    <a:lnTo>
                      <a:pt x="118" y="1266"/>
                    </a:lnTo>
                    <a:lnTo>
                      <a:pt x="142" y="1300"/>
                    </a:lnTo>
                    <a:lnTo>
                      <a:pt x="166" y="1336"/>
                    </a:lnTo>
                    <a:lnTo>
                      <a:pt x="194" y="1368"/>
                    </a:lnTo>
                    <a:lnTo>
                      <a:pt x="222" y="1400"/>
                    </a:lnTo>
                    <a:lnTo>
                      <a:pt x="252" y="1430"/>
                    </a:lnTo>
                    <a:lnTo>
                      <a:pt x="284" y="1458"/>
                    </a:lnTo>
                    <a:lnTo>
                      <a:pt x="284" y="1458"/>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60" name="Freeform 73">
                <a:extLst>
                  <a:ext uri="{FF2B5EF4-FFF2-40B4-BE49-F238E27FC236}">
                    <a16:creationId xmlns:a16="http://schemas.microsoft.com/office/drawing/2014/main" id="{DD0403D0-8AC7-9A0E-2363-D5FF9C49C02C}"/>
                  </a:ext>
                </a:extLst>
              </p:cNvPr>
              <p:cNvSpPr>
                <a:spLocks/>
              </p:cNvSpPr>
              <p:nvPr/>
            </p:nvSpPr>
            <p:spPr bwMode="auto">
              <a:xfrm>
                <a:off x="5500684" y="-3967162"/>
                <a:ext cx="2530475" cy="4772027"/>
              </a:xfrm>
              <a:custGeom>
                <a:avLst/>
                <a:gdLst/>
                <a:ahLst/>
                <a:cxnLst>
                  <a:cxn ang="0">
                    <a:pos x="1306" y="0"/>
                  </a:cxn>
                  <a:cxn ang="0">
                    <a:pos x="1306" y="874"/>
                  </a:cxn>
                  <a:cxn ang="0">
                    <a:pos x="1302" y="918"/>
                  </a:cxn>
                  <a:cxn ang="0">
                    <a:pos x="1292" y="966"/>
                  </a:cxn>
                  <a:cxn ang="0">
                    <a:pos x="1262" y="1056"/>
                  </a:cxn>
                  <a:cxn ang="0">
                    <a:pos x="1218" y="1136"/>
                  </a:cxn>
                  <a:cxn ang="0">
                    <a:pos x="1160" y="1206"/>
                  </a:cxn>
                  <a:cxn ang="0">
                    <a:pos x="1092" y="1264"/>
                  </a:cxn>
                  <a:cxn ang="0">
                    <a:pos x="1014" y="1310"/>
                  </a:cxn>
                  <a:cxn ang="0">
                    <a:pos x="932" y="1340"/>
                  </a:cxn>
                  <a:cxn ang="0">
                    <a:pos x="842" y="1356"/>
                  </a:cxn>
                  <a:cxn ang="0">
                    <a:pos x="798" y="1360"/>
                  </a:cxn>
                  <a:cxn ang="0">
                    <a:pos x="756" y="1360"/>
                  </a:cxn>
                  <a:cxn ang="0">
                    <a:pos x="676" y="1368"/>
                  </a:cxn>
                  <a:cxn ang="0">
                    <a:pos x="598" y="1384"/>
                  </a:cxn>
                  <a:cxn ang="0">
                    <a:pos x="524" y="1408"/>
                  </a:cxn>
                  <a:cxn ang="0">
                    <a:pos x="452" y="1438"/>
                  </a:cxn>
                  <a:cxn ang="0">
                    <a:pos x="384" y="1476"/>
                  </a:cxn>
                  <a:cxn ang="0">
                    <a:pos x="320" y="1520"/>
                  </a:cxn>
                  <a:cxn ang="0">
                    <a:pos x="262" y="1568"/>
                  </a:cxn>
                  <a:cxn ang="0">
                    <a:pos x="208" y="1622"/>
                  </a:cxn>
                  <a:cxn ang="0">
                    <a:pos x="158" y="1682"/>
                  </a:cxn>
                  <a:cxn ang="0">
                    <a:pos x="116" y="1746"/>
                  </a:cxn>
                  <a:cxn ang="0">
                    <a:pos x="80" y="1812"/>
                  </a:cxn>
                  <a:cxn ang="0">
                    <a:pos x="50" y="1884"/>
                  </a:cxn>
                  <a:cxn ang="0">
                    <a:pos x="26" y="1958"/>
                  </a:cxn>
                  <a:cxn ang="0">
                    <a:pos x="10" y="2036"/>
                  </a:cxn>
                  <a:cxn ang="0">
                    <a:pos x="2" y="2116"/>
                  </a:cxn>
                  <a:cxn ang="0">
                    <a:pos x="0" y="3006"/>
                  </a:cxn>
                  <a:cxn ang="0">
                    <a:pos x="288" y="2156"/>
                  </a:cxn>
                  <a:cxn ang="0">
                    <a:pos x="290" y="2130"/>
                  </a:cxn>
                  <a:cxn ang="0">
                    <a:pos x="294" y="2078"/>
                  </a:cxn>
                  <a:cxn ang="0">
                    <a:pos x="304" y="2028"/>
                  </a:cxn>
                  <a:cxn ang="0">
                    <a:pos x="320" y="1980"/>
                  </a:cxn>
                  <a:cxn ang="0">
                    <a:pos x="340" y="1934"/>
                  </a:cxn>
                  <a:cxn ang="0">
                    <a:pos x="376" y="1870"/>
                  </a:cxn>
                  <a:cxn ang="0">
                    <a:pos x="440" y="1796"/>
                  </a:cxn>
                  <a:cxn ang="0">
                    <a:pos x="516" y="1734"/>
                  </a:cxn>
                  <a:cxn ang="0">
                    <a:pos x="602" y="1686"/>
                  </a:cxn>
                  <a:cxn ang="0">
                    <a:pos x="648" y="1670"/>
                  </a:cxn>
                  <a:cxn ang="0">
                    <a:pos x="696" y="1658"/>
                  </a:cxn>
                  <a:cxn ang="0">
                    <a:pos x="746" y="1650"/>
                  </a:cxn>
                  <a:cxn ang="0">
                    <a:pos x="798" y="1648"/>
                  </a:cxn>
                  <a:cxn ang="0">
                    <a:pos x="798" y="1646"/>
                  </a:cxn>
                  <a:cxn ang="0">
                    <a:pos x="880" y="1642"/>
                  </a:cxn>
                  <a:cxn ang="0">
                    <a:pos x="960" y="1630"/>
                  </a:cxn>
                  <a:cxn ang="0">
                    <a:pos x="1036" y="1610"/>
                  </a:cxn>
                  <a:cxn ang="0">
                    <a:pos x="1110" y="1582"/>
                  </a:cxn>
                  <a:cxn ang="0">
                    <a:pos x="1180" y="1548"/>
                  </a:cxn>
                  <a:cxn ang="0">
                    <a:pos x="1246" y="1508"/>
                  </a:cxn>
                  <a:cxn ang="0">
                    <a:pos x="1306" y="1462"/>
                  </a:cxn>
                  <a:cxn ang="0">
                    <a:pos x="1362" y="1410"/>
                  </a:cxn>
                  <a:cxn ang="0">
                    <a:pos x="1414" y="1352"/>
                  </a:cxn>
                  <a:cxn ang="0">
                    <a:pos x="1460" y="1290"/>
                  </a:cxn>
                  <a:cxn ang="0">
                    <a:pos x="1500" y="1226"/>
                  </a:cxn>
                  <a:cxn ang="0">
                    <a:pos x="1532" y="1156"/>
                  </a:cxn>
                  <a:cxn ang="0">
                    <a:pos x="1558" y="1084"/>
                  </a:cxn>
                  <a:cxn ang="0">
                    <a:pos x="1578" y="1008"/>
                  </a:cxn>
                  <a:cxn ang="0">
                    <a:pos x="1590" y="930"/>
                  </a:cxn>
                  <a:cxn ang="0">
                    <a:pos x="1594" y="850"/>
                  </a:cxn>
                  <a:cxn ang="0">
                    <a:pos x="1306" y="0"/>
                  </a:cxn>
                </a:cxnLst>
                <a:rect l="0" t="0" r="r" b="b"/>
                <a:pathLst>
                  <a:path w="1594" h="3006">
                    <a:moveTo>
                      <a:pt x="1306" y="0"/>
                    </a:moveTo>
                    <a:lnTo>
                      <a:pt x="1306" y="0"/>
                    </a:lnTo>
                    <a:lnTo>
                      <a:pt x="1308" y="774"/>
                    </a:lnTo>
                    <a:lnTo>
                      <a:pt x="1306" y="874"/>
                    </a:lnTo>
                    <a:lnTo>
                      <a:pt x="1304" y="898"/>
                    </a:lnTo>
                    <a:lnTo>
                      <a:pt x="1302" y="918"/>
                    </a:lnTo>
                    <a:lnTo>
                      <a:pt x="1302" y="918"/>
                    </a:lnTo>
                    <a:lnTo>
                      <a:pt x="1292" y="966"/>
                    </a:lnTo>
                    <a:lnTo>
                      <a:pt x="1280" y="1012"/>
                    </a:lnTo>
                    <a:lnTo>
                      <a:pt x="1262" y="1056"/>
                    </a:lnTo>
                    <a:lnTo>
                      <a:pt x="1242" y="1098"/>
                    </a:lnTo>
                    <a:lnTo>
                      <a:pt x="1218" y="1136"/>
                    </a:lnTo>
                    <a:lnTo>
                      <a:pt x="1190" y="1172"/>
                    </a:lnTo>
                    <a:lnTo>
                      <a:pt x="1160" y="1206"/>
                    </a:lnTo>
                    <a:lnTo>
                      <a:pt x="1126" y="1236"/>
                    </a:lnTo>
                    <a:lnTo>
                      <a:pt x="1092" y="1264"/>
                    </a:lnTo>
                    <a:lnTo>
                      <a:pt x="1054" y="1288"/>
                    </a:lnTo>
                    <a:lnTo>
                      <a:pt x="1014" y="1310"/>
                    </a:lnTo>
                    <a:lnTo>
                      <a:pt x="974" y="1326"/>
                    </a:lnTo>
                    <a:lnTo>
                      <a:pt x="932" y="1340"/>
                    </a:lnTo>
                    <a:lnTo>
                      <a:pt x="888" y="1350"/>
                    </a:lnTo>
                    <a:lnTo>
                      <a:pt x="842" y="1356"/>
                    </a:lnTo>
                    <a:lnTo>
                      <a:pt x="798" y="1358"/>
                    </a:lnTo>
                    <a:lnTo>
                      <a:pt x="798" y="1360"/>
                    </a:lnTo>
                    <a:lnTo>
                      <a:pt x="798" y="1360"/>
                    </a:lnTo>
                    <a:lnTo>
                      <a:pt x="756" y="1360"/>
                    </a:lnTo>
                    <a:lnTo>
                      <a:pt x="716" y="1364"/>
                    </a:lnTo>
                    <a:lnTo>
                      <a:pt x="676" y="1368"/>
                    </a:lnTo>
                    <a:lnTo>
                      <a:pt x="636" y="1376"/>
                    </a:lnTo>
                    <a:lnTo>
                      <a:pt x="598" y="1384"/>
                    </a:lnTo>
                    <a:lnTo>
                      <a:pt x="560" y="1396"/>
                    </a:lnTo>
                    <a:lnTo>
                      <a:pt x="524" y="1408"/>
                    </a:lnTo>
                    <a:lnTo>
                      <a:pt x="488" y="1422"/>
                    </a:lnTo>
                    <a:lnTo>
                      <a:pt x="452" y="1438"/>
                    </a:lnTo>
                    <a:lnTo>
                      <a:pt x="418" y="1456"/>
                    </a:lnTo>
                    <a:lnTo>
                      <a:pt x="384" y="1476"/>
                    </a:lnTo>
                    <a:lnTo>
                      <a:pt x="352" y="1496"/>
                    </a:lnTo>
                    <a:lnTo>
                      <a:pt x="320" y="1520"/>
                    </a:lnTo>
                    <a:lnTo>
                      <a:pt x="290" y="1542"/>
                    </a:lnTo>
                    <a:lnTo>
                      <a:pt x="262" y="1568"/>
                    </a:lnTo>
                    <a:lnTo>
                      <a:pt x="234" y="1594"/>
                    </a:lnTo>
                    <a:lnTo>
                      <a:pt x="208" y="1622"/>
                    </a:lnTo>
                    <a:lnTo>
                      <a:pt x="182" y="1652"/>
                    </a:lnTo>
                    <a:lnTo>
                      <a:pt x="158" y="1682"/>
                    </a:lnTo>
                    <a:lnTo>
                      <a:pt x="136" y="1712"/>
                    </a:lnTo>
                    <a:lnTo>
                      <a:pt x="116" y="1746"/>
                    </a:lnTo>
                    <a:lnTo>
                      <a:pt x="96" y="1778"/>
                    </a:lnTo>
                    <a:lnTo>
                      <a:pt x="80" y="1812"/>
                    </a:lnTo>
                    <a:lnTo>
                      <a:pt x="64" y="1848"/>
                    </a:lnTo>
                    <a:lnTo>
                      <a:pt x="50" y="1884"/>
                    </a:lnTo>
                    <a:lnTo>
                      <a:pt x="36" y="1920"/>
                    </a:lnTo>
                    <a:lnTo>
                      <a:pt x="26" y="1958"/>
                    </a:lnTo>
                    <a:lnTo>
                      <a:pt x="18" y="1996"/>
                    </a:lnTo>
                    <a:lnTo>
                      <a:pt x="10" y="2036"/>
                    </a:lnTo>
                    <a:lnTo>
                      <a:pt x="4" y="2076"/>
                    </a:lnTo>
                    <a:lnTo>
                      <a:pt x="2" y="2116"/>
                    </a:lnTo>
                    <a:lnTo>
                      <a:pt x="0" y="2156"/>
                    </a:lnTo>
                    <a:lnTo>
                      <a:pt x="0" y="3006"/>
                    </a:lnTo>
                    <a:lnTo>
                      <a:pt x="288" y="3006"/>
                    </a:lnTo>
                    <a:lnTo>
                      <a:pt x="288" y="2156"/>
                    </a:lnTo>
                    <a:lnTo>
                      <a:pt x="288" y="2156"/>
                    </a:lnTo>
                    <a:lnTo>
                      <a:pt x="290" y="2130"/>
                    </a:lnTo>
                    <a:lnTo>
                      <a:pt x="292" y="2104"/>
                    </a:lnTo>
                    <a:lnTo>
                      <a:pt x="294" y="2078"/>
                    </a:lnTo>
                    <a:lnTo>
                      <a:pt x="300" y="2052"/>
                    </a:lnTo>
                    <a:lnTo>
                      <a:pt x="304" y="2028"/>
                    </a:lnTo>
                    <a:lnTo>
                      <a:pt x="312" y="2004"/>
                    </a:lnTo>
                    <a:lnTo>
                      <a:pt x="320" y="1980"/>
                    </a:lnTo>
                    <a:lnTo>
                      <a:pt x="330" y="1958"/>
                    </a:lnTo>
                    <a:lnTo>
                      <a:pt x="340" y="1934"/>
                    </a:lnTo>
                    <a:lnTo>
                      <a:pt x="350" y="1912"/>
                    </a:lnTo>
                    <a:lnTo>
                      <a:pt x="376" y="1870"/>
                    </a:lnTo>
                    <a:lnTo>
                      <a:pt x="406" y="1832"/>
                    </a:lnTo>
                    <a:lnTo>
                      <a:pt x="440" y="1796"/>
                    </a:lnTo>
                    <a:lnTo>
                      <a:pt x="476" y="1762"/>
                    </a:lnTo>
                    <a:lnTo>
                      <a:pt x="516" y="1734"/>
                    </a:lnTo>
                    <a:lnTo>
                      <a:pt x="558" y="1708"/>
                    </a:lnTo>
                    <a:lnTo>
                      <a:pt x="602" y="1686"/>
                    </a:lnTo>
                    <a:lnTo>
                      <a:pt x="624" y="1678"/>
                    </a:lnTo>
                    <a:lnTo>
                      <a:pt x="648" y="1670"/>
                    </a:lnTo>
                    <a:lnTo>
                      <a:pt x="672" y="1664"/>
                    </a:lnTo>
                    <a:lnTo>
                      <a:pt x="696" y="1658"/>
                    </a:lnTo>
                    <a:lnTo>
                      <a:pt x="722" y="1652"/>
                    </a:lnTo>
                    <a:lnTo>
                      <a:pt x="746" y="1650"/>
                    </a:lnTo>
                    <a:lnTo>
                      <a:pt x="772" y="1648"/>
                    </a:lnTo>
                    <a:lnTo>
                      <a:pt x="798" y="1648"/>
                    </a:lnTo>
                    <a:lnTo>
                      <a:pt x="798" y="1646"/>
                    </a:lnTo>
                    <a:lnTo>
                      <a:pt x="798" y="1646"/>
                    </a:lnTo>
                    <a:lnTo>
                      <a:pt x="838" y="1646"/>
                    </a:lnTo>
                    <a:lnTo>
                      <a:pt x="880" y="1642"/>
                    </a:lnTo>
                    <a:lnTo>
                      <a:pt x="920" y="1636"/>
                    </a:lnTo>
                    <a:lnTo>
                      <a:pt x="960" y="1630"/>
                    </a:lnTo>
                    <a:lnTo>
                      <a:pt x="998" y="1620"/>
                    </a:lnTo>
                    <a:lnTo>
                      <a:pt x="1036" y="1610"/>
                    </a:lnTo>
                    <a:lnTo>
                      <a:pt x="1074" y="1596"/>
                    </a:lnTo>
                    <a:lnTo>
                      <a:pt x="1110" y="1582"/>
                    </a:lnTo>
                    <a:lnTo>
                      <a:pt x="1146" y="1566"/>
                    </a:lnTo>
                    <a:lnTo>
                      <a:pt x="1180" y="1548"/>
                    </a:lnTo>
                    <a:lnTo>
                      <a:pt x="1214" y="1528"/>
                    </a:lnTo>
                    <a:lnTo>
                      <a:pt x="1246" y="1508"/>
                    </a:lnTo>
                    <a:lnTo>
                      <a:pt x="1276" y="1486"/>
                    </a:lnTo>
                    <a:lnTo>
                      <a:pt x="1306" y="1462"/>
                    </a:lnTo>
                    <a:lnTo>
                      <a:pt x="1336" y="1436"/>
                    </a:lnTo>
                    <a:lnTo>
                      <a:pt x="1362" y="1410"/>
                    </a:lnTo>
                    <a:lnTo>
                      <a:pt x="1390" y="1382"/>
                    </a:lnTo>
                    <a:lnTo>
                      <a:pt x="1414" y="1352"/>
                    </a:lnTo>
                    <a:lnTo>
                      <a:pt x="1438" y="1322"/>
                    </a:lnTo>
                    <a:lnTo>
                      <a:pt x="1460" y="1290"/>
                    </a:lnTo>
                    <a:lnTo>
                      <a:pt x="1480" y="1258"/>
                    </a:lnTo>
                    <a:lnTo>
                      <a:pt x="1500" y="1226"/>
                    </a:lnTo>
                    <a:lnTo>
                      <a:pt x="1516" y="1190"/>
                    </a:lnTo>
                    <a:lnTo>
                      <a:pt x="1532" y="1156"/>
                    </a:lnTo>
                    <a:lnTo>
                      <a:pt x="1546" y="1120"/>
                    </a:lnTo>
                    <a:lnTo>
                      <a:pt x="1558" y="1084"/>
                    </a:lnTo>
                    <a:lnTo>
                      <a:pt x="1570" y="1046"/>
                    </a:lnTo>
                    <a:lnTo>
                      <a:pt x="1578" y="1008"/>
                    </a:lnTo>
                    <a:lnTo>
                      <a:pt x="1586" y="968"/>
                    </a:lnTo>
                    <a:lnTo>
                      <a:pt x="1590" y="930"/>
                    </a:lnTo>
                    <a:lnTo>
                      <a:pt x="1594" y="890"/>
                    </a:lnTo>
                    <a:lnTo>
                      <a:pt x="1594" y="850"/>
                    </a:lnTo>
                    <a:lnTo>
                      <a:pt x="1594" y="0"/>
                    </a:lnTo>
                    <a:lnTo>
                      <a:pt x="1306"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61" name="Freeform 74">
                <a:extLst>
                  <a:ext uri="{FF2B5EF4-FFF2-40B4-BE49-F238E27FC236}">
                    <a16:creationId xmlns:a16="http://schemas.microsoft.com/office/drawing/2014/main" id="{92EC8304-0F9C-1A94-7E09-E39D53A3A369}"/>
                  </a:ext>
                </a:extLst>
              </p:cNvPr>
              <p:cNvSpPr>
                <a:spLocks/>
              </p:cNvSpPr>
              <p:nvPr/>
            </p:nvSpPr>
            <p:spPr bwMode="auto">
              <a:xfrm>
                <a:off x="6072188" y="-3967163"/>
                <a:ext cx="1387475" cy="190500"/>
              </a:xfrm>
              <a:custGeom>
                <a:avLst/>
                <a:gdLst/>
                <a:ahLst/>
                <a:cxnLst>
                  <a:cxn ang="0">
                    <a:pos x="60" y="120"/>
                  </a:cxn>
                  <a:cxn ang="0">
                    <a:pos x="816" y="120"/>
                  </a:cxn>
                  <a:cxn ang="0">
                    <a:pos x="816" y="120"/>
                  </a:cxn>
                  <a:cxn ang="0">
                    <a:pos x="828" y="118"/>
                  </a:cxn>
                  <a:cxn ang="0">
                    <a:pos x="838" y="116"/>
                  </a:cxn>
                  <a:cxn ang="0">
                    <a:pos x="848" y="110"/>
                  </a:cxn>
                  <a:cxn ang="0">
                    <a:pos x="858" y="102"/>
                  </a:cxn>
                  <a:cxn ang="0">
                    <a:pos x="864" y="94"/>
                  </a:cxn>
                  <a:cxn ang="0">
                    <a:pos x="870" y="84"/>
                  </a:cxn>
                  <a:cxn ang="0">
                    <a:pos x="874" y="72"/>
                  </a:cxn>
                  <a:cxn ang="0">
                    <a:pos x="874" y="60"/>
                  </a:cxn>
                  <a:cxn ang="0">
                    <a:pos x="874" y="60"/>
                  </a:cxn>
                  <a:cxn ang="0">
                    <a:pos x="874" y="48"/>
                  </a:cxn>
                  <a:cxn ang="0">
                    <a:pos x="870" y="38"/>
                  </a:cxn>
                  <a:cxn ang="0">
                    <a:pos x="864" y="28"/>
                  </a:cxn>
                  <a:cxn ang="0">
                    <a:pos x="858" y="18"/>
                  </a:cxn>
                  <a:cxn ang="0">
                    <a:pos x="848" y="12"/>
                  </a:cxn>
                  <a:cxn ang="0">
                    <a:pos x="838" y="6"/>
                  </a:cxn>
                  <a:cxn ang="0">
                    <a:pos x="828" y="2"/>
                  </a:cxn>
                  <a:cxn ang="0">
                    <a:pos x="816" y="0"/>
                  </a:cxn>
                  <a:cxn ang="0">
                    <a:pos x="60" y="0"/>
                  </a:cxn>
                  <a:cxn ang="0">
                    <a:pos x="60" y="0"/>
                  </a:cxn>
                  <a:cxn ang="0">
                    <a:pos x="48" y="2"/>
                  </a:cxn>
                  <a:cxn ang="0">
                    <a:pos x="36" y="6"/>
                  </a:cxn>
                  <a:cxn ang="0">
                    <a:pos x="26" y="12"/>
                  </a:cxn>
                  <a:cxn ang="0">
                    <a:pos x="18" y="18"/>
                  </a:cxn>
                  <a:cxn ang="0">
                    <a:pos x="10" y="28"/>
                  </a:cxn>
                  <a:cxn ang="0">
                    <a:pos x="4" y="38"/>
                  </a:cxn>
                  <a:cxn ang="0">
                    <a:pos x="2" y="48"/>
                  </a:cxn>
                  <a:cxn ang="0">
                    <a:pos x="0" y="60"/>
                  </a:cxn>
                  <a:cxn ang="0">
                    <a:pos x="0" y="60"/>
                  </a:cxn>
                  <a:cxn ang="0">
                    <a:pos x="2" y="72"/>
                  </a:cxn>
                  <a:cxn ang="0">
                    <a:pos x="4" y="84"/>
                  </a:cxn>
                  <a:cxn ang="0">
                    <a:pos x="10" y="94"/>
                  </a:cxn>
                  <a:cxn ang="0">
                    <a:pos x="18" y="102"/>
                  </a:cxn>
                  <a:cxn ang="0">
                    <a:pos x="26" y="110"/>
                  </a:cxn>
                  <a:cxn ang="0">
                    <a:pos x="36" y="116"/>
                  </a:cxn>
                  <a:cxn ang="0">
                    <a:pos x="48" y="118"/>
                  </a:cxn>
                  <a:cxn ang="0">
                    <a:pos x="60" y="120"/>
                  </a:cxn>
                  <a:cxn ang="0">
                    <a:pos x="60" y="120"/>
                  </a:cxn>
                </a:cxnLst>
                <a:rect l="0" t="0" r="r" b="b"/>
                <a:pathLst>
                  <a:path w="874" h="120">
                    <a:moveTo>
                      <a:pt x="60" y="120"/>
                    </a:moveTo>
                    <a:lnTo>
                      <a:pt x="816" y="120"/>
                    </a:lnTo>
                    <a:lnTo>
                      <a:pt x="816" y="120"/>
                    </a:lnTo>
                    <a:lnTo>
                      <a:pt x="828" y="118"/>
                    </a:lnTo>
                    <a:lnTo>
                      <a:pt x="838" y="116"/>
                    </a:lnTo>
                    <a:lnTo>
                      <a:pt x="848" y="110"/>
                    </a:lnTo>
                    <a:lnTo>
                      <a:pt x="858" y="102"/>
                    </a:lnTo>
                    <a:lnTo>
                      <a:pt x="864" y="94"/>
                    </a:lnTo>
                    <a:lnTo>
                      <a:pt x="870" y="84"/>
                    </a:lnTo>
                    <a:lnTo>
                      <a:pt x="874" y="72"/>
                    </a:lnTo>
                    <a:lnTo>
                      <a:pt x="874" y="60"/>
                    </a:lnTo>
                    <a:lnTo>
                      <a:pt x="874" y="60"/>
                    </a:lnTo>
                    <a:lnTo>
                      <a:pt x="874" y="48"/>
                    </a:lnTo>
                    <a:lnTo>
                      <a:pt x="870" y="38"/>
                    </a:lnTo>
                    <a:lnTo>
                      <a:pt x="864" y="28"/>
                    </a:lnTo>
                    <a:lnTo>
                      <a:pt x="858" y="18"/>
                    </a:lnTo>
                    <a:lnTo>
                      <a:pt x="848" y="12"/>
                    </a:lnTo>
                    <a:lnTo>
                      <a:pt x="838" y="6"/>
                    </a:lnTo>
                    <a:lnTo>
                      <a:pt x="828" y="2"/>
                    </a:lnTo>
                    <a:lnTo>
                      <a:pt x="816" y="0"/>
                    </a:lnTo>
                    <a:lnTo>
                      <a:pt x="60" y="0"/>
                    </a:lnTo>
                    <a:lnTo>
                      <a:pt x="60" y="0"/>
                    </a:lnTo>
                    <a:lnTo>
                      <a:pt x="48" y="2"/>
                    </a:lnTo>
                    <a:lnTo>
                      <a:pt x="36" y="6"/>
                    </a:lnTo>
                    <a:lnTo>
                      <a:pt x="26" y="12"/>
                    </a:lnTo>
                    <a:lnTo>
                      <a:pt x="18" y="18"/>
                    </a:lnTo>
                    <a:lnTo>
                      <a:pt x="10" y="28"/>
                    </a:lnTo>
                    <a:lnTo>
                      <a:pt x="4" y="38"/>
                    </a:lnTo>
                    <a:lnTo>
                      <a:pt x="2" y="48"/>
                    </a:lnTo>
                    <a:lnTo>
                      <a:pt x="0" y="60"/>
                    </a:lnTo>
                    <a:lnTo>
                      <a:pt x="0" y="60"/>
                    </a:lnTo>
                    <a:lnTo>
                      <a:pt x="2" y="72"/>
                    </a:lnTo>
                    <a:lnTo>
                      <a:pt x="4" y="84"/>
                    </a:lnTo>
                    <a:lnTo>
                      <a:pt x="10" y="94"/>
                    </a:lnTo>
                    <a:lnTo>
                      <a:pt x="18" y="102"/>
                    </a:lnTo>
                    <a:lnTo>
                      <a:pt x="26" y="110"/>
                    </a:lnTo>
                    <a:lnTo>
                      <a:pt x="36" y="116"/>
                    </a:lnTo>
                    <a:lnTo>
                      <a:pt x="48" y="118"/>
                    </a:lnTo>
                    <a:lnTo>
                      <a:pt x="60" y="120"/>
                    </a:lnTo>
                    <a:lnTo>
                      <a:pt x="60" y="12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62" name="Freeform 75">
                <a:extLst>
                  <a:ext uri="{FF2B5EF4-FFF2-40B4-BE49-F238E27FC236}">
                    <a16:creationId xmlns:a16="http://schemas.microsoft.com/office/drawing/2014/main" id="{36553B63-B4D8-2DF5-BEF7-435589122AFF}"/>
                  </a:ext>
                </a:extLst>
              </p:cNvPr>
              <p:cNvSpPr>
                <a:spLocks/>
              </p:cNvSpPr>
              <p:nvPr/>
            </p:nvSpPr>
            <p:spPr bwMode="auto">
              <a:xfrm>
                <a:off x="6072188" y="-3519488"/>
                <a:ext cx="1387475" cy="190500"/>
              </a:xfrm>
              <a:custGeom>
                <a:avLst/>
                <a:gdLst/>
                <a:ahLst/>
                <a:cxnLst>
                  <a:cxn ang="0">
                    <a:pos x="60" y="120"/>
                  </a:cxn>
                  <a:cxn ang="0">
                    <a:pos x="816" y="120"/>
                  </a:cxn>
                  <a:cxn ang="0">
                    <a:pos x="816" y="120"/>
                  </a:cxn>
                  <a:cxn ang="0">
                    <a:pos x="828" y="118"/>
                  </a:cxn>
                  <a:cxn ang="0">
                    <a:pos x="838" y="116"/>
                  </a:cxn>
                  <a:cxn ang="0">
                    <a:pos x="848" y="110"/>
                  </a:cxn>
                  <a:cxn ang="0">
                    <a:pos x="858" y="102"/>
                  </a:cxn>
                  <a:cxn ang="0">
                    <a:pos x="864" y="94"/>
                  </a:cxn>
                  <a:cxn ang="0">
                    <a:pos x="870" y="84"/>
                  </a:cxn>
                  <a:cxn ang="0">
                    <a:pos x="874" y="72"/>
                  </a:cxn>
                  <a:cxn ang="0">
                    <a:pos x="874" y="60"/>
                  </a:cxn>
                  <a:cxn ang="0">
                    <a:pos x="874" y="60"/>
                  </a:cxn>
                  <a:cxn ang="0">
                    <a:pos x="874" y="48"/>
                  </a:cxn>
                  <a:cxn ang="0">
                    <a:pos x="870" y="38"/>
                  </a:cxn>
                  <a:cxn ang="0">
                    <a:pos x="864" y="28"/>
                  </a:cxn>
                  <a:cxn ang="0">
                    <a:pos x="858" y="18"/>
                  </a:cxn>
                  <a:cxn ang="0">
                    <a:pos x="848" y="10"/>
                  </a:cxn>
                  <a:cxn ang="0">
                    <a:pos x="838" y="6"/>
                  </a:cxn>
                  <a:cxn ang="0">
                    <a:pos x="828" y="2"/>
                  </a:cxn>
                  <a:cxn ang="0">
                    <a:pos x="816" y="0"/>
                  </a:cxn>
                  <a:cxn ang="0">
                    <a:pos x="60" y="0"/>
                  </a:cxn>
                  <a:cxn ang="0">
                    <a:pos x="60" y="0"/>
                  </a:cxn>
                  <a:cxn ang="0">
                    <a:pos x="48" y="2"/>
                  </a:cxn>
                  <a:cxn ang="0">
                    <a:pos x="36" y="6"/>
                  </a:cxn>
                  <a:cxn ang="0">
                    <a:pos x="26" y="10"/>
                  </a:cxn>
                  <a:cxn ang="0">
                    <a:pos x="18" y="18"/>
                  </a:cxn>
                  <a:cxn ang="0">
                    <a:pos x="10" y="28"/>
                  </a:cxn>
                  <a:cxn ang="0">
                    <a:pos x="4" y="38"/>
                  </a:cxn>
                  <a:cxn ang="0">
                    <a:pos x="2" y="48"/>
                  </a:cxn>
                  <a:cxn ang="0">
                    <a:pos x="0" y="60"/>
                  </a:cxn>
                  <a:cxn ang="0">
                    <a:pos x="0" y="60"/>
                  </a:cxn>
                  <a:cxn ang="0">
                    <a:pos x="2" y="72"/>
                  </a:cxn>
                  <a:cxn ang="0">
                    <a:pos x="4" y="84"/>
                  </a:cxn>
                  <a:cxn ang="0">
                    <a:pos x="10" y="94"/>
                  </a:cxn>
                  <a:cxn ang="0">
                    <a:pos x="18" y="102"/>
                  </a:cxn>
                  <a:cxn ang="0">
                    <a:pos x="26" y="110"/>
                  </a:cxn>
                  <a:cxn ang="0">
                    <a:pos x="36" y="116"/>
                  </a:cxn>
                  <a:cxn ang="0">
                    <a:pos x="48" y="118"/>
                  </a:cxn>
                  <a:cxn ang="0">
                    <a:pos x="60" y="120"/>
                  </a:cxn>
                  <a:cxn ang="0">
                    <a:pos x="60" y="120"/>
                  </a:cxn>
                </a:cxnLst>
                <a:rect l="0" t="0" r="r" b="b"/>
                <a:pathLst>
                  <a:path w="874" h="120">
                    <a:moveTo>
                      <a:pt x="60" y="120"/>
                    </a:moveTo>
                    <a:lnTo>
                      <a:pt x="816" y="120"/>
                    </a:lnTo>
                    <a:lnTo>
                      <a:pt x="816" y="120"/>
                    </a:lnTo>
                    <a:lnTo>
                      <a:pt x="828" y="118"/>
                    </a:lnTo>
                    <a:lnTo>
                      <a:pt x="838" y="116"/>
                    </a:lnTo>
                    <a:lnTo>
                      <a:pt x="848" y="110"/>
                    </a:lnTo>
                    <a:lnTo>
                      <a:pt x="858" y="102"/>
                    </a:lnTo>
                    <a:lnTo>
                      <a:pt x="864" y="94"/>
                    </a:lnTo>
                    <a:lnTo>
                      <a:pt x="870" y="84"/>
                    </a:lnTo>
                    <a:lnTo>
                      <a:pt x="874" y="72"/>
                    </a:lnTo>
                    <a:lnTo>
                      <a:pt x="874" y="60"/>
                    </a:lnTo>
                    <a:lnTo>
                      <a:pt x="874" y="60"/>
                    </a:lnTo>
                    <a:lnTo>
                      <a:pt x="874" y="48"/>
                    </a:lnTo>
                    <a:lnTo>
                      <a:pt x="870" y="38"/>
                    </a:lnTo>
                    <a:lnTo>
                      <a:pt x="864" y="28"/>
                    </a:lnTo>
                    <a:lnTo>
                      <a:pt x="858" y="18"/>
                    </a:lnTo>
                    <a:lnTo>
                      <a:pt x="848" y="10"/>
                    </a:lnTo>
                    <a:lnTo>
                      <a:pt x="838" y="6"/>
                    </a:lnTo>
                    <a:lnTo>
                      <a:pt x="828" y="2"/>
                    </a:lnTo>
                    <a:lnTo>
                      <a:pt x="816" y="0"/>
                    </a:lnTo>
                    <a:lnTo>
                      <a:pt x="60" y="0"/>
                    </a:lnTo>
                    <a:lnTo>
                      <a:pt x="60" y="0"/>
                    </a:lnTo>
                    <a:lnTo>
                      <a:pt x="48" y="2"/>
                    </a:lnTo>
                    <a:lnTo>
                      <a:pt x="36" y="6"/>
                    </a:lnTo>
                    <a:lnTo>
                      <a:pt x="26" y="10"/>
                    </a:lnTo>
                    <a:lnTo>
                      <a:pt x="18" y="18"/>
                    </a:lnTo>
                    <a:lnTo>
                      <a:pt x="10" y="28"/>
                    </a:lnTo>
                    <a:lnTo>
                      <a:pt x="4" y="38"/>
                    </a:lnTo>
                    <a:lnTo>
                      <a:pt x="2" y="48"/>
                    </a:lnTo>
                    <a:lnTo>
                      <a:pt x="0" y="60"/>
                    </a:lnTo>
                    <a:lnTo>
                      <a:pt x="0" y="60"/>
                    </a:lnTo>
                    <a:lnTo>
                      <a:pt x="2" y="72"/>
                    </a:lnTo>
                    <a:lnTo>
                      <a:pt x="4" y="84"/>
                    </a:lnTo>
                    <a:lnTo>
                      <a:pt x="10" y="94"/>
                    </a:lnTo>
                    <a:lnTo>
                      <a:pt x="18" y="102"/>
                    </a:lnTo>
                    <a:lnTo>
                      <a:pt x="26" y="110"/>
                    </a:lnTo>
                    <a:lnTo>
                      <a:pt x="36" y="116"/>
                    </a:lnTo>
                    <a:lnTo>
                      <a:pt x="48" y="118"/>
                    </a:lnTo>
                    <a:lnTo>
                      <a:pt x="60" y="120"/>
                    </a:lnTo>
                    <a:lnTo>
                      <a:pt x="60" y="12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63" name="Freeform 76">
                <a:extLst>
                  <a:ext uri="{FF2B5EF4-FFF2-40B4-BE49-F238E27FC236}">
                    <a16:creationId xmlns:a16="http://schemas.microsoft.com/office/drawing/2014/main" id="{C2D267F3-99CF-26A4-15D9-3AF47C103ECE}"/>
                  </a:ext>
                </a:extLst>
              </p:cNvPr>
              <p:cNvSpPr>
                <a:spLocks/>
              </p:cNvSpPr>
              <p:nvPr/>
            </p:nvSpPr>
            <p:spPr bwMode="auto">
              <a:xfrm>
                <a:off x="6072188" y="-3071813"/>
                <a:ext cx="1387475" cy="190500"/>
              </a:xfrm>
              <a:custGeom>
                <a:avLst/>
                <a:gdLst/>
                <a:ahLst/>
                <a:cxnLst>
                  <a:cxn ang="0">
                    <a:pos x="60" y="120"/>
                  </a:cxn>
                  <a:cxn ang="0">
                    <a:pos x="816" y="120"/>
                  </a:cxn>
                  <a:cxn ang="0">
                    <a:pos x="816" y="120"/>
                  </a:cxn>
                  <a:cxn ang="0">
                    <a:pos x="828" y="118"/>
                  </a:cxn>
                  <a:cxn ang="0">
                    <a:pos x="838" y="116"/>
                  </a:cxn>
                  <a:cxn ang="0">
                    <a:pos x="848" y="110"/>
                  </a:cxn>
                  <a:cxn ang="0">
                    <a:pos x="858" y="102"/>
                  </a:cxn>
                  <a:cxn ang="0">
                    <a:pos x="864" y="94"/>
                  </a:cxn>
                  <a:cxn ang="0">
                    <a:pos x="870" y="84"/>
                  </a:cxn>
                  <a:cxn ang="0">
                    <a:pos x="874" y="72"/>
                  </a:cxn>
                  <a:cxn ang="0">
                    <a:pos x="874" y="60"/>
                  </a:cxn>
                  <a:cxn ang="0">
                    <a:pos x="874" y="60"/>
                  </a:cxn>
                  <a:cxn ang="0">
                    <a:pos x="874" y="48"/>
                  </a:cxn>
                  <a:cxn ang="0">
                    <a:pos x="870" y="38"/>
                  </a:cxn>
                  <a:cxn ang="0">
                    <a:pos x="864" y="26"/>
                  </a:cxn>
                  <a:cxn ang="0">
                    <a:pos x="858" y="18"/>
                  </a:cxn>
                  <a:cxn ang="0">
                    <a:pos x="848" y="10"/>
                  </a:cxn>
                  <a:cxn ang="0">
                    <a:pos x="838" y="6"/>
                  </a:cxn>
                  <a:cxn ang="0">
                    <a:pos x="828" y="2"/>
                  </a:cxn>
                  <a:cxn ang="0">
                    <a:pos x="816" y="0"/>
                  </a:cxn>
                  <a:cxn ang="0">
                    <a:pos x="60" y="0"/>
                  </a:cxn>
                  <a:cxn ang="0">
                    <a:pos x="60" y="0"/>
                  </a:cxn>
                  <a:cxn ang="0">
                    <a:pos x="48" y="2"/>
                  </a:cxn>
                  <a:cxn ang="0">
                    <a:pos x="36" y="6"/>
                  </a:cxn>
                  <a:cxn ang="0">
                    <a:pos x="26" y="10"/>
                  </a:cxn>
                  <a:cxn ang="0">
                    <a:pos x="18" y="18"/>
                  </a:cxn>
                  <a:cxn ang="0">
                    <a:pos x="10" y="26"/>
                  </a:cxn>
                  <a:cxn ang="0">
                    <a:pos x="4" y="38"/>
                  </a:cxn>
                  <a:cxn ang="0">
                    <a:pos x="2" y="48"/>
                  </a:cxn>
                  <a:cxn ang="0">
                    <a:pos x="0" y="60"/>
                  </a:cxn>
                  <a:cxn ang="0">
                    <a:pos x="0" y="60"/>
                  </a:cxn>
                  <a:cxn ang="0">
                    <a:pos x="2" y="72"/>
                  </a:cxn>
                  <a:cxn ang="0">
                    <a:pos x="4" y="84"/>
                  </a:cxn>
                  <a:cxn ang="0">
                    <a:pos x="10" y="94"/>
                  </a:cxn>
                  <a:cxn ang="0">
                    <a:pos x="18" y="102"/>
                  </a:cxn>
                  <a:cxn ang="0">
                    <a:pos x="26" y="110"/>
                  </a:cxn>
                  <a:cxn ang="0">
                    <a:pos x="36" y="116"/>
                  </a:cxn>
                  <a:cxn ang="0">
                    <a:pos x="48" y="118"/>
                  </a:cxn>
                  <a:cxn ang="0">
                    <a:pos x="60" y="120"/>
                  </a:cxn>
                  <a:cxn ang="0">
                    <a:pos x="60" y="120"/>
                  </a:cxn>
                </a:cxnLst>
                <a:rect l="0" t="0" r="r" b="b"/>
                <a:pathLst>
                  <a:path w="874" h="120">
                    <a:moveTo>
                      <a:pt x="60" y="120"/>
                    </a:moveTo>
                    <a:lnTo>
                      <a:pt x="816" y="120"/>
                    </a:lnTo>
                    <a:lnTo>
                      <a:pt x="816" y="120"/>
                    </a:lnTo>
                    <a:lnTo>
                      <a:pt x="828" y="118"/>
                    </a:lnTo>
                    <a:lnTo>
                      <a:pt x="838" y="116"/>
                    </a:lnTo>
                    <a:lnTo>
                      <a:pt x="848" y="110"/>
                    </a:lnTo>
                    <a:lnTo>
                      <a:pt x="858" y="102"/>
                    </a:lnTo>
                    <a:lnTo>
                      <a:pt x="864" y="94"/>
                    </a:lnTo>
                    <a:lnTo>
                      <a:pt x="870" y="84"/>
                    </a:lnTo>
                    <a:lnTo>
                      <a:pt x="874" y="72"/>
                    </a:lnTo>
                    <a:lnTo>
                      <a:pt x="874" y="60"/>
                    </a:lnTo>
                    <a:lnTo>
                      <a:pt x="874" y="60"/>
                    </a:lnTo>
                    <a:lnTo>
                      <a:pt x="874" y="48"/>
                    </a:lnTo>
                    <a:lnTo>
                      <a:pt x="870" y="38"/>
                    </a:lnTo>
                    <a:lnTo>
                      <a:pt x="864" y="26"/>
                    </a:lnTo>
                    <a:lnTo>
                      <a:pt x="858" y="18"/>
                    </a:lnTo>
                    <a:lnTo>
                      <a:pt x="848" y="10"/>
                    </a:lnTo>
                    <a:lnTo>
                      <a:pt x="838" y="6"/>
                    </a:lnTo>
                    <a:lnTo>
                      <a:pt x="828" y="2"/>
                    </a:lnTo>
                    <a:lnTo>
                      <a:pt x="816" y="0"/>
                    </a:lnTo>
                    <a:lnTo>
                      <a:pt x="60" y="0"/>
                    </a:lnTo>
                    <a:lnTo>
                      <a:pt x="60" y="0"/>
                    </a:lnTo>
                    <a:lnTo>
                      <a:pt x="48" y="2"/>
                    </a:lnTo>
                    <a:lnTo>
                      <a:pt x="36" y="6"/>
                    </a:lnTo>
                    <a:lnTo>
                      <a:pt x="26" y="10"/>
                    </a:lnTo>
                    <a:lnTo>
                      <a:pt x="18" y="18"/>
                    </a:lnTo>
                    <a:lnTo>
                      <a:pt x="10" y="26"/>
                    </a:lnTo>
                    <a:lnTo>
                      <a:pt x="4" y="38"/>
                    </a:lnTo>
                    <a:lnTo>
                      <a:pt x="2" y="48"/>
                    </a:lnTo>
                    <a:lnTo>
                      <a:pt x="0" y="60"/>
                    </a:lnTo>
                    <a:lnTo>
                      <a:pt x="0" y="60"/>
                    </a:lnTo>
                    <a:lnTo>
                      <a:pt x="2" y="72"/>
                    </a:lnTo>
                    <a:lnTo>
                      <a:pt x="4" y="84"/>
                    </a:lnTo>
                    <a:lnTo>
                      <a:pt x="10" y="94"/>
                    </a:lnTo>
                    <a:lnTo>
                      <a:pt x="18" y="102"/>
                    </a:lnTo>
                    <a:lnTo>
                      <a:pt x="26" y="110"/>
                    </a:lnTo>
                    <a:lnTo>
                      <a:pt x="36" y="116"/>
                    </a:lnTo>
                    <a:lnTo>
                      <a:pt x="48" y="118"/>
                    </a:lnTo>
                    <a:lnTo>
                      <a:pt x="60" y="120"/>
                    </a:lnTo>
                    <a:lnTo>
                      <a:pt x="60" y="12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64" name="Freeform 77">
                <a:extLst>
                  <a:ext uri="{FF2B5EF4-FFF2-40B4-BE49-F238E27FC236}">
                    <a16:creationId xmlns:a16="http://schemas.microsoft.com/office/drawing/2014/main" id="{9552742C-9300-6E0A-4EDE-1E8B60CDFA88}"/>
                  </a:ext>
                </a:extLst>
              </p:cNvPr>
              <p:cNvSpPr>
                <a:spLocks/>
              </p:cNvSpPr>
              <p:nvPr/>
            </p:nvSpPr>
            <p:spPr bwMode="auto">
              <a:xfrm>
                <a:off x="6094413" y="-2624138"/>
                <a:ext cx="1343025" cy="190500"/>
              </a:xfrm>
              <a:custGeom>
                <a:avLst/>
                <a:gdLst/>
                <a:ahLst/>
                <a:cxnLst>
                  <a:cxn ang="0">
                    <a:pos x="846" y="60"/>
                  </a:cxn>
                  <a:cxn ang="0">
                    <a:pos x="846" y="60"/>
                  </a:cxn>
                  <a:cxn ang="0">
                    <a:pos x="846" y="48"/>
                  </a:cxn>
                  <a:cxn ang="0">
                    <a:pos x="842" y="36"/>
                  </a:cxn>
                  <a:cxn ang="0">
                    <a:pos x="836" y="26"/>
                  </a:cxn>
                  <a:cxn ang="0">
                    <a:pos x="830" y="18"/>
                  </a:cxn>
                  <a:cxn ang="0">
                    <a:pos x="820" y="10"/>
                  </a:cxn>
                  <a:cxn ang="0">
                    <a:pos x="810" y="6"/>
                  </a:cxn>
                  <a:cxn ang="0">
                    <a:pos x="800" y="2"/>
                  </a:cxn>
                  <a:cxn ang="0">
                    <a:pos x="788" y="0"/>
                  </a:cxn>
                  <a:cxn ang="0">
                    <a:pos x="60" y="0"/>
                  </a:cxn>
                  <a:cxn ang="0">
                    <a:pos x="60" y="0"/>
                  </a:cxn>
                  <a:cxn ang="0">
                    <a:pos x="48" y="2"/>
                  </a:cxn>
                  <a:cxn ang="0">
                    <a:pos x="36" y="6"/>
                  </a:cxn>
                  <a:cxn ang="0">
                    <a:pos x="26" y="10"/>
                  </a:cxn>
                  <a:cxn ang="0">
                    <a:pos x="18" y="18"/>
                  </a:cxn>
                  <a:cxn ang="0">
                    <a:pos x="10" y="26"/>
                  </a:cxn>
                  <a:cxn ang="0">
                    <a:pos x="6" y="36"/>
                  </a:cxn>
                  <a:cxn ang="0">
                    <a:pos x="2" y="48"/>
                  </a:cxn>
                  <a:cxn ang="0">
                    <a:pos x="0" y="60"/>
                  </a:cxn>
                  <a:cxn ang="0">
                    <a:pos x="0" y="60"/>
                  </a:cxn>
                  <a:cxn ang="0">
                    <a:pos x="2" y="72"/>
                  </a:cxn>
                  <a:cxn ang="0">
                    <a:pos x="6" y="84"/>
                  </a:cxn>
                  <a:cxn ang="0">
                    <a:pos x="10" y="94"/>
                  </a:cxn>
                  <a:cxn ang="0">
                    <a:pos x="18" y="102"/>
                  </a:cxn>
                  <a:cxn ang="0">
                    <a:pos x="26" y="110"/>
                  </a:cxn>
                  <a:cxn ang="0">
                    <a:pos x="36" y="116"/>
                  </a:cxn>
                  <a:cxn ang="0">
                    <a:pos x="48" y="118"/>
                  </a:cxn>
                  <a:cxn ang="0">
                    <a:pos x="60" y="120"/>
                  </a:cxn>
                  <a:cxn ang="0">
                    <a:pos x="788" y="120"/>
                  </a:cxn>
                  <a:cxn ang="0">
                    <a:pos x="788" y="120"/>
                  </a:cxn>
                  <a:cxn ang="0">
                    <a:pos x="800" y="118"/>
                  </a:cxn>
                  <a:cxn ang="0">
                    <a:pos x="810" y="116"/>
                  </a:cxn>
                  <a:cxn ang="0">
                    <a:pos x="820" y="110"/>
                  </a:cxn>
                  <a:cxn ang="0">
                    <a:pos x="830" y="102"/>
                  </a:cxn>
                  <a:cxn ang="0">
                    <a:pos x="836" y="94"/>
                  </a:cxn>
                  <a:cxn ang="0">
                    <a:pos x="842" y="84"/>
                  </a:cxn>
                  <a:cxn ang="0">
                    <a:pos x="846" y="72"/>
                  </a:cxn>
                  <a:cxn ang="0">
                    <a:pos x="846" y="60"/>
                  </a:cxn>
                  <a:cxn ang="0">
                    <a:pos x="846" y="60"/>
                  </a:cxn>
                </a:cxnLst>
                <a:rect l="0" t="0" r="r" b="b"/>
                <a:pathLst>
                  <a:path w="846" h="120">
                    <a:moveTo>
                      <a:pt x="846" y="60"/>
                    </a:moveTo>
                    <a:lnTo>
                      <a:pt x="846" y="60"/>
                    </a:lnTo>
                    <a:lnTo>
                      <a:pt x="846" y="48"/>
                    </a:lnTo>
                    <a:lnTo>
                      <a:pt x="842" y="36"/>
                    </a:lnTo>
                    <a:lnTo>
                      <a:pt x="836" y="26"/>
                    </a:lnTo>
                    <a:lnTo>
                      <a:pt x="830" y="18"/>
                    </a:lnTo>
                    <a:lnTo>
                      <a:pt x="820" y="10"/>
                    </a:lnTo>
                    <a:lnTo>
                      <a:pt x="810" y="6"/>
                    </a:lnTo>
                    <a:lnTo>
                      <a:pt x="800" y="2"/>
                    </a:lnTo>
                    <a:lnTo>
                      <a:pt x="788" y="0"/>
                    </a:lnTo>
                    <a:lnTo>
                      <a:pt x="60" y="0"/>
                    </a:lnTo>
                    <a:lnTo>
                      <a:pt x="60" y="0"/>
                    </a:lnTo>
                    <a:lnTo>
                      <a:pt x="48" y="2"/>
                    </a:lnTo>
                    <a:lnTo>
                      <a:pt x="36" y="6"/>
                    </a:lnTo>
                    <a:lnTo>
                      <a:pt x="26" y="10"/>
                    </a:lnTo>
                    <a:lnTo>
                      <a:pt x="18" y="18"/>
                    </a:lnTo>
                    <a:lnTo>
                      <a:pt x="10" y="26"/>
                    </a:lnTo>
                    <a:lnTo>
                      <a:pt x="6" y="36"/>
                    </a:lnTo>
                    <a:lnTo>
                      <a:pt x="2" y="48"/>
                    </a:lnTo>
                    <a:lnTo>
                      <a:pt x="0" y="60"/>
                    </a:lnTo>
                    <a:lnTo>
                      <a:pt x="0" y="60"/>
                    </a:lnTo>
                    <a:lnTo>
                      <a:pt x="2" y="72"/>
                    </a:lnTo>
                    <a:lnTo>
                      <a:pt x="6" y="84"/>
                    </a:lnTo>
                    <a:lnTo>
                      <a:pt x="10" y="94"/>
                    </a:lnTo>
                    <a:lnTo>
                      <a:pt x="18" y="102"/>
                    </a:lnTo>
                    <a:lnTo>
                      <a:pt x="26" y="110"/>
                    </a:lnTo>
                    <a:lnTo>
                      <a:pt x="36" y="116"/>
                    </a:lnTo>
                    <a:lnTo>
                      <a:pt x="48" y="118"/>
                    </a:lnTo>
                    <a:lnTo>
                      <a:pt x="60" y="120"/>
                    </a:lnTo>
                    <a:lnTo>
                      <a:pt x="788" y="120"/>
                    </a:lnTo>
                    <a:lnTo>
                      <a:pt x="788" y="120"/>
                    </a:lnTo>
                    <a:lnTo>
                      <a:pt x="800" y="118"/>
                    </a:lnTo>
                    <a:lnTo>
                      <a:pt x="810" y="116"/>
                    </a:lnTo>
                    <a:lnTo>
                      <a:pt x="820" y="110"/>
                    </a:lnTo>
                    <a:lnTo>
                      <a:pt x="830" y="102"/>
                    </a:lnTo>
                    <a:lnTo>
                      <a:pt x="836" y="94"/>
                    </a:lnTo>
                    <a:lnTo>
                      <a:pt x="842" y="84"/>
                    </a:lnTo>
                    <a:lnTo>
                      <a:pt x="846" y="72"/>
                    </a:lnTo>
                    <a:lnTo>
                      <a:pt x="846" y="60"/>
                    </a:lnTo>
                    <a:lnTo>
                      <a:pt x="846" y="6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65" name="Freeform 78">
                <a:extLst>
                  <a:ext uri="{FF2B5EF4-FFF2-40B4-BE49-F238E27FC236}">
                    <a16:creationId xmlns:a16="http://schemas.microsoft.com/office/drawing/2014/main" id="{1FEDB621-DA00-498C-20C7-964DA64E764D}"/>
                  </a:ext>
                </a:extLst>
              </p:cNvPr>
              <p:cNvSpPr>
                <a:spLocks/>
              </p:cNvSpPr>
              <p:nvPr/>
            </p:nvSpPr>
            <p:spPr bwMode="auto">
              <a:xfrm>
                <a:off x="6357938" y="-2185988"/>
                <a:ext cx="815975" cy="187325"/>
              </a:xfrm>
              <a:custGeom>
                <a:avLst/>
                <a:gdLst/>
                <a:ahLst/>
                <a:cxnLst>
                  <a:cxn ang="0">
                    <a:pos x="60" y="0"/>
                  </a:cxn>
                  <a:cxn ang="0">
                    <a:pos x="60" y="0"/>
                  </a:cxn>
                  <a:cxn ang="0">
                    <a:pos x="48" y="0"/>
                  </a:cxn>
                  <a:cxn ang="0">
                    <a:pos x="38" y="4"/>
                  </a:cxn>
                  <a:cxn ang="0">
                    <a:pos x="26" y="10"/>
                  </a:cxn>
                  <a:cxn ang="0">
                    <a:pos x="18" y="16"/>
                  </a:cxn>
                  <a:cxn ang="0">
                    <a:pos x="10" y="26"/>
                  </a:cxn>
                  <a:cxn ang="0">
                    <a:pos x="6" y="36"/>
                  </a:cxn>
                  <a:cxn ang="0">
                    <a:pos x="2" y="46"/>
                  </a:cxn>
                  <a:cxn ang="0">
                    <a:pos x="0" y="58"/>
                  </a:cxn>
                  <a:cxn ang="0">
                    <a:pos x="0" y="58"/>
                  </a:cxn>
                  <a:cxn ang="0">
                    <a:pos x="2" y="70"/>
                  </a:cxn>
                  <a:cxn ang="0">
                    <a:pos x="6" y="82"/>
                  </a:cxn>
                  <a:cxn ang="0">
                    <a:pos x="10" y="92"/>
                  </a:cxn>
                  <a:cxn ang="0">
                    <a:pos x="18" y="100"/>
                  </a:cxn>
                  <a:cxn ang="0">
                    <a:pos x="26" y="108"/>
                  </a:cxn>
                  <a:cxn ang="0">
                    <a:pos x="38" y="114"/>
                  </a:cxn>
                  <a:cxn ang="0">
                    <a:pos x="48" y="118"/>
                  </a:cxn>
                  <a:cxn ang="0">
                    <a:pos x="60" y="118"/>
                  </a:cxn>
                  <a:cxn ang="0">
                    <a:pos x="454" y="118"/>
                  </a:cxn>
                  <a:cxn ang="0">
                    <a:pos x="454" y="118"/>
                  </a:cxn>
                  <a:cxn ang="0">
                    <a:pos x="466" y="118"/>
                  </a:cxn>
                  <a:cxn ang="0">
                    <a:pos x="478" y="114"/>
                  </a:cxn>
                  <a:cxn ang="0">
                    <a:pos x="488" y="108"/>
                  </a:cxn>
                  <a:cxn ang="0">
                    <a:pos x="496" y="100"/>
                  </a:cxn>
                  <a:cxn ang="0">
                    <a:pos x="504" y="92"/>
                  </a:cxn>
                  <a:cxn ang="0">
                    <a:pos x="510" y="82"/>
                  </a:cxn>
                  <a:cxn ang="0">
                    <a:pos x="514" y="70"/>
                  </a:cxn>
                  <a:cxn ang="0">
                    <a:pos x="514" y="58"/>
                  </a:cxn>
                  <a:cxn ang="0">
                    <a:pos x="514" y="58"/>
                  </a:cxn>
                  <a:cxn ang="0">
                    <a:pos x="514" y="46"/>
                  </a:cxn>
                  <a:cxn ang="0">
                    <a:pos x="510" y="36"/>
                  </a:cxn>
                  <a:cxn ang="0">
                    <a:pos x="504" y="26"/>
                  </a:cxn>
                  <a:cxn ang="0">
                    <a:pos x="496" y="16"/>
                  </a:cxn>
                  <a:cxn ang="0">
                    <a:pos x="488" y="10"/>
                  </a:cxn>
                  <a:cxn ang="0">
                    <a:pos x="478" y="4"/>
                  </a:cxn>
                  <a:cxn ang="0">
                    <a:pos x="466" y="0"/>
                  </a:cxn>
                  <a:cxn ang="0">
                    <a:pos x="454" y="0"/>
                  </a:cxn>
                  <a:cxn ang="0">
                    <a:pos x="60" y="0"/>
                  </a:cxn>
                </a:cxnLst>
                <a:rect l="0" t="0" r="r" b="b"/>
                <a:pathLst>
                  <a:path w="514" h="118">
                    <a:moveTo>
                      <a:pt x="60" y="0"/>
                    </a:moveTo>
                    <a:lnTo>
                      <a:pt x="60" y="0"/>
                    </a:lnTo>
                    <a:lnTo>
                      <a:pt x="48" y="0"/>
                    </a:lnTo>
                    <a:lnTo>
                      <a:pt x="38" y="4"/>
                    </a:lnTo>
                    <a:lnTo>
                      <a:pt x="26" y="10"/>
                    </a:lnTo>
                    <a:lnTo>
                      <a:pt x="18" y="16"/>
                    </a:lnTo>
                    <a:lnTo>
                      <a:pt x="10" y="26"/>
                    </a:lnTo>
                    <a:lnTo>
                      <a:pt x="6" y="36"/>
                    </a:lnTo>
                    <a:lnTo>
                      <a:pt x="2" y="46"/>
                    </a:lnTo>
                    <a:lnTo>
                      <a:pt x="0" y="58"/>
                    </a:lnTo>
                    <a:lnTo>
                      <a:pt x="0" y="58"/>
                    </a:lnTo>
                    <a:lnTo>
                      <a:pt x="2" y="70"/>
                    </a:lnTo>
                    <a:lnTo>
                      <a:pt x="6" y="82"/>
                    </a:lnTo>
                    <a:lnTo>
                      <a:pt x="10" y="92"/>
                    </a:lnTo>
                    <a:lnTo>
                      <a:pt x="18" y="100"/>
                    </a:lnTo>
                    <a:lnTo>
                      <a:pt x="26" y="108"/>
                    </a:lnTo>
                    <a:lnTo>
                      <a:pt x="38" y="114"/>
                    </a:lnTo>
                    <a:lnTo>
                      <a:pt x="48" y="118"/>
                    </a:lnTo>
                    <a:lnTo>
                      <a:pt x="60" y="118"/>
                    </a:lnTo>
                    <a:lnTo>
                      <a:pt x="454" y="118"/>
                    </a:lnTo>
                    <a:lnTo>
                      <a:pt x="454" y="118"/>
                    </a:lnTo>
                    <a:lnTo>
                      <a:pt x="466" y="118"/>
                    </a:lnTo>
                    <a:lnTo>
                      <a:pt x="478" y="114"/>
                    </a:lnTo>
                    <a:lnTo>
                      <a:pt x="488" y="108"/>
                    </a:lnTo>
                    <a:lnTo>
                      <a:pt x="496" y="100"/>
                    </a:lnTo>
                    <a:lnTo>
                      <a:pt x="504" y="92"/>
                    </a:lnTo>
                    <a:lnTo>
                      <a:pt x="510" y="82"/>
                    </a:lnTo>
                    <a:lnTo>
                      <a:pt x="514" y="70"/>
                    </a:lnTo>
                    <a:lnTo>
                      <a:pt x="514" y="58"/>
                    </a:lnTo>
                    <a:lnTo>
                      <a:pt x="514" y="58"/>
                    </a:lnTo>
                    <a:lnTo>
                      <a:pt x="514" y="46"/>
                    </a:lnTo>
                    <a:lnTo>
                      <a:pt x="510" y="36"/>
                    </a:lnTo>
                    <a:lnTo>
                      <a:pt x="504" y="26"/>
                    </a:lnTo>
                    <a:lnTo>
                      <a:pt x="496" y="16"/>
                    </a:lnTo>
                    <a:lnTo>
                      <a:pt x="488" y="10"/>
                    </a:lnTo>
                    <a:lnTo>
                      <a:pt x="478" y="4"/>
                    </a:lnTo>
                    <a:lnTo>
                      <a:pt x="466" y="0"/>
                    </a:lnTo>
                    <a:lnTo>
                      <a:pt x="454" y="0"/>
                    </a:lnTo>
                    <a:lnTo>
                      <a:pt x="60"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66" name="Freeform 79">
                <a:extLst>
                  <a:ext uri="{FF2B5EF4-FFF2-40B4-BE49-F238E27FC236}">
                    <a16:creationId xmlns:a16="http://schemas.microsoft.com/office/drawing/2014/main" id="{B851E9C6-0EC1-9430-807B-4A4BBB2731B2}"/>
                  </a:ext>
                </a:extLst>
              </p:cNvPr>
              <p:cNvSpPr>
                <a:spLocks/>
              </p:cNvSpPr>
              <p:nvPr/>
            </p:nvSpPr>
            <p:spPr bwMode="auto">
              <a:xfrm>
                <a:off x="6072188" y="611187"/>
                <a:ext cx="1387475" cy="190500"/>
              </a:xfrm>
              <a:custGeom>
                <a:avLst/>
                <a:gdLst/>
                <a:ahLst/>
                <a:cxnLst>
                  <a:cxn ang="0">
                    <a:pos x="816" y="0"/>
                  </a:cxn>
                  <a:cxn ang="0">
                    <a:pos x="60" y="0"/>
                  </a:cxn>
                  <a:cxn ang="0">
                    <a:pos x="60" y="0"/>
                  </a:cxn>
                  <a:cxn ang="0">
                    <a:pos x="48" y="2"/>
                  </a:cxn>
                  <a:cxn ang="0">
                    <a:pos x="36" y="4"/>
                  </a:cxn>
                  <a:cxn ang="0">
                    <a:pos x="26" y="10"/>
                  </a:cxn>
                  <a:cxn ang="0">
                    <a:pos x="18" y="18"/>
                  </a:cxn>
                  <a:cxn ang="0">
                    <a:pos x="10" y="26"/>
                  </a:cxn>
                  <a:cxn ang="0">
                    <a:pos x="4" y="36"/>
                  </a:cxn>
                  <a:cxn ang="0">
                    <a:pos x="2" y="48"/>
                  </a:cxn>
                  <a:cxn ang="0">
                    <a:pos x="0" y="60"/>
                  </a:cxn>
                  <a:cxn ang="0">
                    <a:pos x="0" y="60"/>
                  </a:cxn>
                  <a:cxn ang="0">
                    <a:pos x="2" y="72"/>
                  </a:cxn>
                  <a:cxn ang="0">
                    <a:pos x="4" y="84"/>
                  </a:cxn>
                  <a:cxn ang="0">
                    <a:pos x="10" y="94"/>
                  </a:cxn>
                  <a:cxn ang="0">
                    <a:pos x="18" y="102"/>
                  </a:cxn>
                  <a:cxn ang="0">
                    <a:pos x="26" y="110"/>
                  </a:cxn>
                  <a:cxn ang="0">
                    <a:pos x="36" y="114"/>
                  </a:cxn>
                  <a:cxn ang="0">
                    <a:pos x="48" y="118"/>
                  </a:cxn>
                  <a:cxn ang="0">
                    <a:pos x="60" y="120"/>
                  </a:cxn>
                  <a:cxn ang="0">
                    <a:pos x="816" y="120"/>
                  </a:cxn>
                  <a:cxn ang="0">
                    <a:pos x="816" y="120"/>
                  </a:cxn>
                  <a:cxn ang="0">
                    <a:pos x="828" y="118"/>
                  </a:cxn>
                  <a:cxn ang="0">
                    <a:pos x="838" y="114"/>
                  </a:cxn>
                  <a:cxn ang="0">
                    <a:pos x="848" y="110"/>
                  </a:cxn>
                  <a:cxn ang="0">
                    <a:pos x="858" y="102"/>
                  </a:cxn>
                  <a:cxn ang="0">
                    <a:pos x="864" y="94"/>
                  </a:cxn>
                  <a:cxn ang="0">
                    <a:pos x="870" y="84"/>
                  </a:cxn>
                  <a:cxn ang="0">
                    <a:pos x="874" y="72"/>
                  </a:cxn>
                  <a:cxn ang="0">
                    <a:pos x="874" y="60"/>
                  </a:cxn>
                  <a:cxn ang="0">
                    <a:pos x="874" y="60"/>
                  </a:cxn>
                  <a:cxn ang="0">
                    <a:pos x="874" y="48"/>
                  </a:cxn>
                  <a:cxn ang="0">
                    <a:pos x="870" y="36"/>
                  </a:cxn>
                  <a:cxn ang="0">
                    <a:pos x="864" y="26"/>
                  </a:cxn>
                  <a:cxn ang="0">
                    <a:pos x="858" y="18"/>
                  </a:cxn>
                  <a:cxn ang="0">
                    <a:pos x="848" y="10"/>
                  </a:cxn>
                  <a:cxn ang="0">
                    <a:pos x="838" y="4"/>
                  </a:cxn>
                  <a:cxn ang="0">
                    <a:pos x="828" y="2"/>
                  </a:cxn>
                  <a:cxn ang="0">
                    <a:pos x="816" y="0"/>
                  </a:cxn>
                  <a:cxn ang="0">
                    <a:pos x="816" y="0"/>
                  </a:cxn>
                </a:cxnLst>
                <a:rect l="0" t="0" r="r" b="b"/>
                <a:pathLst>
                  <a:path w="874" h="120">
                    <a:moveTo>
                      <a:pt x="816" y="0"/>
                    </a:moveTo>
                    <a:lnTo>
                      <a:pt x="60" y="0"/>
                    </a:lnTo>
                    <a:lnTo>
                      <a:pt x="60" y="0"/>
                    </a:lnTo>
                    <a:lnTo>
                      <a:pt x="48" y="2"/>
                    </a:lnTo>
                    <a:lnTo>
                      <a:pt x="36" y="4"/>
                    </a:lnTo>
                    <a:lnTo>
                      <a:pt x="26" y="10"/>
                    </a:lnTo>
                    <a:lnTo>
                      <a:pt x="18" y="18"/>
                    </a:lnTo>
                    <a:lnTo>
                      <a:pt x="10" y="26"/>
                    </a:lnTo>
                    <a:lnTo>
                      <a:pt x="4" y="36"/>
                    </a:lnTo>
                    <a:lnTo>
                      <a:pt x="2" y="48"/>
                    </a:lnTo>
                    <a:lnTo>
                      <a:pt x="0" y="60"/>
                    </a:lnTo>
                    <a:lnTo>
                      <a:pt x="0" y="60"/>
                    </a:lnTo>
                    <a:lnTo>
                      <a:pt x="2" y="72"/>
                    </a:lnTo>
                    <a:lnTo>
                      <a:pt x="4" y="84"/>
                    </a:lnTo>
                    <a:lnTo>
                      <a:pt x="10" y="94"/>
                    </a:lnTo>
                    <a:lnTo>
                      <a:pt x="18" y="102"/>
                    </a:lnTo>
                    <a:lnTo>
                      <a:pt x="26" y="110"/>
                    </a:lnTo>
                    <a:lnTo>
                      <a:pt x="36" y="114"/>
                    </a:lnTo>
                    <a:lnTo>
                      <a:pt x="48" y="118"/>
                    </a:lnTo>
                    <a:lnTo>
                      <a:pt x="60" y="120"/>
                    </a:lnTo>
                    <a:lnTo>
                      <a:pt x="816" y="120"/>
                    </a:lnTo>
                    <a:lnTo>
                      <a:pt x="816" y="120"/>
                    </a:lnTo>
                    <a:lnTo>
                      <a:pt x="828" y="118"/>
                    </a:lnTo>
                    <a:lnTo>
                      <a:pt x="838" y="114"/>
                    </a:lnTo>
                    <a:lnTo>
                      <a:pt x="848" y="110"/>
                    </a:lnTo>
                    <a:lnTo>
                      <a:pt x="858" y="102"/>
                    </a:lnTo>
                    <a:lnTo>
                      <a:pt x="864" y="94"/>
                    </a:lnTo>
                    <a:lnTo>
                      <a:pt x="870" y="84"/>
                    </a:lnTo>
                    <a:lnTo>
                      <a:pt x="874" y="72"/>
                    </a:lnTo>
                    <a:lnTo>
                      <a:pt x="874" y="60"/>
                    </a:lnTo>
                    <a:lnTo>
                      <a:pt x="874" y="60"/>
                    </a:lnTo>
                    <a:lnTo>
                      <a:pt x="874" y="48"/>
                    </a:lnTo>
                    <a:lnTo>
                      <a:pt x="870" y="36"/>
                    </a:lnTo>
                    <a:lnTo>
                      <a:pt x="864" y="26"/>
                    </a:lnTo>
                    <a:lnTo>
                      <a:pt x="858" y="18"/>
                    </a:lnTo>
                    <a:lnTo>
                      <a:pt x="848" y="10"/>
                    </a:lnTo>
                    <a:lnTo>
                      <a:pt x="838" y="4"/>
                    </a:lnTo>
                    <a:lnTo>
                      <a:pt x="828" y="2"/>
                    </a:lnTo>
                    <a:lnTo>
                      <a:pt x="816" y="0"/>
                    </a:lnTo>
                    <a:lnTo>
                      <a:pt x="816"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67" name="Freeform 80">
                <a:extLst>
                  <a:ext uri="{FF2B5EF4-FFF2-40B4-BE49-F238E27FC236}">
                    <a16:creationId xmlns:a16="http://schemas.microsoft.com/office/drawing/2014/main" id="{210F713D-D5BF-E260-7106-4B80DBE6A022}"/>
                  </a:ext>
                </a:extLst>
              </p:cNvPr>
              <p:cNvSpPr>
                <a:spLocks/>
              </p:cNvSpPr>
              <p:nvPr/>
            </p:nvSpPr>
            <p:spPr bwMode="auto">
              <a:xfrm>
                <a:off x="6072188" y="163512"/>
                <a:ext cx="1387475" cy="190500"/>
              </a:xfrm>
              <a:custGeom>
                <a:avLst/>
                <a:gdLst/>
                <a:ahLst/>
                <a:cxnLst>
                  <a:cxn ang="0">
                    <a:pos x="816" y="0"/>
                  </a:cxn>
                  <a:cxn ang="0">
                    <a:pos x="60" y="0"/>
                  </a:cxn>
                  <a:cxn ang="0">
                    <a:pos x="60" y="0"/>
                  </a:cxn>
                  <a:cxn ang="0">
                    <a:pos x="48" y="2"/>
                  </a:cxn>
                  <a:cxn ang="0">
                    <a:pos x="36" y="6"/>
                  </a:cxn>
                  <a:cxn ang="0">
                    <a:pos x="26" y="10"/>
                  </a:cxn>
                  <a:cxn ang="0">
                    <a:pos x="18" y="18"/>
                  </a:cxn>
                  <a:cxn ang="0">
                    <a:pos x="10" y="26"/>
                  </a:cxn>
                  <a:cxn ang="0">
                    <a:pos x="4" y="36"/>
                  </a:cxn>
                  <a:cxn ang="0">
                    <a:pos x="2" y="48"/>
                  </a:cxn>
                  <a:cxn ang="0">
                    <a:pos x="0" y="60"/>
                  </a:cxn>
                  <a:cxn ang="0">
                    <a:pos x="0" y="60"/>
                  </a:cxn>
                  <a:cxn ang="0">
                    <a:pos x="2" y="72"/>
                  </a:cxn>
                  <a:cxn ang="0">
                    <a:pos x="4" y="84"/>
                  </a:cxn>
                  <a:cxn ang="0">
                    <a:pos x="10" y="94"/>
                  </a:cxn>
                  <a:cxn ang="0">
                    <a:pos x="18" y="102"/>
                  </a:cxn>
                  <a:cxn ang="0">
                    <a:pos x="26" y="110"/>
                  </a:cxn>
                  <a:cxn ang="0">
                    <a:pos x="36" y="114"/>
                  </a:cxn>
                  <a:cxn ang="0">
                    <a:pos x="48" y="118"/>
                  </a:cxn>
                  <a:cxn ang="0">
                    <a:pos x="60" y="120"/>
                  </a:cxn>
                  <a:cxn ang="0">
                    <a:pos x="816" y="120"/>
                  </a:cxn>
                  <a:cxn ang="0">
                    <a:pos x="816" y="120"/>
                  </a:cxn>
                  <a:cxn ang="0">
                    <a:pos x="828" y="118"/>
                  </a:cxn>
                  <a:cxn ang="0">
                    <a:pos x="838" y="114"/>
                  </a:cxn>
                  <a:cxn ang="0">
                    <a:pos x="848" y="110"/>
                  </a:cxn>
                  <a:cxn ang="0">
                    <a:pos x="858" y="102"/>
                  </a:cxn>
                  <a:cxn ang="0">
                    <a:pos x="864" y="94"/>
                  </a:cxn>
                  <a:cxn ang="0">
                    <a:pos x="870" y="84"/>
                  </a:cxn>
                  <a:cxn ang="0">
                    <a:pos x="874" y="72"/>
                  </a:cxn>
                  <a:cxn ang="0">
                    <a:pos x="874" y="60"/>
                  </a:cxn>
                  <a:cxn ang="0">
                    <a:pos x="874" y="60"/>
                  </a:cxn>
                  <a:cxn ang="0">
                    <a:pos x="874" y="48"/>
                  </a:cxn>
                  <a:cxn ang="0">
                    <a:pos x="870" y="36"/>
                  </a:cxn>
                  <a:cxn ang="0">
                    <a:pos x="864" y="26"/>
                  </a:cxn>
                  <a:cxn ang="0">
                    <a:pos x="858" y="18"/>
                  </a:cxn>
                  <a:cxn ang="0">
                    <a:pos x="848" y="10"/>
                  </a:cxn>
                  <a:cxn ang="0">
                    <a:pos x="838" y="6"/>
                  </a:cxn>
                  <a:cxn ang="0">
                    <a:pos x="828" y="2"/>
                  </a:cxn>
                  <a:cxn ang="0">
                    <a:pos x="816" y="0"/>
                  </a:cxn>
                  <a:cxn ang="0">
                    <a:pos x="816" y="0"/>
                  </a:cxn>
                </a:cxnLst>
                <a:rect l="0" t="0" r="r" b="b"/>
                <a:pathLst>
                  <a:path w="874" h="120">
                    <a:moveTo>
                      <a:pt x="816" y="0"/>
                    </a:moveTo>
                    <a:lnTo>
                      <a:pt x="60" y="0"/>
                    </a:lnTo>
                    <a:lnTo>
                      <a:pt x="60" y="0"/>
                    </a:lnTo>
                    <a:lnTo>
                      <a:pt x="48" y="2"/>
                    </a:lnTo>
                    <a:lnTo>
                      <a:pt x="36" y="6"/>
                    </a:lnTo>
                    <a:lnTo>
                      <a:pt x="26" y="10"/>
                    </a:lnTo>
                    <a:lnTo>
                      <a:pt x="18" y="18"/>
                    </a:lnTo>
                    <a:lnTo>
                      <a:pt x="10" y="26"/>
                    </a:lnTo>
                    <a:lnTo>
                      <a:pt x="4" y="36"/>
                    </a:lnTo>
                    <a:lnTo>
                      <a:pt x="2" y="48"/>
                    </a:lnTo>
                    <a:lnTo>
                      <a:pt x="0" y="60"/>
                    </a:lnTo>
                    <a:lnTo>
                      <a:pt x="0" y="60"/>
                    </a:lnTo>
                    <a:lnTo>
                      <a:pt x="2" y="72"/>
                    </a:lnTo>
                    <a:lnTo>
                      <a:pt x="4" y="84"/>
                    </a:lnTo>
                    <a:lnTo>
                      <a:pt x="10" y="94"/>
                    </a:lnTo>
                    <a:lnTo>
                      <a:pt x="18" y="102"/>
                    </a:lnTo>
                    <a:lnTo>
                      <a:pt x="26" y="110"/>
                    </a:lnTo>
                    <a:lnTo>
                      <a:pt x="36" y="114"/>
                    </a:lnTo>
                    <a:lnTo>
                      <a:pt x="48" y="118"/>
                    </a:lnTo>
                    <a:lnTo>
                      <a:pt x="60" y="120"/>
                    </a:lnTo>
                    <a:lnTo>
                      <a:pt x="816" y="120"/>
                    </a:lnTo>
                    <a:lnTo>
                      <a:pt x="816" y="120"/>
                    </a:lnTo>
                    <a:lnTo>
                      <a:pt x="828" y="118"/>
                    </a:lnTo>
                    <a:lnTo>
                      <a:pt x="838" y="114"/>
                    </a:lnTo>
                    <a:lnTo>
                      <a:pt x="848" y="110"/>
                    </a:lnTo>
                    <a:lnTo>
                      <a:pt x="858" y="102"/>
                    </a:lnTo>
                    <a:lnTo>
                      <a:pt x="864" y="94"/>
                    </a:lnTo>
                    <a:lnTo>
                      <a:pt x="870" y="84"/>
                    </a:lnTo>
                    <a:lnTo>
                      <a:pt x="874" y="72"/>
                    </a:lnTo>
                    <a:lnTo>
                      <a:pt x="874" y="60"/>
                    </a:lnTo>
                    <a:lnTo>
                      <a:pt x="874" y="60"/>
                    </a:lnTo>
                    <a:lnTo>
                      <a:pt x="874" y="48"/>
                    </a:lnTo>
                    <a:lnTo>
                      <a:pt x="870" y="36"/>
                    </a:lnTo>
                    <a:lnTo>
                      <a:pt x="864" y="26"/>
                    </a:lnTo>
                    <a:lnTo>
                      <a:pt x="858" y="18"/>
                    </a:lnTo>
                    <a:lnTo>
                      <a:pt x="848" y="10"/>
                    </a:lnTo>
                    <a:lnTo>
                      <a:pt x="838" y="6"/>
                    </a:lnTo>
                    <a:lnTo>
                      <a:pt x="828" y="2"/>
                    </a:lnTo>
                    <a:lnTo>
                      <a:pt x="816" y="0"/>
                    </a:lnTo>
                    <a:lnTo>
                      <a:pt x="816"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68" name="Freeform 81">
                <a:extLst>
                  <a:ext uri="{FF2B5EF4-FFF2-40B4-BE49-F238E27FC236}">
                    <a16:creationId xmlns:a16="http://schemas.microsoft.com/office/drawing/2014/main" id="{A2D0DCEA-083B-B559-ABFE-EA5E51721891}"/>
                  </a:ext>
                </a:extLst>
              </p:cNvPr>
              <p:cNvSpPr>
                <a:spLocks/>
              </p:cNvSpPr>
              <p:nvPr/>
            </p:nvSpPr>
            <p:spPr bwMode="auto">
              <a:xfrm>
                <a:off x="6072188" y="-284163"/>
                <a:ext cx="1387475" cy="190500"/>
              </a:xfrm>
              <a:custGeom>
                <a:avLst/>
                <a:gdLst/>
                <a:ahLst/>
                <a:cxnLst>
                  <a:cxn ang="0">
                    <a:pos x="816" y="0"/>
                  </a:cxn>
                  <a:cxn ang="0">
                    <a:pos x="60" y="0"/>
                  </a:cxn>
                  <a:cxn ang="0">
                    <a:pos x="60" y="0"/>
                  </a:cxn>
                  <a:cxn ang="0">
                    <a:pos x="48" y="2"/>
                  </a:cxn>
                  <a:cxn ang="0">
                    <a:pos x="36" y="6"/>
                  </a:cxn>
                  <a:cxn ang="0">
                    <a:pos x="26" y="10"/>
                  </a:cxn>
                  <a:cxn ang="0">
                    <a:pos x="18" y="18"/>
                  </a:cxn>
                  <a:cxn ang="0">
                    <a:pos x="10" y="26"/>
                  </a:cxn>
                  <a:cxn ang="0">
                    <a:pos x="4" y="36"/>
                  </a:cxn>
                  <a:cxn ang="0">
                    <a:pos x="2" y="48"/>
                  </a:cxn>
                  <a:cxn ang="0">
                    <a:pos x="0" y="60"/>
                  </a:cxn>
                  <a:cxn ang="0">
                    <a:pos x="0" y="60"/>
                  </a:cxn>
                  <a:cxn ang="0">
                    <a:pos x="2" y="72"/>
                  </a:cxn>
                  <a:cxn ang="0">
                    <a:pos x="4" y="84"/>
                  </a:cxn>
                  <a:cxn ang="0">
                    <a:pos x="10" y="94"/>
                  </a:cxn>
                  <a:cxn ang="0">
                    <a:pos x="18" y="102"/>
                  </a:cxn>
                  <a:cxn ang="0">
                    <a:pos x="26" y="110"/>
                  </a:cxn>
                  <a:cxn ang="0">
                    <a:pos x="36" y="116"/>
                  </a:cxn>
                  <a:cxn ang="0">
                    <a:pos x="48" y="118"/>
                  </a:cxn>
                  <a:cxn ang="0">
                    <a:pos x="60" y="120"/>
                  </a:cxn>
                  <a:cxn ang="0">
                    <a:pos x="816" y="120"/>
                  </a:cxn>
                  <a:cxn ang="0">
                    <a:pos x="816" y="120"/>
                  </a:cxn>
                  <a:cxn ang="0">
                    <a:pos x="828" y="118"/>
                  </a:cxn>
                  <a:cxn ang="0">
                    <a:pos x="838" y="116"/>
                  </a:cxn>
                  <a:cxn ang="0">
                    <a:pos x="848" y="110"/>
                  </a:cxn>
                  <a:cxn ang="0">
                    <a:pos x="858" y="102"/>
                  </a:cxn>
                  <a:cxn ang="0">
                    <a:pos x="864" y="94"/>
                  </a:cxn>
                  <a:cxn ang="0">
                    <a:pos x="870" y="84"/>
                  </a:cxn>
                  <a:cxn ang="0">
                    <a:pos x="874" y="72"/>
                  </a:cxn>
                  <a:cxn ang="0">
                    <a:pos x="874" y="60"/>
                  </a:cxn>
                  <a:cxn ang="0">
                    <a:pos x="874" y="60"/>
                  </a:cxn>
                  <a:cxn ang="0">
                    <a:pos x="874" y="48"/>
                  </a:cxn>
                  <a:cxn ang="0">
                    <a:pos x="870" y="36"/>
                  </a:cxn>
                  <a:cxn ang="0">
                    <a:pos x="864" y="26"/>
                  </a:cxn>
                  <a:cxn ang="0">
                    <a:pos x="858" y="18"/>
                  </a:cxn>
                  <a:cxn ang="0">
                    <a:pos x="848" y="10"/>
                  </a:cxn>
                  <a:cxn ang="0">
                    <a:pos x="838" y="6"/>
                  </a:cxn>
                  <a:cxn ang="0">
                    <a:pos x="828" y="2"/>
                  </a:cxn>
                  <a:cxn ang="0">
                    <a:pos x="816" y="0"/>
                  </a:cxn>
                  <a:cxn ang="0">
                    <a:pos x="816" y="0"/>
                  </a:cxn>
                </a:cxnLst>
                <a:rect l="0" t="0" r="r" b="b"/>
                <a:pathLst>
                  <a:path w="874" h="120">
                    <a:moveTo>
                      <a:pt x="816" y="0"/>
                    </a:moveTo>
                    <a:lnTo>
                      <a:pt x="60" y="0"/>
                    </a:lnTo>
                    <a:lnTo>
                      <a:pt x="60" y="0"/>
                    </a:lnTo>
                    <a:lnTo>
                      <a:pt x="48" y="2"/>
                    </a:lnTo>
                    <a:lnTo>
                      <a:pt x="36" y="6"/>
                    </a:lnTo>
                    <a:lnTo>
                      <a:pt x="26" y="10"/>
                    </a:lnTo>
                    <a:lnTo>
                      <a:pt x="18" y="18"/>
                    </a:lnTo>
                    <a:lnTo>
                      <a:pt x="10" y="26"/>
                    </a:lnTo>
                    <a:lnTo>
                      <a:pt x="4" y="36"/>
                    </a:lnTo>
                    <a:lnTo>
                      <a:pt x="2" y="48"/>
                    </a:lnTo>
                    <a:lnTo>
                      <a:pt x="0" y="60"/>
                    </a:lnTo>
                    <a:lnTo>
                      <a:pt x="0" y="60"/>
                    </a:lnTo>
                    <a:lnTo>
                      <a:pt x="2" y="72"/>
                    </a:lnTo>
                    <a:lnTo>
                      <a:pt x="4" y="84"/>
                    </a:lnTo>
                    <a:lnTo>
                      <a:pt x="10" y="94"/>
                    </a:lnTo>
                    <a:lnTo>
                      <a:pt x="18" y="102"/>
                    </a:lnTo>
                    <a:lnTo>
                      <a:pt x="26" y="110"/>
                    </a:lnTo>
                    <a:lnTo>
                      <a:pt x="36" y="116"/>
                    </a:lnTo>
                    <a:lnTo>
                      <a:pt x="48" y="118"/>
                    </a:lnTo>
                    <a:lnTo>
                      <a:pt x="60" y="120"/>
                    </a:lnTo>
                    <a:lnTo>
                      <a:pt x="816" y="120"/>
                    </a:lnTo>
                    <a:lnTo>
                      <a:pt x="816" y="120"/>
                    </a:lnTo>
                    <a:lnTo>
                      <a:pt x="828" y="118"/>
                    </a:lnTo>
                    <a:lnTo>
                      <a:pt x="838" y="116"/>
                    </a:lnTo>
                    <a:lnTo>
                      <a:pt x="848" y="110"/>
                    </a:lnTo>
                    <a:lnTo>
                      <a:pt x="858" y="102"/>
                    </a:lnTo>
                    <a:lnTo>
                      <a:pt x="864" y="94"/>
                    </a:lnTo>
                    <a:lnTo>
                      <a:pt x="870" y="84"/>
                    </a:lnTo>
                    <a:lnTo>
                      <a:pt x="874" y="72"/>
                    </a:lnTo>
                    <a:lnTo>
                      <a:pt x="874" y="60"/>
                    </a:lnTo>
                    <a:lnTo>
                      <a:pt x="874" y="60"/>
                    </a:lnTo>
                    <a:lnTo>
                      <a:pt x="874" y="48"/>
                    </a:lnTo>
                    <a:lnTo>
                      <a:pt x="870" y="36"/>
                    </a:lnTo>
                    <a:lnTo>
                      <a:pt x="864" y="26"/>
                    </a:lnTo>
                    <a:lnTo>
                      <a:pt x="858" y="18"/>
                    </a:lnTo>
                    <a:lnTo>
                      <a:pt x="848" y="10"/>
                    </a:lnTo>
                    <a:lnTo>
                      <a:pt x="838" y="6"/>
                    </a:lnTo>
                    <a:lnTo>
                      <a:pt x="828" y="2"/>
                    </a:lnTo>
                    <a:lnTo>
                      <a:pt x="816" y="0"/>
                    </a:lnTo>
                    <a:lnTo>
                      <a:pt x="816"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69" name="Freeform 82">
                <a:extLst>
                  <a:ext uri="{FF2B5EF4-FFF2-40B4-BE49-F238E27FC236}">
                    <a16:creationId xmlns:a16="http://schemas.microsoft.com/office/drawing/2014/main" id="{286B5D94-78EE-C233-ECD7-3BB25D14844E}"/>
                  </a:ext>
                </a:extLst>
              </p:cNvPr>
              <p:cNvSpPr>
                <a:spLocks/>
              </p:cNvSpPr>
              <p:nvPr/>
            </p:nvSpPr>
            <p:spPr bwMode="auto">
              <a:xfrm>
                <a:off x="6094413" y="-731838"/>
                <a:ext cx="1343025" cy="190500"/>
              </a:xfrm>
              <a:custGeom>
                <a:avLst/>
                <a:gdLst/>
                <a:ahLst/>
                <a:cxnLst>
                  <a:cxn ang="0">
                    <a:pos x="0" y="60"/>
                  </a:cxn>
                  <a:cxn ang="0">
                    <a:pos x="0" y="60"/>
                  </a:cxn>
                  <a:cxn ang="0">
                    <a:pos x="2" y="72"/>
                  </a:cxn>
                  <a:cxn ang="0">
                    <a:pos x="6" y="84"/>
                  </a:cxn>
                  <a:cxn ang="0">
                    <a:pos x="10" y="94"/>
                  </a:cxn>
                  <a:cxn ang="0">
                    <a:pos x="18" y="102"/>
                  </a:cxn>
                  <a:cxn ang="0">
                    <a:pos x="26" y="110"/>
                  </a:cxn>
                  <a:cxn ang="0">
                    <a:pos x="36" y="116"/>
                  </a:cxn>
                  <a:cxn ang="0">
                    <a:pos x="48" y="118"/>
                  </a:cxn>
                  <a:cxn ang="0">
                    <a:pos x="60" y="120"/>
                  </a:cxn>
                  <a:cxn ang="0">
                    <a:pos x="788" y="120"/>
                  </a:cxn>
                  <a:cxn ang="0">
                    <a:pos x="788" y="120"/>
                  </a:cxn>
                  <a:cxn ang="0">
                    <a:pos x="800" y="118"/>
                  </a:cxn>
                  <a:cxn ang="0">
                    <a:pos x="810" y="116"/>
                  </a:cxn>
                  <a:cxn ang="0">
                    <a:pos x="820" y="110"/>
                  </a:cxn>
                  <a:cxn ang="0">
                    <a:pos x="830" y="102"/>
                  </a:cxn>
                  <a:cxn ang="0">
                    <a:pos x="836" y="94"/>
                  </a:cxn>
                  <a:cxn ang="0">
                    <a:pos x="842" y="84"/>
                  </a:cxn>
                  <a:cxn ang="0">
                    <a:pos x="846" y="72"/>
                  </a:cxn>
                  <a:cxn ang="0">
                    <a:pos x="846" y="60"/>
                  </a:cxn>
                  <a:cxn ang="0">
                    <a:pos x="846" y="60"/>
                  </a:cxn>
                  <a:cxn ang="0">
                    <a:pos x="846" y="48"/>
                  </a:cxn>
                  <a:cxn ang="0">
                    <a:pos x="842" y="38"/>
                  </a:cxn>
                  <a:cxn ang="0">
                    <a:pos x="836" y="26"/>
                  </a:cxn>
                  <a:cxn ang="0">
                    <a:pos x="830" y="18"/>
                  </a:cxn>
                  <a:cxn ang="0">
                    <a:pos x="820" y="10"/>
                  </a:cxn>
                  <a:cxn ang="0">
                    <a:pos x="810" y="6"/>
                  </a:cxn>
                  <a:cxn ang="0">
                    <a:pos x="800" y="2"/>
                  </a:cxn>
                  <a:cxn ang="0">
                    <a:pos x="788" y="0"/>
                  </a:cxn>
                  <a:cxn ang="0">
                    <a:pos x="60" y="0"/>
                  </a:cxn>
                  <a:cxn ang="0">
                    <a:pos x="60" y="0"/>
                  </a:cxn>
                  <a:cxn ang="0">
                    <a:pos x="48" y="2"/>
                  </a:cxn>
                  <a:cxn ang="0">
                    <a:pos x="36" y="6"/>
                  </a:cxn>
                  <a:cxn ang="0">
                    <a:pos x="26" y="10"/>
                  </a:cxn>
                  <a:cxn ang="0">
                    <a:pos x="18" y="18"/>
                  </a:cxn>
                  <a:cxn ang="0">
                    <a:pos x="10" y="26"/>
                  </a:cxn>
                  <a:cxn ang="0">
                    <a:pos x="6" y="38"/>
                  </a:cxn>
                  <a:cxn ang="0">
                    <a:pos x="2" y="48"/>
                  </a:cxn>
                  <a:cxn ang="0">
                    <a:pos x="0" y="60"/>
                  </a:cxn>
                  <a:cxn ang="0">
                    <a:pos x="0" y="60"/>
                  </a:cxn>
                </a:cxnLst>
                <a:rect l="0" t="0" r="r" b="b"/>
                <a:pathLst>
                  <a:path w="846" h="120">
                    <a:moveTo>
                      <a:pt x="0" y="60"/>
                    </a:moveTo>
                    <a:lnTo>
                      <a:pt x="0" y="60"/>
                    </a:lnTo>
                    <a:lnTo>
                      <a:pt x="2" y="72"/>
                    </a:lnTo>
                    <a:lnTo>
                      <a:pt x="6" y="84"/>
                    </a:lnTo>
                    <a:lnTo>
                      <a:pt x="10" y="94"/>
                    </a:lnTo>
                    <a:lnTo>
                      <a:pt x="18" y="102"/>
                    </a:lnTo>
                    <a:lnTo>
                      <a:pt x="26" y="110"/>
                    </a:lnTo>
                    <a:lnTo>
                      <a:pt x="36" y="116"/>
                    </a:lnTo>
                    <a:lnTo>
                      <a:pt x="48" y="118"/>
                    </a:lnTo>
                    <a:lnTo>
                      <a:pt x="60" y="120"/>
                    </a:lnTo>
                    <a:lnTo>
                      <a:pt x="788" y="120"/>
                    </a:lnTo>
                    <a:lnTo>
                      <a:pt x="788" y="120"/>
                    </a:lnTo>
                    <a:lnTo>
                      <a:pt x="800" y="118"/>
                    </a:lnTo>
                    <a:lnTo>
                      <a:pt x="810" y="116"/>
                    </a:lnTo>
                    <a:lnTo>
                      <a:pt x="820" y="110"/>
                    </a:lnTo>
                    <a:lnTo>
                      <a:pt x="830" y="102"/>
                    </a:lnTo>
                    <a:lnTo>
                      <a:pt x="836" y="94"/>
                    </a:lnTo>
                    <a:lnTo>
                      <a:pt x="842" y="84"/>
                    </a:lnTo>
                    <a:lnTo>
                      <a:pt x="846" y="72"/>
                    </a:lnTo>
                    <a:lnTo>
                      <a:pt x="846" y="60"/>
                    </a:lnTo>
                    <a:lnTo>
                      <a:pt x="846" y="60"/>
                    </a:lnTo>
                    <a:lnTo>
                      <a:pt x="846" y="48"/>
                    </a:lnTo>
                    <a:lnTo>
                      <a:pt x="842" y="38"/>
                    </a:lnTo>
                    <a:lnTo>
                      <a:pt x="836" y="26"/>
                    </a:lnTo>
                    <a:lnTo>
                      <a:pt x="830" y="18"/>
                    </a:lnTo>
                    <a:lnTo>
                      <a:pt x="820" y="10"/>
                    </a:lnTo>
                    <a:lnTo>
                      <a:pt x="810" y="6"/>
                    </a:lnTo>
                    <a:lnTo>
                      <a:pt x="800" y="2"/>
                    </a:lnTo>
                    <a:lnTo>
                      <a:pt x="788" y="0"/>
                    </a:lnTo>
                    <a:lnTo>
                      <a:pt x="60" y="0"/>
                    </a:lnTo>
                    <a:lnTo>
                      <a:pt x="60" y="0"/>
                    </a:lnTo>
                    <a:lnTo>
                      <a:pt x="48" y="2"/>
                    </a:lnTo>
                    <a:lnTo>
                      <a:pt x="36" y="6"/>
                    </a:lnTo>
                    <a:lnTo>
                      <a:pt x="26" y="10"/>
                    </a:lnTo>
                    <a:lnTo>
                      <a:pt x="18" y="18"/>
                    </a:lnTo>
                    <a:lnTo>
                      <a:pt x="10" y="26"/>
                    </a:lnTo>
                    <a:lnTo>
                      <a:pt x="6" y="38"/>
                    </a:lnTo>
                    <a:lnTo>
                      <a:pt x="2" y="48"/>
                    </a:lnTo>
                    <a:lnTo>
                      <a:pt x="0" y="60"/>
                    </a:lnTo>
                    <a:lnTo>
                      <a:pt x="0" y="6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70" name="Freeform 83">
                <a:extLst>
                  <a:ext uri="{FF2B5EF4-FFF2-40B4-BE49-F238E27FC236}">
                    <a16:creationId xmlns:a16="http://schemas.microsoft.com/office/drawing/2014/main" id="{11E2BF40-3473-4F97-BDFF-D41BBA06A93C}"/>
                  </a:ext>
                </a:extLst>
              </p:cNvPr>
              <p:cNvSpPr>
                <a:spLocks/>
              </p:cNvSpPr>
              <p:nvPr/>
            </p:nvSpPr>
            <p:spPr bwMode="auto">
              <a:xfrm>
                <a:off x="6357938" y="-1179513"/>
                <a:ext cx="815975" cy="190500"/>
              </a:xfrm>
              <a:custGeom>
                <a:avLst/>
                <a:gdLst/>
                <a:ahLst/>
                <a:cxnLst>
                  <a:cxn ang="0">
                    <a:pos x="454" y="120"/>
                  </a:cxn>
                  <a:cxn ang="0">
                    <a:pos x="454" y="120"/>
                  </a:cxn>
                  <a:cxn ang="0">
                    <a:pos x="466" y="118"/>
                  </a:cxn>
                  <a:cxn ang="0">
                    <a:pos x="478" y="114"/>
                  </a:cxn>
                  <a:cxn ang="0">
                    <a:pos x="488" y="110"/>
                  </a:cxn>
                  <a:cxn ang="0">
                    <a:pos x="496" y="102"/>
                  </a:cxn>
                  <a:cxn ang="0">
                    <a:pos x="504" y="94"/>
                  </a:cxn>
                  <a:cxn ang="0">
                    <a:pos x="510" y="84"/>
                  </a:cxn>
                  <a:cxn ang="0">
                    <a:pos x="514" y="72"/>
                  </a:cxn>
                  <a:cxn ang="0">
                    <a:pos x="514" y="60"/>
                  </a:cxn>
                  <a:cxn ang="0">
                    <a:pos x="514" y="60"/>
                  </a:cxn>
                  <a:cxn ang="0">
                    <a:pos x="514" y="48"/>
                  </a:cxn>
                  <a:cxn ang="0">
                    <a:pos x="510" y="36"/>
                  </a:cxn>
                  <a:cxn ang="0">
                    <a:pos x="504" y="26"/>
                  </a:cxn>
                  <a:cxn ang="0">
                    <a:pos x="496" y="18"/>
                  </a:cxn>
                  <a:cxn ang="0">
                    <a:pos x="488" y="10"/>
                  </a:cxn>
                  <a:cxn ang="0">
                    <a:pos x="478" y="4"/>
                  </a:cxn>
                  <a:cxn ang="0">
                    <a:pos x="466" y="2"/>
                  </a:cxn>
                  <a:cxn ang="0">
                    <a:pos x="454" y="0"/>
                  </a:cxn>
                  <a:cxn ang="0">
                    <a:pos x="60" y="0"/>
                  </a:cxn>
                  <a:cxn ang="0">
                    <a:pos x="60" y="0"/>
                  </a:cxn>
                  <a:cxn ang="0">
                    <a:pos x="48" y="2"/>
                  </a:cxn>
                  <a:cxn ang="0">
                    <a:pos x="38" y="4"/>
                  </a:cxn>
                  <a:cxn ang="0">
                    <a:pos x="26" y="10"/>
                  </a:cxn>
                  <a:cxn ang="0">
                    <a:pos x="18" y="18"/>
                  </a:cxn>
                  <a:cxn ang="0">
                    <a:pos x="10" y="26"/>
                  </a:cxn>
                  <a:cxn ang="0">
                    <a:pos x="6" y="36"/>
                  </a:cxn>
                  <a:cxn ang="0">
                    <a:pos x="2" y="48"/>
                  </a:cxn>
                  <a:cxn ang="0">
                    <a:pos x="0" y="60"/>
                  </a:cxn>
                  <a:cxn ang="0">
                    <a:pos x="0" y="60"/>
                  </a:cxn>
                  <a:cxn ang="0">
                    <a:pos x="2" y="72"/>
                  </a:cxn>
                  <a:cxn ang="0">
                    <a:pos x="6" y="84"/>
                  </a:cxn>
                  <a:cxn ang="0">
                    <a:pos x="10" y="94"/>
                  </a:cxn>
                  <a:cxn ang="0">
                    <a:pos x="18" y="102"/>
                  </a:cxn>
                  <a:cxn ang="0">
                    <a:pos x="26" y="110"/>
                  </a:cxn>
                  <a:cxn ang="0">
                    <a:pos x="38" y="114"/>
                  </a:cxn>
                  <a:cxn ang="0">
                    <a:pos x="48" y="118"/>
                  </a:cxn>
                  <a:cxn ang="0">
                    <a:pos x="60" y="120"/>
                  </a:cxn>
                  <a:cxn ang="0">
                    <a:pos x="454" y="120"/>
                  </a:cxn>
                </a:cxnLst>
                <a:rect l="0" t="0" r="r" b="b"/>
                <a:pathLst>
                  <a:path w="514" h="120">
                    <a:moveTo>
                      <a:pt x="454" y="120"/>
                    </a:moveTo>
                    <a:lnTo>
                      <a:pt x="454" y="120"/>
                    </a:lnTo>
                    <a:lnTo>
                      <a:pt x="466" y="118"/>
                    </a:lnTo>
                    <a:lnTo>
                      <a:pt x="478" y="114"/>
                    </a:lnTo>
                    <a:lnTo>
                      <a:pt x="488" y="110"/>
                    </a:lnTo>
                    <a:lnTo>
                      <a:pt x="496" y="102"/>
                    </a:lnTo>
                    <a:lnTo>
                      <a:pt x="504" y="94"/>
                    </a:lnTo>
                    <a:lnTo>
                      <a:pt x="510" y="84"/>
                    </a:lnTo>
                    <a:lnTo>
                      <a:pt x="514" y="72"/>
                    </a:lnTo>
                    <a:lnTo>
                      <a:pt x="514" y="60"/>
                    </a:lnTo>
                    <a:lnTo>
                      <a:pt x="514" y="60"/>
                    </a:lnTo>
                    <a:lnTo>
                      <a:pt x="514" y="48"/>
                    </a:lnTo>
                    <a:lnTo>
                      <a:pt x="510" y="36"/>
                    </a:lnTo>
                    <a:lnTo>
                      <a:pt x="504" y="26"/>
                    </a:lnTo>
                    <a:lnTo>
                      <a:pt x="496" y="18"/>
                    </a:lnTo>
                    <a:lnTo>
                      <a:pt x="488" y="10"/>
                    </a:lnTo>
                    <a:lnTo>
                      <a:pt x="478" y="4"/>
                    </a:lnTo>
                    <a:lnTo>
                      <a:pt x="466" y="2"/>
                    </a:lnTo>
                    <a:lnTo>
                      <a:pt x="454" y="0"/>
                    </a:lnTo>
                    <a:lnTo>
                      <a:pt x="60" y="0"/>
                    </a:lnTo>
                    <a:lnTo>
                      <a:pt x="60" y="0"/>
                    </a:lnTo>
                    <a:lnTo>
                      <a:pt x="48" y="2"/>
                    </a:lnTo>
                    <a:lnTo>
                      <a:pt x="38" y="4"/>
                    </a:lnTo>
                    <a:lnTo>
                      <a:pt x="26" y="10"/>
                    </a:lnTo>
                    <a:lnTo>
                      <a:pt x="18" y="18"/>
                    </a:lnTo>
                    <a:lnTo>
                      <a:pt x="10" y="26"/>
                    </a:lnTo>
                    <a:lnTo>
                      <a:pt x="6" y="36"/>
                    </a:lnTo>
                    <a:lnTo>
                      <a:pt x="2" y="48"/>
                    </a:lnTo>
                    <a:lnTo>
                      <a:pt x="0" y="60"/>
                    </a:lnTo>
                    <a:lnTo>
                      <a:pt x="0" y="60"/>
                    </a:lnTo>
                    <a:lnTo>
                      <a:pt x="2" y="72"/>
                    </a:lnTo>
                    <a:lnTo>
                      <a:pt x="6" y="84"/>
                    </a:lnTo>
                    <a:lnTo>
                      <a:pt x="10" y="94"/>
                    </a:lnTo>
                    <a:lnTo>
                      <a:pt x="18" y="102"/>
                    </a:lnTo>
                    <a:lnTo>
                      <a:pt x="26" y="110"/>
                    </a:lnTo>
                    <a:lnTo>
                      <a:pt x="38" y="114"/>
                    </a:lnTo>
                    <a:lnTo>
                      <a:pt x="48" y="118"/>
                    </a:lnTo>
                    <a:lnTo>
                      <a:pt x="60" y="120"/>
                    </a:lnTo>
                    <a:lnTo>
                      <a:pt x="454" y="12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grpSp>
          <p:nvGrpSpPr>
            <p:cNvPr id="71" name="组合 70">
              <a:extLst>
                <a:ext uri="{FF2B5EF4-FFF2-40B4-BE49-F238E27FC236}">
                  <a16:creationId xmlns:a16="http://schemas.microsoft.com/office/drawing/2014/main" id="{94758C0F-55DD-2E5D-D3F8-603F654B42AE}"/>
                </a:ext>
              </a:extLst>
            </p:cNvPr>
            <p:cNvGrpSpPr/>
            <p:nvPr/>
          </p:nvGrpSpPr>
          <p:grpSpPr>
            <a:xfrm>
              <a:off x="10097693" y="2529632"/>
              <a:ext cx="576000" cy="581267"/>
              <a:chOff x="10107696" y="2425547"/>
              <a:chExt cx="576000" cy="576000"/>
            </a:xfrm>
          </p:grpSpPr>
          <p:sp>
            <p:nvSpPr>
              <p:cNvPr id="72" name="Freeform 113">
                <a:extLst>
                  <a:ext uri="{FF2B5EF4-FFF2-40B4-BE49-F238E27FC236}">
                    <a16:creationId xmlns:a16="http://schemas.microsoft.com/office/drawing/2014/main" id="{EB889755-805C-1FB1-7FE6-C122944614A7}"/>
                  </a:ext>
                </a:extLst>
              </p:cNvPr>
              <p:cNvSpPr>
                <a:spLocks/>
              </p:cNvSpPr>
              <p:nvPr/>
            </p:nvSpPr>
            <p:spPr bwMode="auto">
              <a:xfrm>
                <a:off x="10107696" y="2425547"/>
                <a:ext cx="576000" cy="576000"/>
              </a:xfrm>
              <a:custGeom>
                <a:avLst/>
                <a:gdLst/>
                <a:ahLst/>
                <a:cxnLst>
                  <a:cxn ang="0">
                    <a:pos x="4778" y="2578"/>
                  </a:cxn>
                  <a:cxn ang="0">
                    <a:pos x="4736" y="2876"/>
                  </a:cxn>
                  <a:cxn ang="0">
                    <a:pos x="4660" y="3160"/>
                  </a:cxn>
                  <a:cxn ang="0">
                    <a:pos x="4550" y="3430"/>
                  </a:cxn>
                  <a:cxn ang="0">
                    <a:pos x="4408" y="3684"/>
                  </a:cxn>
                  <a:cxn ang="0">
                    <a:pos x="4238" y="3916"/>
                  </a:cxn>
                  <a:cxn ang="0">
                    <a:pos x="4044" y="4126"/>
                  </a:cxn>
                  <a:cxn ang="0">
                    <a:pos x="3824" y="4310"/>
                  </a:cxn>
                  <a:cxn ang="0">
                    <a:pos x="3584" y="4470"/>
                  </a:cxn>
                  <a:cxn ang="0">
                    <a:pos x="3324" y="4598"/>
                  </a:cxn>
                  <a:cxn ang="0">
                    <a:pos x="3048" y="4696"/>
                  </a:cxn>
                  <a:cxn ang="0">
                    <a:pos x="2756" y="4758"/>
                  </a:cxn>
                  <a:cxn ang="0">
                    <a:pos x="2454" y="4786"/>
                  </a:cxn>
                  <a:cxn ang="0">
                    <a:pos x="2208" y="4780"/>
                  </a:cxn>
                  <a:cxn ang="0">
                    <a:pos x="1910" y="4738"/>
                  </a:cxn>
                  <a:cxn ang="0">
                    <a:pos x="1626" y="4660"/>
                  </a:cxn>
                  <a:cxn ang="0">
                    <a:pos x="1356" y="4550"/>
                  </a:cxn>
                  <a:cxn ang="0">
                    <a:pos x="1102" y="4410"/>
                  </a:cxn>
                  <a:cxn ang="0">
                    <a:pos x="870" y="4240"/>
                  </a:cxn>
                  <a:cxn ang="0">
                    <a:pos x="660" y="4044"/>
                  </a:cxn>
                  <a:cxn ang="0">
                    <a:pos x="476" y="3826"/>
                  </a:cxn>
                  <a:cxn ang="0">
                    <a:pos x="316" y="3584"/>
                  </a:cxn>
                  <a:cxn ang="0">
                    <a:pos x="188" y="3324"/>
                  </a:cxn>
                  <a:cxn ang="0">
                    <a:pos x="90" y="3048"/>
                  </a:cxn>
                  <a:cxn ang="0">
                    <a:pos x="28" y="2758"/>
                  </a:cxn>
                  <a:cxn ang="0">
                    <a:pos x="0" y="2456"/>
                  </a:cxn>
                  <a:cxn ang="0">
                    <a:pos x="6" y="2210"/>
                  </a:cxn>
                  <a:cxn ang="0">
                    <a:pos x="48" y="1912"/>
                  </a:cxn>
                  <a:cxn ang="0">
                    <a:pos x="126" y="1626"/>
                  </a:cxn>
                  <a:cxn ang="0">
                    <a:pos x="236" y="1356"/>
                  </a:cxn>
                  <a:cxn ang="0">
                    <a:pos x="376" y="1104"/>
                  </a:cxn>
                  <a:cxn ang="0">
                    <a:pos x="546" y="872"/>
                  </a:cxn>
                  <a:cxn ang="0">
                    <a:pos x="742" y="662"/>
                  </a:cxn>
                  <a:cxn ang="0">
                    <a:pos x="960" y="476"/>
                  </a:cxn>
                  <a:cxn ang="0">
                    <a:pos x="1202" y="318"/>
                  </a:cxn>
                  <a:cxn ang="0">
                    <a:pos x="1462" y="188"/>
                  </a:cxn>
                  <a:cxn ang="0">
                    <a:pos x="1738" y="92"/>
                  </a:cxn>
                  <a:cxn ang="0">
                    <a:pos x="2028" y="28"/>
                  </a:cxn>
                  <a:cxn ang="0">
                    <a:pos x="2330" y="2"/>
                  </a:cxn>
                  <a:cxn ang="0">
                    <a:pos x="2576" y="8"/>
                  </a:cxn>
                  <a:cxn ang="0">
                    <a:pos x="2874" y="50"/>
                  </a:cxn>
                  <a:cxn ang="0">
                    <a:pos x="3160" y="126"/>
                  </a:cxn>
                  <a:cxn ang="0">
                    <a:pos x="3430" y="236"/>
                  </a:cxn>
                  <a:cxn ang="0">
                    <a:pos x="3682" y="378"/>
                  </a:cxn>
                  <a:cxn ang="0">
                    <a:pos x="3914" y="548"/>
                  </a:cxn>
                  <a:cxn ang="0">
                    <a:pos x="4124" y="742"/>
                  </a:cxn>
                  <a:cxn ang="0">
                    <a:pos x="4310" y="962"/>
                  </a:cxn>
                  <a:cxn ang="0">
                    <a:pos x="4468" y="1202"/>
                  </a:cxn>
                  <a:cxn ang="0">
                    <a:pos x="4598" y="1462"/>
                  </a:cxn>
                  <a:cxn ang="0">
                    <a:pos x="4694" y="1738"/>
                  </a:cxn>
                  <a:cxn ang="0">
                    <a:pos x="4758" y="2030"/>
                  </a:cxn>
                  <a:cxn ang="0">
                    <a:pos x="4784" y="2332"/>
                  </a:cxn>
                </a:cxnLst>
                <a:rect l="0" t="0" r="r" b="b"/>
                <a:pathLst>
                  <a:path w="4786" h="4786">
                    <a:moveTo>
                      <a:pt x="4786" y="2394"/>
                    </a:moveTo>
                    <a:lnTo>
                      <a:pt x="4786" y="2394"/>
                    </a:lnTo>
                    <a:lnTo>
                      <a:pt x="4784" y="2456"/>
                    </a:lnTo>
                    <a:lnTo>
                      <a:pt x="4782" y="2516"/>
                    </a:lnTo>
                    <a:lnTo>
                      <a:pt x="4778" y="2578"/>
                    </a:lnTo>
                    <a:lnTo>
                      <a:pt x="4774" y="2638"/>
                    </a:lnTo>
                    <a:lnTo>
                      <a:pt x="4766" y="2698"/>
                    </a:lnTo>
                    <a:lnTo>
                      <a:pt x="4758" y="2758"/>
                    </a:lnTo>
                    <a:lnTo>
                      <a:pt x="4748" y="2818"/>
                    </a:lnTo>
                    <a:lnTo>
                      <a:pt x="4736" y="2876"/>
                    </a:lnTo>
                    <a:lnTo>
                      <a:pt x="4724" y="2934"/>
                    </a:lnTo>
                    <a:lnTo>
                      <a:pt x="4710" y="2992"/>
                    </a:lnTo>
                    <a:lnTo>
                      <a:pt x="4694" y="3048"/>
                    </a:lnTo>
                    <a:lnTo>
                      <a:pt x="4678" y="3106"/>
                    </a:lnTo>
                    <a:lnTo>
                      <a:pt x="4660" y="3160"/>
                    </a:lnTo>
                    <a:lnTo>
                      <a:pt x="4640" y="3216"/>
                    </a:lnTo>
                    <a:lnTo>
                      <a:pt x="4620" y="3270"/>
                    </a:lnTo>
                    <a:lnTo>
                      <a:pt x="4598" y="3324"/>
                    </a:lnTo>
                    <a:lnTo>
                      <a:pt x="4574" y="3378"/>
                    </a:lnTo>
                    <a:lnTo>
                      <a:pt x="4550" y="3430"/>
                    </a:lnTo>
                    <a:lnTo>
                      <a:pt x="4524" y="3482"/>
                    </a:lnTo>
                    <a:lnTo>
                      <a:pt x="4496" y="3534"/>
                    </a:lnTo>
                    <a:lnTo>
                      <a:pt x="4468" y="3584"/>
                    </a:lnTo>
                    <a:lnTo>
                      <a:pt x="4438" y="3634"/>
                    </a:lnTo>
                    <a:lnTo>
                      <a:pt x="4408" y="3684"/>
                    </a:lnTo>
                    <a:lnTo>
                      <a:pt x="4376" y="3732"/>
                    </a:lnTo>
                    <a:lnTo>
                      <a:pt x="4344" y="3778"/>
                    </a:lnTo>
                    <a:lnTo>
                      <a:pt x="4310" y="3826"/>
                    </a:lnTo>
                    <a:lnTo>
                      <a:pt x="4276" y="3870"/>
                    </a:lnTo>
                    <a:lnTo>
                      <a:pt x="4238" y="3916"/>
                    </a:lnTo>
                    <a:lnTo>
                      <a:pt x="4202" y="3960"/>
                    </a:lnTo>
                    <a:lnTo>
                      <a:pt x="4164" y="4002"/>
                    </a:lnTo>
                    <a:lnTo>
                      <a:pt x="4124" y="4044"/>
                    </a:lnTo>
                    <a:lnTo>
                      <a:pt x="4084" y="4086"/>
                    </a:lnTo>
                    <a:lnTo>
                      <a:pt x="4044" y="4126"/>
                    </a:lnTo>
                    <a:lnTo>
                      <a:pt x="4002" y="4164"/>
                    </a:lnTo>
                    <a:lnTo>
                      <a:pt x="3958" y="4202"/>
                    </a:lnTo>
                    <a:lnTo>
                      <a:pt x="3914" y="4240"/>
                    </a:lnTo>
                    <a:lnTo>
                      <a:pt x="3870" y="4276"/>
                    </a:lnTo>
                    <a:lnTo>
                      <a:pt x="3824" y="4310"/>
                    </a:lnTo>
                    <a:lnTo>
                      <a:pt x="3778" y="4344"/>
                    </a:lnTo>
                    <a:lnTo>
                      <a:pt x="3730" y="4378"/>
                    </a:lnTo>
                    <a:lnTo>
                      <a:pt x="3682" y="4410"/>
                    </a:lnTo>
                    <a:lnTo>
                      <a:pt x="3634" y="4440"/>
                    </a:lnTo>
                    <a:lnTo>
                      <a:pt x="3584" y="4470"/>
                    </a:lnTo>
                    <a:lnTo>
                      <a:pt x="3534" y="4498"/>
                    </a:lnTo>
                    <a:lnTo>
                      <a:pt x="3482" y="4524"/>
                    </a:lnTo>
                    <a:lnTo>
                      <a:pt x="3430" y="4550"/>
                    </a:lnTo>
                    <a:lnTo>
                      <a:pt x="3378" y="4574"/>
                    </a:lnTo>
                    <a:lnTo>
                      <a:pt x="3324" y="4598"/>
                    </a:lnTo>
                    <a:lnTo>
                      <a:pt x="3270" y="4620"/>
                    </a:lnTo>
                    <a:lnTo>
                      <a:pt x="3216" y="4642"/>
                    </a:lnTo>
                    <a:lnTo>
                      <a:pt x="3160" y="4660"/>
                    </a:lnTo>
                    <a:lnTo>
                      <a:pt x="3104" y="4678"/>
                    </a:lnTo>
                    <a:lnTo>
                      <a:pt x="3048" y="4696"/>
                    </a:lnTo>
                    <a:lnTo>
                      <a:pt x="2990" y="4712"/>
                    </a:lnTo>
                    <a:lnTo>
                      <a:pt x="2932" y="4726"/>
                    </a:lnTo>
                    <a:lnTo>
                      <a:pt x="2874" y="4738"/>
                    </a:lnTo>
                    <a:lnTo>
                      <a:pt x="2816" y="4748"/>
                    </a:lnTo>
                    <a:lnTo>
                      <a:pt x="2756" y="4758"/>
                    </a:lnTo>
                    <a:lnTo>
                      <a:pt x="2698" y="4768"/>
                    </a:lnTo>
                    <a:lnTo>
                      <a:pt x="2638" y="4774"/>
                    </a:lnTo>
                    <a:lnTo>
                      <a:pt x="2576" y="4780"/>
                    </a:lnTo>
                    <a:lnTo>
                      <a:pt x="2516" y="4784"/>
                    </a:lnTo>
                    <a:lnTo>
                      <a:pt x="2454" y="4786"/>
                    </a:lnTo>
                    <a:lnTo>
                      <a:pt x="2392" y="4786"/>
                    </a:lnTo>
                    <a:lnTo>
                      <a:pt x="2392" y="4786"/>
                    </a:lnTo>
                    <a:lnTo>
                      <a:pt x="2330" y="4786"/>
                    </a:lnTo>
                    <a:lnTo>
                      <a:pt x="2270" y="4784"/>
                    </a:lnTo>
                    <a:lnTo>
                      <a:pt x="2208" y="4780"/>
                    </a:lnTo>
                    <a:lnTo>
                      <a:pt x="2148" y="4774"/>
                    </a:lnTo>
                    <a:lnTo>
                      <a:pt x="2088" y="4768"/>
                    </a:lnTo>
                    <a:lnTo>
                      <a:pt x="2028" y="4758"/>
                    </a:lnTo>
                    <a:lnTo>
                      <a:pt x="1968" y="4748"/>
                    </a:lnTo>
                    <a:lnTo>
                      <a:pt x="1910" y="4738"/>
                    </a:lnTo>
                    <a:lnTo>
                      <a:pt x="1852" y="4726"/>
                    </a:lnTo>
                    <a:lnTo>
                      <a:pt x="1794" y="4712"/>
                    </a:lnTo>
                    <a:lnTo>
                      <a:pt x="1738" y="4696"/>
                    </a:lnTo>
                    <a:lnTo>
                      <a:pt x="1682" y="4678"/>
                    </a:lnTo>
                    <a:lnTo>
                      <a:pt x="1626" y="4660"/>
                    </a:lnTo>
                    <a:lnTo>
                      <a:pt x="1570" y="4642"/>
                    </a:lnTo>
                    <a:lnTo>
                      <a:pt x="1516" y="4620"/>
                    </a:lnTo>
                    <a:lnTo>
                      <a:pt x="1462" y="4598"/>
                    </a:lnTo>
                    <a:lnTo>
                      <a:pt x="1408" y="4574"/>
                    </a:lnTo>
                    <a:lnTo>
                      <a:pt x="1356" y="4550"/>
                    </a:lnTo>
                    <a:lnTo>
                      <a:pt x="1304" y="4524"/>
                    </a:lnTo>
                    <a:lnTo>
                      <a:pt x="1252" y="4498"/>
                    </a:lnTo>
                    <a:lnTo>
                      <a:pt x="1202" y="4470"/>
                    </a:lnTo>
                    <a:lnTo>
                      <a:pt x="1152" y="4440"/>
                    </a:lnTo>
                    <a:lnTo>
                      <a:pt x="1102" y="4410"/>
                    </a:lnTo>
                    <a:lnTo>
                      <a:pt x="1054" y="4378"/>
                    </a:lnTo>
                    <a:lnTo>
                      <a:pt x="1008" y="4344"/>
                    </a:lnTo>
                    <a:lnTo>
                      <a:pt x="960" y="4310"/>
                    </a:lnTo>
                    <a:lnTo>
                      <a:pt x="916" y="4276"/>
                    </a:lnTo>
                    <a:lnTo>
                      <a:pt x="870" y="4240"/>
                    </a:lnTo>
                    <a:lnTo>
                      <a:pt x="826" y="4202"/>
                    </a:lnTo>
                    <a:lnTo>
                      <a:pt x="784" y="4164"/>
                    </a:lnTo>
                    <a:lnTo>
                      <a:pt x="742" y="4126"/>
                    </a:lnTo>
                    <a:lnTo>
                      <a:pt x="700" y="4086"/>
                    </a:lnTo>
                    <a:lnTo>
                      <a:pt x="660" y="4044"/>
                    </a:lnTo>
                    <a:lnTo>
                      <a:pt x="622" y="4002"/>
                    </a:lnTo>
                    <a:lnTo>
                      <a:pt x="584" y="3960"/>
                    </a:lnTo>
                    <a:lnTo>
                      <a:pt x="546" y="3916"/>
                    </a:lnTo>
                    <a:lnTo>
                      <a:pt x="510" y="3870"/>
                    </a:lnTo>
                    <a:lnTo>
                      <a:pt x="476" y="3826"/>
                    </a:lnTo>
                    <a:lnTo>
                      <a:pt x="442" y="3778"/>
                    </a:lnTo>
                    <a:lnTo>
                      <a:pt x="408" y="3732"/>
                    </a:lnTo>
                    <a:lnTo>
                      <a:pt x="376" y="3684"/>
                    </a:lnTo>
                    <a:lnTo>
                      <a:pt x="346" y="3634"/>
                    </a:lnTo>
                    <a:lnTo>
                      <a:pt x="316" y="3584"/>
                    </a:lnTo>
                    <a:lnTo>
                      <a:pt x="288" y="3534"/>
                    </a:lnTo>
                    <a:lnTo>
                      <a:pt x="262" y="3482"/>
                    </a:lnTo>
                    <a:lnTo>
                      <a:pt x="236" y="3430"/>
                    </a:lnTo>
                    <a:lnTo>
                      <a:pt x="212" y="3378"/>
                    </a:lnTo>
                    <a:lnTo>
                      <a:pt x="188" y="3324"/>
                    </a:lnTo>
                    <a:lnTo>
                      <a:pt x="166" y="3270"/>
                    </a:lnTo>
                    <a:lnTo>
                      <a:pt x="144" y="3216"/>
                    </a:lnTo>
                    <a:lnTo>
                      <a:pt x="126" y="3160"/>
                    </a:lnTo>
                    <a:lnTo>
                      <a:pt x="108" y="3106"/>
                    </a:lnTo>
                    <a:lnTo>
                      <a:pt x="90" y="3048"/>
                    </a:lnTo>
                    <a:lnTo>
                      <a:pt x="76" y="2992"/>
                    </a:lnTo>
                    <a:lnTo>
                      <a:pt x="62" y="2934"/>
                    </a:lnTo>
                    <a:lnTo>
                      <a:pt x="48" y="2876"/>
                    </a:lnTo>
                    <a:lnTo>
                      <a:pt x="38" y="2818"/>
                    </a:lnTo>
                    <a:lnTo>
                      <a:pt x="28" y="2758"/>
                    </a:lnTo>
                    <a:lnTo>
                      <a:pt x="18" y="2698"/>
                    </a:lnTo>
                    <a:lnTo>
                      <a:pt x="12" y="2638"/>
                    </a:lnTo>
                    <a:lnTo>
                      <a:pt x="6" y="2578"/>
                    </a:lnTo>
                    <a:lnTo>
                      <a:pt x="2" y="2516"/>
                    </a:lnTo>
                    <a:lnTo>
                      <a:pt x="0" y="2456"/>
                    </a:lnTo>
                    <a:lnTo>
                      <a:pt x="0" y="2394"/>
                    </a:lnTo>
                    <a:lnTo>
                      <a:pt x="0" y="2394"/>
                    </a:lnTo>
                    <a:lnTo>
                      <a:pt x="0" y="2332"/>
                    </a:lnTo>
                    <a:lnTo>
                      <a:pt x="2" y="2270"/>
                    </a:lnTo>
                    <a:lnTo>
                      <a:pt x="6" y="2210"/>
                    </a:lnTo>
                    <a:lnTo>
                      <a:pt x="12" y="2148"/>
                    </a:lnTo>
                    <a:lnTo>
                      <a:pt x="18" y="2088"/>
                    </a:lnTo>
                    <a:lnTo>
                      <a:pt x="28" y="2030"/>
                    </a:lnTo>
                    <a:lnTo>
                      <a:pt x="38" y="1970"/>
                    </a:lnTo>
                    <a:lnTo>
                      <a:pt x="48" y="1912"/>
                    </a:lnTo>
                    <a:lnTo>
                      <a:pt x="62" y="1854"/>
                    </a:lnTo>
                    <a:lnTo>
                      <a:pt x="76" y="1796"/>
                    </a:lnTo>
                    <a:lnTo>
                      <a:pt x="90" y="1738"/>
                    </a:lnTo>
                    <a:lnTo>
                      <a:pt x="108" y="1682"/>
                    </a:lnTo>
                    <a:lnTo>
                      <a:pt x="126" y="1626"/>
                    </a:lnTo>
                    <a:lnTo>
                      <a:pt x="144" y="1570"/>
                    </a:lnTo>
                    <a:lnTo>
                      <a:pt x="166" y="1516"/>
                    </a:lnTo>
                    <a:lnTo>
                      <a:pt x="188" y="1462"/>
                    </a:lnTo>
                    <a:lnTo>
                      <a:pt x="212" y="1408"/>
                    </a:lnTo>
                    <a:lnTo>
                      <a:pt x="236" y="1356"/>
                    </a:lnTo>
                    <a:lnTo>
                      <a:pt x="262" y="1304"/>
                    </a:lnTo>
                    <a:lnTo>
                      <a:pt x="288" y="1252"/>
                    </a:lnTo>
                    <a:lnTo>
                      <a:pt x="316" y="1202"/>
                    </a:lnTo>
                    <a:lnTo>
                      <a:pt x="346" y="1152"/>
                    </a:lnTo>
                    <a:lnTo>
                      <a:pt x="376" y="1104"/>
                    </a:lnTo>
                    <a:lnTo>
                      <a:pt x="408" y="1056"/>
                    </a:lnTo>
                    <a:lnTo>
                      <a:pt x="442" y="1008"/>
                    </a:lnTo>
                    <a:lnTo>
                      <a:pt x="476" y="962"/>
                    </a:lnTo>
                    <a:lnTo>
                      <a:pt x="510" y="916"/>
                    </a:lnTo>
                    <a:lnTo>
                      <a:pt x="546" y="872"/>
                    </a:lnTo>
                    <a:lnTo>
                      <a:pt x="584" y="828"/>
                    </a:lnTo>
                    <a:lnTo>
                      <a:pt x="622" y="784"/>
                    </a:lnTo>
                    <a:lnTo>
                      <a:pt x="660" y="742"/>
                    </a:lnTo>
                    <a:lnTo>
                      <a:pt x="700" y="702"/>
                    </a:lnTo>
                    <a:lnTo>
                      <a:pt x="742" y="662"/>
                    </a:lnTo>
                    <a:lnTo>
                      <a:pt x="784" y="622"/>
                    </a:lnTo>
                    <a:lnTo>
                      <a:pt x="826" y="584"/>
                    </a:lnTo>
                    <a:lnTo>
                      <a:pt x="870" y="548"/>
                    </a:lnTo>
                    <a:lnTo>
                      <a:pt x="916" y="512"/>
                    </a:lnTo>
                    <a:lnTo>
                      <a:pt x="960" y="476"/>
                    </a:lnTo>
                    <a:lnTo>
                      <a:pt x="1008" y="442"/>
                    </a:lnTo>
                    <a:lnTo>
                      <a:pt x="1054" y="410"/>
                    </a:lnTo>
                    <a:lnTo>
                      <a:pt x="1102" y="378"/>
                    </a:lnTo>
                    <a:lnTo>
                      <a:pt x="1152" y="348"/>
                    </a:lnTo>
                    <a:lnTo>
                      <a:pt x="1202" y="318"/>
                    </a:lnTo>
                    <a:lnTo>
                      <a:pt x="1252" y="290"/>
                    </a:lnTo>
                    <a:lnTo>
                      <a:pt x="1304" y="262"/>
                    </a:lnTo>
                    <a:lnTo>
                      <a:pt x="1356" y="236"/>
                    </a:lnTo>
                    <a:lnTo>
                      <a:pt x="1408" y="212"/>
                    </a:lnTo>
                    <a:lnTo>
                      <a:pt x="1462" y="188"/>
                    </a:lnTo>
                    <a:lnTo>
                      <a:pt x="1516" y="166"/>
                    </a:lnTo>
                    <a:lnTo>
                      <a:pt x="1570" y="146"/>
                    </a:lnTo>
                    <a:lnTo>
                      <a:pt x="1626" y="126"/>
                    </a:lnTo>
                    <a:lnTo>
                      <a:pt x="1682" y="108"/>
                    </a:lnTo>
                    <a:lnTo>
                      <a:pt x="1738" y="92"/>
                    </a:lnTo>
                    <a:lnTo>
                      <a:pt x="1794" y="76"/>
                    </a:lnTo>
                    <a:lnTo>
                      <a:pt x="1852" y="62"/>
                    </a:lnTo>
                    <a:lnTo>
                      <a:pt x="1910" y="50"/>
                    </a:lnTo>
                    <a:lnTo>
                      <a:pt x="1968" y="38"/>
                    </a:lnTo>
                    <a:lnTo>
                      <a:pt x="2028" y="28"/>
                    </a:lnTo>
                    <a:lnTo>
                      <a:pt x="2088" y="20"/>
                    </a:lnTo>
                    <a:lnTo>
                      <a:pt x="2148" y="14"/>
                    </a:lnTo>
                    <a:lnTo>
                      <a:pt x="2208" y="8"/>
                    </a:lnTo>
                    <a:lnTo>
                      <a:pt x="2270" y="4"/>
                    </a:lnTo>
                    <a:lnTo>
                      <a:pt x="2330" y="2"/>
                    </a:lnTo>
                    <a:lnTo>
                      <a:pt x="2392" y="0"/>
                    </a:lnTo>
                    <a:lnTo>
                      <a:pt x="2392" y="0"/>
                    </a:lnTo>
                    <a:lnTo>
                      <a:pt x="2454" y="2"/>
                    </a:lnTo>
                    <a:lnTo>
                      <a:pt x="2516" y="4"/>
                    </a:lnTo>
                    <a:lnTo>
                      <a:pt x="2576" y="8"/>
                    </a:lnTo>
                    <a:lnTo>
                      <a:pt x="2638" y="14"/>
                    </a:lnTo>
                    <a:lnTo>
                      <a:pt x="2698" y="20"/>
                    </a:lnTo>
                    <a:lnTo>
                      <a:pt x="2756" y="28"/>
                    </a:lnTo>
                    <a:lnTo>
                      <a:pt x="2816" y="38"/>
                    </a:lnTo>
                    <a:lnTo>
                      <a:pt x="2874" y="50"/>
                    </a:lnTo>
                    <a:lnTo>
                      <a:pt x="2932" y="62"/>
                    </a:lnTo>
                    <a:lnTo>
                      <a:pt x="2990" y="76"/>
                    </a:lnTo>
                    <a:lnTo>
                      <a:pt x="3048" y="92"/>
                    </a:lnTo>
                    <a:lnTo>
                      <a:pt x="3104" y="108"/>
                    </a:lnTo>
                    <a:lnTo>
                      <a:pt x="3160" y="126"/>
                    </a:lnTo>
                    <a:lnTo>
                      <a:pt x="3216" y="146"/>
                    </a:lnTo>
                    <a:lnTo>
                      <a:pt x="3270" y="166"/>
                    </a:lnTo>
                    <a:lnTo>
                      <a:pt x="3324" y="188"/>
                    </a:lnTo>
                    <a:lnTo>
                      <a:pt x="3378" y="212"/>
                    </a:lnTo>
                    <a:lnTo>
                      <a:pt x="3430" y="236"/>
                    </a:lnTo>
                    <a:lnTo>
                      <a:pt x="3482" y="262"/>
                    </a:lnTo>
                    <a:lnTo>
                      <a:pt x="3534" y="290"/>
                    </a:lnTo>
                    <a:lnTo>
                      <a:pt x="3584" y="318"/>
                    </a:lnTo>
                    <a:lnTo>
                      <a:pt x="3634" y="348"/>
                    </a:lnTo>
                    <a:lnTo>
                      <a:pt x="3682" y="378"/>
                    </a:lnTo>
                    <a:lnTo>
                      <a:pt x="3730" y="410"/>
                    </a:lnTo>
                    <a:lnTo>
                      <a:pt x="3778" y="442"/>
                    </a:lnTo>
                    <a:lnTo>
                      <a:pt x="3824" y="476"/>
                    </a:lnTo>
                    <a:lnTo>
                      <a:pt x="3870" y="512"/>
                    </a:lnTo>
                    <a:lnTo>
                      <a:pt x="3914" y="548"/>
                    </a:lnTo>
                    <a:lnTo>
                      <a:pt x="3958" y="584"/>
                    </a:lnTo>
                    <a:lnTo>
                      <a:pt x="4002" y="622"/>
                    </a:lnTo>
                    <a:lnTo>
                      <a:pt x="4044" y="662"/>
                    </a:lnTo>
                    <a:lnTo>
                      <a:pt x="4084" y="702"/>
                    </a:lnTo>
                    <a:lnTo>
                      <a:pt x="4124" y="742"/>
                    </a:lnTo>
                    <a:lnTo>
                      <a:pt x="4164" y="784"/>
                    </a:lnTo>
                    <a:lnTo>
                      <a:pt x="4202" y="828"/>
                    </a:lnTo>
                    <a:lnTo>
                      <a:pt x="4238" y="872"/>
                    </a:lnTo>
                    <a:lnTo>
                      <a:pt x="4276" y="916"/>
                    </a:lnTo>
                    <a:lnTo>
                      <a:pt x="4310" y="962"/>
                    </a:lnTo>
                    <a:lnTo>
                      <a:pt x="4344" y="1008"/>
                    </a:lnTo>
                    <a:lnTo>
                      <a:pt x="4376" y="1056"/>
                    </a:lnTo>
                    <a:lnTo>
                      <a:pt x="4408" y="1104"/>
                    </a:lnTo>
                    <a:lnTo>
                      <a:pt x="4438" y="1152"/>
                    </a:lnTo>
                    <a:lnTo>
                      <a:pt x="4468" y="1202"/>
                    </a:lnTo>
                    <a:lnTo>
                      <a:pt x="4496" y="1252"/>
                    </a:lnTo>
                    <a:lnTo>
                      <a:pt x="4524" y="1304"/>
                    </a:lnTo>
                    <a:lnTo>
                      <a:pt x="4550" y="1356"/>
                    </a:lnTo>
                    <a:lnTo>
                      <a:pt x="4574" y="1408"/>
                    </a:lnTo>
                    <a:lnTo>
                      <a:pt x="4598" y="1462"/>
                    </a:lnTo>
                    <a:lnTo>
                      <a:pt x="4620" y="1516"/>
                    </a:lnTo>
                    <a:lnTo>
                      <a:pt x="4640" y="1570"/>
                    </a:lnTo>
                    <a:lnTo>
                      <a:pt x="4660" y="1626"/>
                    </a:lnTo>
                    <a:lnTo>
                      <a:pt x="4678" y="1682"/>
                    </a:lnTo>
                    <a:lnTo>
                      <a:pt x="4694" y="1738"/>
                    </a:lnTo>
                    <a:lnTo>
                      <a:pt x="4710" y="1796"/>
                    </a:lnTo>
                    <a:lnTo>
                      <a:pt x="4724" y="1854"/>
                    </a:lnTo>
                    <a:lnTo>
                      <a:pt x="4736" y="1912"/>
                    </a:lnTo>
                    <a:lnTo>
                      <a:pt x="4748" y="1970"/>
                    </a:lnTo>
                    <a:lnTo>
                      <a:pt x="4758" y="2030"/>
                    </a:lnTo>
                    <a:lnTo>
                      <a:pt x="4766" y="2088"/>
                    </a:lnTo>
                    <a:lnTo>
                      <a:pt x="4774" y="2148"/>
                    </a:lnTo>
                    <a:lnTo>
                      <a:pt x="4778" y="2210"/>
                    </a:lnTo>
                    <a:lnTo>
                      <a:pt x="4782" y="2270"/>
                    </a:lnTo>
                    <a:lnTo>
                      <a:pt x="4784" y="2332"/>
                    </a:lnTo>
                    <a:lnTo>
                      <a:pt x="4786" y="2394"/>
                    </a:lnTo>
                    <a:lnTo>
                      <a:pt x="4786" y="2394"/>
                    </a:lnTo>
                    <a:close/>
                  </a:path>
                </a:pathLst>
              </a:custGeom>
              <a:solidFill>
                <a:schemeClr val="accent1">
                  <a:lumMod val="75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nvGrpSpPr>
              <p:cNvPr id="73" name="组合 72">
                <a:extLst>
                  <a:ext uri="{FF2B5EF4-FFF2-40B4-BE49-F238E27FC236}">
                    <a16:creationId xmlns:a16="http://schemas.microsoft.com/office/drawing/2014/main" id="{3569B286-301E-E097-C654-685C68BE9992}"/>
                  </a:ext>
                </a:extLst>
              </p:cNvPr>
              <p:cNvGrpSpPr/>
              <p:nvPr/>
            </p:nvGrpSpPr>
            <p:grpSpPr>
              <a:xfrm>
                <a:off x="10199780" y="2565182"/>
                <a:ext cx="391832" cy="348322"/>
                <a:chOff x="-126980" y="2779560"/>
                <a:chExt cx="601662" cy="465137"/>
              </a:xfrm>
              <a:solidFill>
                <a:schemeClr val="bg1"/>
              </a:solidFill>
            </p:grpSpPr>
            <p:sp>
              <p:nvSpPr>
                <p:cNvPr id="74" name="Freeform 17">
                  <a:extLst>
                    <a:ext uri="{FF2B5EF4-FFF2-40B4-BE49-F238E27FC236}">
                      <a16:creationId xmlns:a16="http://schemas.microsoft.com/office/drawing/2014/main" id="{19A43083-2CD0-B6DE-F16C-A838D16CB3C7}"/>
                    </a:ext>
                  </a:extLst>
                </p:cNvPr>
                <p:cNvSpPr>
                  <a:spLocks noEditPoints="1"/>
                </p:cNvSpPr>
                <p:nvPr/>
              </p:nvSpPr>
              <p:spPr bwMode="auto">
                <a:xfrm>
                  <a:off x="19070" y="2793847"/>
                  <a:ext cx="304800" cy="304800"/>
                </a:xfrm>
                <a:custGeom>
                  <a:avLst/>
                  <a:gdLst>
                    <a:gd name="T0" fmla="*/ 41 w 81"/>
                    <a:gd name="T1" fmla="*/ 26 h 81"/>
                    <a:gd name="T2" fmla="*/ 52 w 81"/>
                    <a:gd name="T3" fmla="*/ 15 h 81"/>
                    <a:gd name="T4" fmla="*/ 41 w 81"/>
                    <a:gd name="T5" fmla="*/ 4 h 81"/>
                    <a:gd name="T6" fmla="*/ 29 w 81"/>
                    <a:gd name="T7" fmla="*/ 15 h 81"/>
                    <a:gd name="T8" fmla="*/ 41 w 81"/>
                    <a:gd name="T9" fmla="*/ 26 h 81"/>
                    <a:gd name="T10" fmla="*/ 78 w 81"/>
                    <a:gd name="T11" fmla="*/ 2 h 81"/>
                    <a:gd name="T12" fmla="*/ 69 w 81"/>
                    <a:gd name="T13" fmla="*/ 3 h 81"/>
                    <a:gd name="T14" fmla="*/ 47 w 81"/>
                    <a:gd name="T15" fmla="*/ 30 h 81"/>
                    <a:gd name="T16" fmla="*/ 34 w 81"/>
                    <a:gd name="T17" fmla="*/ 30 h 81"/>
                    <a:gd name="T18" fmla="*/ 13 w 81"/>
                    <a:gd name="T19" fmla="*/ 3 h 81"/>
                    <a:gd name="T20" fmla="*/ 3 w 81"/>
                    <a:gd name="T21" fmla="*/ 2 h 81"/>
                    <a:gd name="T22" fmla="*/ 2 w 81"/>
                    <a:gd name="T23" fmla="*/ 12 h 81"/>
                    <a:gd name="T24" fmla="*/ 26 w 81"/>
                    <a:gd name="T25" fmla="*/ 40 h 81"/>
                    <a:gd name="T26" fmla="*/ 27 w 81"/>
                    <a:gd name="T27" fmla="*/ 41 h 81"/>
                    <a:gd name="T28" fmla="*/ 27 w 81"/>
                    <a:gd name="T29" fmla="*/ 63 h 81"/>
                    <a:gd name="T30" fmla="*/ 40 w 81"/>
                    <a:gd name="T31" fmla="*/ 81 h 81"/>
                    <a:gd name="T32" fmla="*/ 41 w 81"/>
                    <a:gd name="T33" fmla="*/ 81 h 81"/>
                    <a:gd name="T34" fmla="*/ 55 w 81"/>
                    <a:gd name="T35" fmla="*/ 63 h 81"/>
                    <a:gd name="T36" fmla="*/ 55 w 81"/>
                    <a:gd name="T37" fmla="*/ 41 h 81"/>
                    <a:gd name="T38" fmla="*/ 56 w 81"/>
                    <a:gd name="T39" fmla="*/ 40 h 81"/>
                    <a:gd name="T40" fmla="*/ 79 w 81"/>
                    <a:gd name="T41" fmla="*/ 12 h 81"/>
                    <a:gd name="T42" fmla="*/ 78 w 81"/>
                    <a:gd name="T43" fmla="*/ 2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1" h="81">
                      <a:moveTo>
                        <a:pt x="41" y="26"/>
                      </a:moveTo>
                      <a:cubicBezTo>
                        <a:pt x="47" y="26"/>
                        <a:pt x="52" y="21"/>
                        <a:pt x="52" y="15"/>
                      </a:cubicBezTo>
                      <a:cubicBezTo>
                        <a:pt x="52" y="9"/>
                        <a:pt x="47" y="4"/>
                        <a:pt x="41" y="4"/>
                      </a:cubicBezTo>
                      <a:cubicBezTo>
                        <a:pt x="34" y="4"/>
                        <a:pt x="29" y="9"/>
                        <a:pt x="29" y="15"/>
                      </a:cubicBezTo>
                      <a:cubicBezTo>
                        <a:pt x="29" y="21"/>
                        <a:pt x="34" y="26"/>
                        <a:pt x="41" y="26"/>
                      </a:cubicBezTo>
                      <a:close/>
                      <a:moveTo>
                        <a:pt x="78" y="2"/>
                      </a:moveTo>
                      <a:cubicBezTo>
                        <a:pt x="75" y="0"/>
                        <a:pt x="71" y="1"/>
                        <a:pt x="69" y="3"/>
                      </a:cubicBezTo>
                      <a:cubicBezTo>
                        <a:pt x="47" y="30"/>
                        <a:pt x="47" y="30"/>
                        <a:pt x="47" y="30"/>
                      </a:cubicBezTo>
                      <a:cubicBezTo>
                        <a:pt x="34" y="30"/>
                        <a:pt x="34" y="30"/>
                        <a:pt x="34" y="30"/>
                      </a:cubicBezTo>
                      <a:cubicBezTo>
                        <a:pt x="13" y="3"/>
                        <a:pt x="13" y="3"/>
                        <a:pt x="13" y="3"/>
                      </a:cubicBezTo>
                      <a:cubicBezTo>
                        <a:pt x="10" y="1"/>
                        <a:pt x="6" y="0"/>
                        <a:pt x="3" y="2"/>
                      </a:cubicBezTo>
                      <a:cubicBezTo>
                        <a:pt x="1" y="5"/>
                        <a:pt x="0" y="9"/>
                        <a:pt x="2" y="12"/>
                      </a:cubicBezTo>
                      <a:cubicBezTo>
                        <a:pt x="26" y="40"/>
                        <a:pt x="26" y="40"/>
                        <a:pt x="26" y="40"/>
                      </a:cubicBezTo>
                      <a:cubicBezTo>
                        <a:pt x="26" y="41"/>
                        <a:pt x="26" y="41"/>
                        <a:pt x="27" y="41"/>
                      </a:cubicBezTo>
                      <a:cubicBezTo>
                        <a:pt x="27" y="63"/>
                        <a:pt x="27" y="63"/>
                        <a:pt x="27" y="63"/>
                      </a:cubicBezTo>
                      <a:cubicBezTo>
                        <a:pt x="33" y="68"/>
                        <a:pt x="38" y="73"/>
                        <a:pt x="40" y="81"/>
                      </a:cubicBezTo>
                      <a:cubicBezTo>
                        <a:pt x="40" y="81"/>
                        <a:pt x="41" y="81"/>
                        <a:pt x="41" y="81"/>
                      </a:cubicBezTo>
                      <a:cubicBezTo>
                        <a:pt x="43" y="73"/>
                        <a:pt x="49" y="68"/>
                        <a:pt x="55" y="63"/>
                      </a:cubicBezTo>
                      <a:cubicBezTo>
                        <a:pt x="55" y="41"/>
                        <a:pt x="55" y="41"/>
                        <a:pt x="55" y="41"/>
                      </a:cubicBezTo>
                      <a:cubicBezTo>
                        <a:pt x="55" y="41"/>
                        <a:pt x="55" y="41"/>
                        <a:pt x="56" y="40"/>
                      </a:cubicBezTo>
                      <a:cubicBezTo>
                        <a:pt x="79" y="12"/>
                        <a:pt x="79" y="12"/>
                        <a:pt x="79" y="12"/>
                      </a:cubicBezTo>
                      <a:cubicBezTo>
                        <a:pt x="81" y="9"/>
                        <a:pt x="81" y="5"/>
                        <a:pt x="7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5" name="Freeform 18">
                  <a:extLst>
                    <a:ext uri="{FF2B5EF4-FFF2-40B4-BE49-F238E27FC236}">
                      <a16:creationId xmlns:a16="http://schemas.microsoft.com/office/drawing/2014/main" id="{CE589805-06A5-4FF9-CA8E-5A13179FE6A6}"/>
                    </a:ext>
                  </a:extLst>
                </p:cNvPr>
                <p:cNvSpPr>
                  <a:spLocks noEditPoints="1"/>
                </p:cNvSpPr>
                <p:nvPr/>
              </p:nvSpPr>
              <p:spPr bwMode="auto">
                <a:xfrm>
                  <a:off x="-126980" y="2779560"/>
                  <a:ext cx="601662" cy="465137"/>
                </a:xfrm>
                <a:custGeom>
                  <a:avLst/>
                  <a:gdLst>
                    <a:gd name="T0" fmla="*/ 59 w 160"/>
                    <a:gd name="T1" fmla="*/ 68 h 124"/>
                    <a:gd name="T2" fmla="*/ 34 w 160"/>
                    <a:gd name="T3" fmla="*/ 42 h 124"/>
                    <a:gd name="T4" fmla="*/ 25 w 160"/>
                    <a:gd name="T5" fmla="*/ 37 h 124"/>
                    <a:gd name="T6" fmla="*/ 24 w 160"/>
                    <a:gd name="T7" fmla="*/ 26 h 124"/>
                    <a:gd name="T8" fmla="*/ 25 w 160"/>
                    <a:gd name="T9" fmla="*/ 10 h 124"/>
                    <a:gd name="T10" fmla="*/ 15 w 160"/>
                    <a:gd name="T11" fmla="*/ 0 h 124"/>
                    <a:gd name="T12" fmla="*/ 5 w 160"/>
                    <a:gd name="T13" fmla="*/ 8 h 124"/>
                    <a:gd name="T14" fmla="*/ 0 w 160"/>
                    <a:gd name="T15" fmla="*/ 40 h 124"/>
                    <a:gd name="T16" fmla="*/ 0 w 160"/>
                    <a:gd name="T17" fmla="*/ 68 h 124"/>
                    <a:gd name="T18" fmla="*/ 11 w 160"/>
                    <a:gd name="T19" fmla="*/ 87 h 124"/>
                    <a:gd name="T20" fmla="*/ 39 w 160"/>
                    <a:gd name="T21" fmla="*/ 106 h 124"/>
                    <a:gd name="T22" fmla="*/ 40 w 160"/>
                    <a:gd name="T23" fmla="*/ 124 h 124"/>
                    <a:gd name="T24" fmla="*/ 77 w 160"/>
                    <a:gd name="T25" fmla="*/ 118 h 124"/>
                    <a:gd name="T26" fmla="*/ 45 w 160"/>
                    <a:gd name="T27" fmla="*/ 119 h 124"/>
                    <a:gd name="T28" fmla="*/ 14 w 160"/>
                    <a:gd name="T29" fmla="*/ 83 h 124"/>
                    <a:gd name="T30" fmla="*/ 5 w 160"/>
                    <a:gd name="T31" fmla="*/ 40 h 124"/>
                    <a:gd name="T32" fmla="*/ 10 w 160"/>
                    <a:gd name="T33" fmla="*/ 9 h 124"/>
                    <a:gd name="T34" fmla="*/ 15 w 160"/>
                    <a:gd name="T35" fmla="*/ 5 h 124"/>
                    <a:gd name="T36" fmla="*/ 20 w 160"/>
                    <a:gd name="T37" fmla="*/ 10 h 124"/>
                    <a:gd name="T38" fmla="*/ 19 w 160"/>
                    <a:gd name="T39" fmla="*/ 42 h 124"/>
                    <a:gd name="T40" fmla="*/ 24 w 160"/>
                    <a:gd name="T41" fmla="*/ 67 h 124"/>
                    <a:gd name="T42" fmla="*/ 34 w 160"/>
                    <a:gd name="T43" fmla="*/ 76 h 124"/>
                    <a:gd name="T44" fmla="*/ 20 w 160"/>
                    <a:gd name="T45" fmla="*/ 49 h 124"/>
                    <a:gd name="T46" fmla="*/ 24 w 160"/>
                    <a:gd name="T47" fmla="*/ 43 h 124"/>
                    <a:gd name="T48" fmla="*/ 29 w 160"/>
                    <a:gd name="T49" fmla="*/ 45 h 124"/>
                    <a:gd name="T50" fmla="*/ 72 w 160"/>
                    <a:gd name="T51" fmla="*/ 119 h 124"/>
                    <a:gd name="T52" fmla="*/ 158 w 160"/>
                    <a:gd name="T53" fmla="*/ 24 h 124"/>
                    <a:gd name="T54" fmla="*/ 145 w 160"/>
                    <a:gd name="T55" fmla="*/ 0 h 124"/>
                    <a:gd name="T56" fmla="*/ 134 w 160"/>
                    <a:gd name="T57" fmla="*/ 10 h 124"/>
                    <a:gd name="T58" fmla="*/ 134 w 160"/>
                    <a:gd name="T59" fmla="*/ 11 h 124"/>
                    <a:gd name="T60" fmla="*/ 136 w 160"/>
                    <a:gd name="T61" fmla="*/ 38 h 124"/>
                    <a:gd name="T62" fmla="*/ 126 w 160"/>
                    <a:gd name="T63" fmla="*/ 41 h 124"/>
                    <a:gd name="T64" fmla="*/ 126 w 160"/>
                    <a:gd name="T65" fmla="*/ 42 h 124"/>
                    <a:gd name="T66" fmla="*/ 85 w 160"/>
                    <a:gd name="T67" fmla="*/ 91 h 124"/>
                    <a:gd name="T68" fmla="*/ 81 w 160"/>
                    <a:gd name="T69" fmla="*/ 124 h 124"/>
                    <a:gd name="T70" fmla="*/ 120 w 160"/>
                    <a:gd name="T71" fmla="*/ 119 h 124"/>
                    <a:gd name="T72" fmla="*/ 141 w 160"/>
                    <a:gd name="T73" fmla="*/ 92 h 124"/>
                    <a:gd name="T74" fmla="*/ 159 w 160"/>
                    <a:gd name="T75" fmla="*/ 68 h 124"/>
                    <a:gd name="T76" fmla="*/ 159 w 160"/>
                    <a:gd name="T77" fmla="*/ 68 h 124"/>
                    <a:gd name="T78" fmla="*/ 158 w 160"/>
                    <a:gd name="T79" fmla="*/ 24 h 124"/>
                    <a:gd name="T80" fmla="*/ 145 w 160"/>
                    <a:gd name="T81" fmla="*/ 83 h 124"/>
                    <a:gd name="T82" fmla="*/ 114 w 160"/>
                    <a:gd name="T83" fmla="*/ 119 h 124"/>
                    <a:gd name="T84" fmla="*/ 90 w 160"/>
                    <a:gd name="T85" fmla="*/ 91 h 124"/>
                    <a:gd name="T86" fmla="*/ 134 w 160"/>
                    <a:gd name="T87" fmla="*/ 43 h 124"/>
                    <a:gd name="T88" fmla="*/ 136 w 160"/>
                    <a:gd name="T89" fmla="*/ 43 h 124"/>
                    <a:gd name="T90" fmla="*/ 130 w 160"/>
                    <a:gd name="T91" fmla="*/ 67 h 124"/>
                    <a:gd name="T92" fmla="*/ 133 w 160"/>
                    <a:gd name="T93" fmla="*/ 70 h 124"/>
                    <a:gd name="T94" fmla="*/ 142 w 160"/>
                    <a:gd name="T95" fmla="*/ 51 h 124"/>
                    <a:gd name="T96" fmla="*/ 141 w 160"/>
                    <a:gd name="T97" fmla="*/ 25 h 124"/>
                    <a:gd name="T98" fmla="*/ 144 w 160"/>
                    <a:gd name="T99" fmla="*/ 5 h 124"/>
                    <a:gd name="T100" fmla="*/ 144 w 160"/>
                    <a:gd name="T101" fmla="*/ 5 h 124"/>
                    <a:gd name="T102" fmla="*/ 153 w 160"/>
                    <a:gd name="T103" fmla="*/ 25 h 124"/>
                    <a:gd name="T104" fmla="*/ 154 w 160"/>
                    <a:gd name="T105" fmla="*/ 68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60" h="124">
                      <a:moveTo>
                        <a:pt x="75" y="91"/>
                      </a:moveTo>
                      <a:cubicBezTo>
                        <a:pt x="74" y="81"/>
                        <a:pt x="67" y="75"/>
                        <a:pt x="59" y="68"/>
                      </a:cubicBezTo>
                      <a:cubicBezTo>
                        <a:pt x="51" y="62"/>
                        <a:pt x="42" y="55"/>
                        <a:pt x="34" y="42"/>
                      </a:cubicBezTo>
                      <a:cubicBezTo>
                        <a:pt x="34" y="42"/>
                        <a:pt x="34" y="42"/>
                        <a:pt x="34" y="42"/>
                      </a:cubicBezTo>
                      <a:cubicBezTo>
                        <a:pt x="33" y="41"/>
                        <a:pt x="33" y="41"/>
                        <a:pt x="33" y="41"/>
                      </a:cubicBezTo>
                      <a:cubicBezTo>
                        <a:pt x="31" y="39"/>
                        <a:pt x="28" y="37"/>
                        <a:pt x="25" y="37"/>
                      </a:cubicBezTo>
                      <a:cubicBezTo>
                        <a:pt x="25" y="37"/>
                        <a:pt x="24" y="37"/>
                        <a:pt x="24" y="38"/>
                      </a:cubicBezTo>
                      <a:cubicBezTo>
                        <a:pt x="23" y="34"/>
                        <a:pt x="24" y="29"/>
                        <a:pt x="24" y="26"/>
                      </a:cubicBezTo>
                      <a:cubicBezTo>
                        <a:pt x="25" y="11"/>
                        <a:pt x="25" y="11"/>
                        <a:pt x="25" y="11"/>
                      </a:cubicBezTo>
                      <a:cubicBezTo>
                        <a:pt x="25" y="10"/>
                        <a:pt x="25" y="10"/>
                        <a:pt x="25" y="10"/>
                      </a:cubicBezTo>
                      <a:cubicBezTo>
                        <a:pt x="25" y="10"/>
                        <a:pt x="25" y="10"/>
                        <a:pt x="25" y="10"/>
                      </a:cubicBezTo>
                      <a:cubicBezTo>
                        <a:pt x="25" y="4"/>
                        <a:pt x="21" y="0"/>
                        <a:pt x="15" y="0"/>
                      </a:cubicBezTo>
                      <a:cubicBezTo>
                        <a:pt x="15" y="0"/>
                        <a:pt x="15" y="0"/>
                        <a:pt x="15" y="0"/>
                      </a:cubicBezTo>
                      <a:cubicBezTo>
                        <a:pt x="10" y="0"/>
                        <a:pt x="6" y="3"/>
                        <a:pt x="5" y="8"/>
                      </a:cubicBezTo>
                      <a:cubicBezTo>
                        <a:pt x="1" y="24"/>
                        <a:pt x="1" y="24"/>
                        <a:pt x="1" y="24"/>
                      </a:cubicBezTo>
                      <a:cubicBezTo>
                        <a:pt x="0" y="29"/>
                        <a:pt x="0" y="35"/>
                        <a:pt x="0" y="40"/>
                      </a:cubicBezTo>
                      <a:cubicBezTo>
                        <a:pt x="0" y="68"/>
                        <a:pt x="0" y="68"/>
                        <a:pt x="0" y="68"/>
                      </a:cubicBezTo>
                      <a:cubicBezTo>
                        <a:pt x="0" y="68"/>
                        <a:pt x="0" y="68"/>
                        <a:pt x="0" y="68"/>
                      </a:cubicBezTo>
                      <a:cubicBezTo>
                        <a:pt x="0" y="68"/>
                        <a:pt x="0" y="68"/>
                        <a:pt x="0" y="68"/>
                      </a:cubicBezTo>
                      <a:cubicBezTo>
                        <a:pt x="0" y="75"/>
                        <a:pt x="4" y="81"/>
                        <a:pt x="11" y="87"/>
                      </a:cubicBezTo>
                      <a:cubicBezTo>
                        <a:pt x="12" y="88"/>
                        <a:pt x="13" y="89"/>
                        <a:pt x="18" y="92"/>
                      </a:cubicBezTo>
                      <a:cubicBezTo>
                        <a:pt x="24" y="96"/>
                        <a:pt x="36" y="104"/>
                        <a:pt x="39" y="106"/>
                      </a:cubicBezTo>
                      <a:cubicBezTo>
                        <a:pt x="39" y="108"/>
                        <a:pt x="40" y="114"/>
                        <a:pt x="40" y="119"/>
                      </a:cubicBezTo>
                      <a:cubicBezTo>
                        <a:pt x="40" y="124"/>
                        <a:pt x="40" y="124"/>
                        <a:pt x="40" y="124"/>
                      </a:cubicBezTo>
                      <a:cubicBezTo>
                        <a:pt x="78" y="124"/>
                        <a:pt x="78" y="124"/>
                        <a:pt x="78" y="124"/>
                      </a:cubicBezTo>
                      <a:cubicBezTo>
                        <a:pt x="77" y="118"/>
                        <a:pt x="77" y="118"/>
                        <a:pt x="77" y="118"/>
                      </a:cubicBezTo>
                      <a:lnTo>
                        <a:pt x="75" y="91"/>
                      </a:lnTo>
                      <a:close/>
                      <a:moveTo>
                        <a:pt x="45" y="119"/>
                      </a:moveTo>
                      <a:cubicBezTo>
                        <a:pt x="45" y="119"/>
                        <a:pt x="45" y="108"/>
                        <a:pt x="44" y="104"/>
                      </a:cubicBezTo>
                      <a:cubicBezTo>
                        <a:pt x="42" y="100"/>
                        <a:pt x="16" y="85"/>
                        <a:pt x="14" y="83"/>
                      </a:cubicBezTo>
                      <a:cubicBezTo>
                        <a:pt x="9" y="79"/>
                        <a:pt x="6" y="74"/>
                        <a:pt x="5" y="68"/>
                      </a:cubicBezTo>
                      <a:cubicBezTo>
                        <a:pt x="5" y="40"/>
                        <a:pt x="5" y="40"/>
                        <a:pt x="5" y="40"/>
                      </a:cubicBezTo>
                      <a:cubicBezTo>
                        <a:pt x="5" y="35"/>
                        <a:pt x="5" y="30"/>
                        <a:pt x="6" y="25"/>
                      </a:cubicBezTo>
                      <a:cubicBezTo>
                        <a:pt x="10" y="9"/>
                        <a:pt x="10" y="9"/>
                        <a:pt x="10" y="9"/>
                      </a:cubicBezTo>
                      <a:cubicBezTo>
                        <a:pt x="10" y="7"/>
                        <a:pt x="12" y="5"/>
                        <a:pt x="15" y="5"/>
                      </a:cubicBezTo>
                      <a:cubicBezTo>
                        <a:pt x="15" y="5"/>
                        <a:pt x="15" y="5"/>
                        <a:pt x="15" y="5"/>
                      </a:cubicBezTo>
                      <a:cubicBezTo>
                        <a:pt x="15" y="5"/>
                        <a:pt x="15" y="5"/>
                        <a:pt x="15" y="5"/>
                      </a:cubicBezTo>
                      <a:cubicBezTo>
                        <a:pt x="18" y="5"/>
                        <a:pt x="20" y="7"/>
                        <a:pt x="20" y="10"/>
                      </a:cubicBezTo>
                      <a:cubicBezTo>
                        <a:pt x="19" y="25"/>
                        <a:pt x="19" y="25"/>
                        <a:pt x="19" y="25"/>
                      </a:cubicBezTo>
                      <a:cubicBezTo>
                        <a:pt x="18" y="30"/>
                        <a:pt x="18" y="38"/>
                        <a:pt x="19" y="42"/>
                      </a:cubicBezTo>
                      <a:cubicBezTo>
                        <a:pt x="17" y="44"/>
                        <a:pt x="16" y="47"/>
                        <a:pt x="17" y="51"/>
                      </a:cubicBezTo>
                      <a:cubicBezTo>
                        <a:pt x="24" y="67"/>
                        <a:pt x="24" y="67"/>
                        <a:pt x="24" y="67"/>
                      </a:cubicBezTo>
                      <a:cubicBezTo>
                        <a:pt x="24" y="68"/>
                        <a:pt x="25" y="69"/>
                        <a:pt x="26" y="70"/>
                      </a:cubicBezTo>
                      <a:cubicBezTo>
                        <a:pt x="34" y="76"/>
                        <a:pt x="34" y="76"/>
                        <a:pt x="34" y="76"/>
                      </a:cubicBezTo>
                      <a:cubicBezTo>
                        <a:pt x="33" y="73"/>
                        <a:pt x="30" y="69"/>
                        <a:pt x="29" y="67"/>
                      </a:cubicBezTo>
                      <a:cubicBezTo>
                        <a:pt x="20" y="49"/>
                        <a:pt x="20" y="49"/>
                        <a:pt x="20" y="49"/>
                      </a:cubicBezTo>
                      <a:cubicBezTo>
                        <a:pt x="19" y="47"/>
                        <a:pt x="21" y="44"/>
                        <a:pt x="24" y="43"/>
                      </a:cubicBezTo>
                      <a:cubicBezTo>
                        <a:pt x="24" y="43"/>
                        <a:pt x="24" y="43"/>
                        <a:pt x="24" y="43"/>
                      </a:cubicBezTo>
                      <a:cubicBezTo>
                        <a:pt x="24" y="43"/>
                        <a:pt x="25" y="43"/>
                        <a:pt x="25" y="43"/>
                      </a:cubicBezTo>
                      <a:cubicBezTo>
                        <a:pt x="27" y="43"/>
                        <a:pt x="28" y="43"/>
                        <a:pt x="29" y="45"/>
                      </a:cubicBezTo>
                      <a:cubicBezTo>
                        <a:pt x="48" y="73"/>
                        <a:pt x="68" y="75"/>
                        <a:pt x="69" y="91"/>
                      </a:cubicBezTo>
                      <a:cubicBezTo>
                        <a:pt x="72" y="119"/>
                        <a:pt x="72" y="119"/>
                        <a:pt x="72" y="119"/>
                      </a:cubicBezTo>
                      <a:lnTo>
                        <a:pt x="45" y="119"/>
                      </a:lnTo>
                      <a:close/>
                      <a:moveTo>
                        <a:pt x="158" y="24"/>
                      </a:moveTo>
                      <a:cubicBezTo>
                        <a:pt x="155" y="8"/>
                        <a:pt x="155" y="8"/>
                        <a:pt x="155" y="8"/>
                      </a:cubicBezTo>
                      <a:cubicBezTo>
                        <a:pt x="154" y="3"/>
                        <a:pt x="150" y="0"/>
                        <a:pt x="145" y="0"/>
                      </a:cubicBezTo>
                      <a:cubicBezTo>
                        <a:pt x="144" y="0"/>
                        <a:pt x="144" y="0"/>
                        <a:pt x="144" y="0"/>
                      </a:cubicBezTo>
                      <a:cubicBezTo>
                        <a:pt x="139" y="0"/>
                        <a:pt x="134" y="4"/>
                        <a:pt x="134" y="10"/>
                      </a:cubicBezTo>
                      <a:cubicBezTo>
                        <a:pt x="134" y="10"/>
                        <a:pt x="134" y="10"/>
                        <a:pt x="134" y="10"/>
                      </a:cubicBezTo>
                      <a:cubicBezTo>
                        <a:pt x="134" y="11"/>
                        <a:pt x="134" y="11"/>
                        <a:pt x="134" y="11"/>
                      </a:cubicBezTo>
                      <a:cubicBezTo>
                        <a:pt x="135" y="26"/>
                        <a:pt x="135" y="26"/>
                        <a:pt x="135" y="26"/>
                      </a:cubicBezTo>
                      <a:cubicBezTo>
                        <a:pt x="136" y="29"/>
                        <a:pt x="136" y="34"/>
                        <a:pt x="136" y="38"/>
                      </a:cubicBezTo>
                      <a:cubicBezTo>
                        <a:pt x="135" y="37"/>
                        <a:pt x="134" y="37"/>
                        <a:pt x="134" y="37"/>
                      </a:cubicBezTo>
                      <a:cubicBezTo>
                        <a:pt x="131" y="37"/>
                        <a:pt x="128" y="39"/>
                        <a:pt x="126" y="41"/>
                      </a:cubicBezTo>
                      <a:cubicBezTo>
                        <a:pt x="126" y="42"/>
                        <a:pt x="126" y="42"/>
                        <a:pt x="126" y="42"/>
                      </a:cubicBezTo>
                      <a:cubicBezTo>
                        <a:pt x="126" y="42"/>
                        <a:pt x="126" y="42"/>
                        <a:pt x="126" y="42"/>
                      </a:cubicBezTo>
                      <a:cubicBezTo>
                        <a:pt x="117" y="55"/>
                        <a:pt x="108" y="62"/>
                        <a:pt x="101" y="68"/>
                      </a:cubicBezTo>
                      <a:cubicBezTo>
                        <a:pt x="93" y="75"/>
                        <a:pt x="86" y="81"/>
                        <a:pt x="85" y="91"/>
                      </a:cubicBezTo>
                      <a:cubicBezTo>
                        <a:pt x="82" y="118"/>
                        <a:pt x="82" y="118"/>
                        <a:pt x="82" y="118"/>
                      </a:cubicBezTo>
                      <a:cubicBezTo>
                        <a:pt x="81" y="124"/>
                        <a:pt x="81" y="124"/>
                        <a:pt x="81" y="124"/>
                      </a:cubicBezTo>
                      <a:cubicBezTo>
                        <a:pt x="119" y="124"/>
                        <a:pt x="119" y="124"/>
                        <a:pt x="119" y="124"/>
                      </a:cubicBezTo>
                      <a:cubicBezTo>
                        <a:pt x="120" y="119"/>
                        <a:pt x="120" y="119"/>
                        <a:pt x="120" y="119"/>
                      </a:cubicBezTo>
                      <a:cubicBezTo>
                        <a:pt x="120" y="114"/>
                        <a:pt x="120" y="108"/>
                        <a:pt x="121" y="106"/>
                      </a:cubicBezTo>
                      <a:cubicBezTo>
                        <a:pt x="123" y="104"/>
                        <a:pt x="135" y="96"/>
                        <a:pt x="141" y="92"/>
                      </a:cubicBezTo>
                      <a:cubicBezTo>
                        <a:pt x="146" y="89"/>
                        <a:pt x="148" y="88"/>
                        <a:pt x="149" y="87"/>
                      </a:cubicBezTo>
                      <a:cubicBezTo>
                        <a:pt x="155" y="81"/>
                        <a:pt x="159" y="75"/>
                        <a:pt x="159" y="68"/>
                      </a:cubicBezTo>
                      <a:cubicBezTo>
                        <a:pt x="159" y="68"/>
                        <a:pt x="159" y="68"/>
                        <a:pt x="159" y="68"/>
                      </a:cubicBezTo>
                      <a:cubicBezTo>
                        <a:pt x="159" y="68"/>
                        <a:pt x="159" y="68"/>
                        <a:pt x="159" y="68"/>
                      </a:cubicBezTo>
                      <a:cubicBezTo>
                        <a:pt x="160" y="40"/>
                        <a:pt x="160" y="40"/>
                        <a:pt x="160" y="40"/>
                      </a:cubicBezTo>
                      <a:cubicBezTo>
                        <a:pt x="160" y="35"/>
                        <a:pt x="159" y="29"/>
                        <a:pt x="158" y="24"/>
                      </a:cubicBezTo>
                      <a:close/>
                      <a:moveTo>
                        <a:pt x="154" y="68"/>
                      </a:moveTo>
                      <a:cubicBezTo>
                        <a:pt x="154" y="74"/>
                        <a:pt x="150" y="79"/>
                        <a:pt x="145" y="83"/>
                      </a:cubicBezTo>
                      <a:cubicBezTo>
                        <a:pt x="143" y="85"/>
                        <a:pt x="117" y="100"/>
                        <a:pt x="116" y="104"/>
                      </a:cubicBezTo>
                      <a:cubicBezTo>
                        <a:pt x="114" y="108"/>
                        <a:pt x="114" y="119"/>
                        <a:pt x="114" y="119"/>
                      </a:cubicBezTo>
                      <a:cubicBezTo>
                        <a:pt x="87" y="119"/>
                        <a:pt x="87" y="119"/>
                        <a:pt x="87" y="119"/>
                      </a:cubicBezTo>
                      <a:cubicBezTo>
                        <a:pt x="90" y="91"/>
                        <a:pt x="90" y="91"/>
                        <a:pt x="90" y="91"/>
                      </a:cubicBezTo>
                      <a:cubicBezTo>
                        <a:pt x="91" y="75"/>
                        <a:pt x="111" y="73"/>
                        <a:pt x="130" y="45"/>
                      </a:cubicBezTo>
                      <a:cubicBezTo>
                        <a:pt x="131" y="43"/>
                        <a:pt x="132" y="43"/>
                        <a:pt x="134" y="43"/>
                      </a:cubicBezTo>
                      <a:cubicBezTo>
                        <a:pt x="135" y="43"/>
                        <a:pt x="135" y="43"/>
                        <a:pt x="136" y="43"/>
                      </a:cubicBezTo>
                      <a:cubicBezTo>
                        <a:pt x="136" y="43"/>
                        <a:pt x="136" y="43"/>
                        <a:pt x="136" y="43"/>
                      </a:cubicBezTo>
                      <a:cubicBezTo>
                        <a:pt x="138" y="44"/>
                        <a:pt x="140" y="47"/>
                        <a:pt x="139" y="49"/>
                      </a:cubicBezTo>
                      <a:cubicBezTo>
                        <a:pt x="130" y="67"/>
                        <a:pt x="130" y="67"/>
                        <a:pt x="130" y="67"/>
                      </a:cubicBezTo>
                      <a:cubicBezTo>
                        <a:pt x="129" y="69"/>
                        <a:pt x="127" y="73"/>
                        <a:pt x="125" y="76"/>
                      </a:cubicBezTo>
                      <a:cubicBezTo>
                        <a:pt x="133" y="70"/>
                        <a:pt x="133" y="70"/>
                        <a:pt x="133" y="70"/>
                      </a:cubicBezTo>
                      <a:cubicBezTo>
                        <a:pt x="134" y="69"/>
                        <a:pt x="135" y="68"/>
                        <a:pt x="135" y="67"/>
                      </a:cubicBezTo>
                      <a:cubicBezTo>
                        <a:pt x="142" y="51"/>
                        <a:pt x="142" y="51"/>
                        <a:pt x="142" y="51"/>
                      </a:cubicBezTo>
                      <a:cubicBezTo>
                        <a:pt x="143" y="47"/>
                        <a:pt x="142" y="44"/>
                        <a:pt x="140" y="42"/>
                      </a:cubicBezTo>
                      <a:cubicBezTo>
                        <a:pt x="141" y="38"/>
                        <a:pt x="141" y="30"/>
                        <a:pt x="141" y="25"/>
                      </a:cubicBezTo>
                      <a:cubicBezTo>
                        <a:pt x="139" y="10"/>
                        <a:pt x="139" y="10"/>
                        <a:pt x="139" y="10"/>
                      </a:cubicBezTo>
                      <a:cubicBezTo>
                        <a:pt x="139" y="7"/>
                        <a:pt x="141" y="5"/>
                        <a:pt x="144" y="5"/>
                      </a:cubicBezTo>
                      <a:cubicBezTo>
                        <a:pt x="144" y="5"/>
                        <a:pt x="144" y="5"/>
                        <a:pt x="144" y="5"/>
                      </a:cubicBezTo>
                      <a:cubicBezTo>
                        <a:pt x="144" y="5"/>
                        <a:pt x="144" y="5"/>
                        <a:pt x="144" y="5"/>
                      </a:cubicBezTo>
                      <a:cubicBezTo>
                        <a:pt x="147" y="5"/>
                        <a:pt x="149" y="7"/>
                        <a:pt x="149" y="9"/>
                      </a:cubicBezTo>
                      <a:cubicBezTo>
                        <a:pt x="153" y="25"/>
                        <a:pt x="153" y="25"/>
                        <a:pt x="153" y="25"/>
                      </a:cubicBezTo>
                      <a:cubicBezTo>
                        <a:pt x="154" y="30"/>
                        <a:pt x="154" y="35"/>
                        <a:pt x="154" y="40"/>
                      </a:cubicBezTo>
                      <a:lnTo>
                        <a:pt x="154" y="6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grpSp>
          <p:nvGrpSpPr>
            <p:cNvPr id="76" name="组合 75">
              <a:extLst>
                <a:ext uri="{FF2B5EF4-FFF2-40B4-BE49-F238E27FC236}">
                  <a16:creationId xmlns:a16="http://schemas.microsoft.com/office/drawing/2014/main" id="{76B03F17-3F6C-5758-B3D5-6811AC9B3EC1}"/>
                </a:ext>
              </a:extLst>
            </p:cNvPr>
            <p:cNvGrpSpPr/>
            <p:nvPr/>
          </p:nvGrpSpPr>
          <p:grpSpPr>
            <a:xfrm flipV="1">
              <a:off x="10788473" y="2461172"/>
              <a:ext cx="472509" cy="749835"/>
              <a:chOff x="1" y="1695671"/>
              <a:chExt cx="642102" cy="672392"/>
            </a:xfrm>
            <a:solidFill>
              <a:schemeClr val="accent1">
                <a:lumMod val="20000"/>
                <a:lumOff val="80000"/>
              </a:schemeClr>
            </a:solidFill>
            <a:effectLst>
              <a:outerShdw blurRad="50800" dist="38100" dir="2700000" algn="tl" rotWithShape="0">
                <a:prstClr val="black">
                  <a:alpha val="40000"/>
                </a:prstClr>
              </a:outerShdw>
            </a:effectLst>
          </p:grpSpPr>
          <p:sp>
            <p:nvSpPr>
              <p:cNvPr id="77" name="等腰三角形 76">
                <a:extLst>
                  <a:ext uri="{FF2B5EF4-FFF2-40B4-BE49-F238E27FC236}">
                    <a16:creationId xmlns:a16="http://schemas.microsoft.com/office/drawing/2014/main" id="{28454021-1557-EDD6-4A88-C23F615A0B19}"/>
                  </a:ext>
                </a:extLst>
              </p:cNvPr>
              <p:cNvSpPr/>
              <p:nvPr/>
            </p:nvSpPr>
            <p:spPr>
              <a:xfrm flipV="1">
                <a:off x="1" y="1695671"/>
                <a:ext cx="642102" cy="360000"/>
              </a:xfrm>
              <a:prstGeom prst="triangle">
                <a:avLst/>
              </a:prstGeom>
              <a:grpFill/>
              <a:ln w="28575">
                <a:noFill/>
              </a:ln>
            </p:spPr>
            <p:style>
              <a:lnRef idx="1">
                <a:schemeClr val="accent1"/>
              </a:lnRef>
              <a:fillRef idx="0">
                <a:schemeClr val="accent1"/>
              </a:fillRef>
              <a:effectRef idx="0">
                <a:schemeClr val="accent1"/>
              </a:effectRef>
              <a:fontRef idx="minor">
                <a:schemeClr val="tx1"/>
              </a:fontRef>
            </p:style>
            <p:txBody>
              <a:bodyPr wrap="none" rtlCol="0" anchor="ctr"/>
              <a:lstStyle/>
              <a:p>
                <a:pPr algn="ctr"/>
                <a:endParaRPr kumimoji="1" lang="zh-CN" altLang="en-US" dirty="0"/>
              </a:p>
            </p:txBody>
          </p:sp>
          <p:sp>
            <p:nvSpPr>
              <p:cNvPr id="78" name="等腰三角形 77">
                <a:extLst>
                  <a:ext uri="{FF2B5EF4-FFF2-40B4-BE49-F238E27FC236}">
                    <a16:creationId xmlns:a16="http://schemas.microsoft.com/office/drawing/2014/main" id="{3F7D4E3A-F9F4-942F-80C9-1CB7D344DBA6}"/>
                  </a:ext>
                </a:extLst>
              </p:cNvPr>
              <p:cNvSpPr/>
              <p:nvPr/>
            </p:nvSpPr>
            <p:spPr>
              <a:xfrm flipV="1">
                <a:off x="1" y="1829894"/>
                <a:ext cx="642102" cy="360000"/>
              </a:xfrm>
              <a:prstGeom prst="triangle">
                <a:avLst/>
              </a:prstGeom>
              <a:grpFill/>
              <a:ln w="28575">
                <a:noFill/>
              </a:ln>
            </p:spPr>
            <p:style>
              <a:lnRef idx="1">
                <a:schemeClr val="accent1"/>
              </a:lnRef>
              <a:fillRef idx="0">
                <a:schemeClr val="accent1"/>
              </a:fillRef>
              <a:effectRef idx="0">
                <a:schemeClr val="accent1"/>
              </a:effectRef>
              <a:fontRef idx="minor">
                <a:schemeClr val="tx1"/>
              </a:fontRef>
            </p:style>
            <p:txBody>
              <a:bodyPr wrap="none" rtlCol="0" anchor="ctr"/>
              <a:lstStyle/>
              <a:p>
                <a:pPr algn="ctr"/>
                <a:endParaRPr kumimoji="1" lang="zh-CN" altLang="en-US" dirty="0"/>
              </a:p>
            </p:txBody>
          </p:sp>
          <p:sp>
            <p:nvSpPr>
              <p:cNvPr id="79" name="等腰三角形 78">
                <a:extLst>
                  <a:ext uri="{FF2B5EF4-FFF2-40B4-BE49-F238E27FC236}">
                    <a16:creationId xmlns:a16="http://schemas.microsoft.com/office/drawing/2014/main" id="{EBAE8F2B-7782-FD3F-32C5-CCE93094F9B4}"/>
                  </a:ext>
                </a:extLst>
              </p:cNvPr>
              <p:cNvSpPr/>
              <p:nvPr/>
            </p:nvSpPr>
            <p:spPr>
              <a:xfrm flipV="1">
                <a:off x="1" y="2008063"/>
                <a:ext cx="642102" cy="360000"/>
              </a:xfrm>
              <a:prstGeom prst="triangle">
                <a:avLst/>
              </a:prstGeom>
              <a:grpFill/>
              <a:ln w="28575">
                <a:noFill/>
              </a:ln>
            </p:spPr>
            <p:style>
              <a:lnRef idx="1">
                <a:schemeClr val="accent1"/>
              </a:lnRef>
              <a:fillRef idx="0">
                <a:schemeClr val="accent1"/>
              </a:fillRef>
              <a:effectRef idx="0">
                <a:schemeClr val="accent1"/>
              </a:effectRef>
              <a:fontRef idx="minor">
                <a:schemeClr val="tx1"/>
              </a:fontRef>
            </p:style>
            <p:txBody>
              <a:bodyPr wrap="none" rtlCol="0" anchor="ctr"/>
              <a:lstStyle/>
              <a:p>
                <a:pPr algn="ctr"/>
                <a:endParaRPr kumimoji="1" lang="zh-CN" altLang="en-US" dirty="0"/>
              </a:p>
            </p:txBody>
          </p:sp>
        </p:grpSp>
      </p:grpSp>
      <p:grpSp>
        <p:nvGrpSpPr>
          <p:cNvPr id="152" name="组合 151">
            <a:extLst>
              <a:ext uri="{FF2B5EF4-FFF2-40B4-BE49-F238E27FC236}">
                <a16:creationId xmlns:a16="http://schemas.microsoft.com/office/drawing/2014/main" id="{7C4C7351-7E9B-CBEE-F201-8EB3EF842978}"/>
              </a:ext>
            </a:extLst>
          </p:cNvPr>
          <p:cNvGrpSpPr/>
          <p:nvPr/>
        </p:nvGrpSpPr>
        <p:grpSpPr>
          <a:xfrm>
            <a:off x="6383959" y="4097589"/>
            <a:ext cx="5259568" cy="2439642"/>
            <a:chOff x="6425904" y="4073547"/>
            <a:chExt cx="5259568" cy="2463684"/>
          </a:xfrm>
        </p:grpSpPr>
        <p:graphicFrame>
          <p:nvGraphicFramePr>
            <p:cNvPr id="100" name="图表 99">
              <a:extLst>
                <a:ext uri="{FF2B5EF4-FFF2-40B4-BE49-F238E27FC236}">
                  <a16:creationId xmlns:a16="http://schemas.microsoft.com/office/drawing/2014/main" id="{BE5BEA9E-FDD0-DD55-18A3-7E9EF191C597}"/>
                </a:ext>
              </a:extLst>
            </p:cNvPr>
            <p:cNvGraphicFramePr/>
            <p:nvPr>
              <p:extLst>
                <p:ext uri="{D42A27DB-BD31-4B8C-83A1-F6EECF244321}">
                  <p14:modId xmlns:p14="http://schemas.microsoft.com/office/powerpoint/2010/main" val="3006403349"/>
                </p:ext>
              </p:extLst>
            </p:nvPr>
          </p:nvGraphicFramePr>
          <p:xfrm>
            <a:off x="6879725" y="4923724"/>
            <a:ext cx="4448795" cy="1613507"/>
          </p:xfrm>
          <a:graphic>
            <a:graphicData uri="http://schemas.openxmlformats.org/drawingml/2006/chart">
              <c:chart xmlns:c="http://schemas.openxmlformats.org/drawingml/2006/chart" xmlns:r="http://schemas.openxmlformats.org/officeDocument/2006/relationships" r:id="rId2"/>
            </a:graphicData>
          </a:graphic>
        </p:graphicFrame>
        <p:sp>
          <p:nvSpPr>
            <p:cNvPr id="101" name="矩形: 圆角 100">
              <a:extLst>
                <a:ext uri="{FF2B5EF4-FFF2-40B4-BE49-F238E27FC236}">
                  <a16:creationId xmlns:a16="http://schemas.microsoft.com/office/drawing/2014/main" id="{565B289D-B046-E016-9915-75C16FB5A72A}"/>
                </a:ext>
              </a:extLst>
            </p:cNvPr>
            <p:cNvSpPr/>
            <p:nvPr/>
          </p:nvSpPr>
          <p:spPr>
            <a:xfrm>
              <a:off x="6429472" y="4079828"/>
              <a:ext cx="5256000" cy="2432380"/>
            </a:xfrm>
            <a:prstGeom prst="roundRect">
              <a:avLst>
                <a:gd name="adj" fmla="val 0"/>
              </a:avLst>
            </a:prstGeom>
            <a:noFill/>
            <a:ln w="19050">
              <a:solidFill>
                <a:schemeClr val="accent2"/>
              </a:soli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wrap="none" rtlCol="0" anchor="ctr"/>
            <a:lstStyle/>
            <a:p>
              <a:pPr algn="ctr"/>
              <a:endParaRPr kumimoji="1" lang="zh-CN" altLang="en-US" dirty="0">
                <a:latin typeface="Arial" panose="020B0604020202020204" pitchFamily="34" charset="0"/>
                <a:ea typeface="微软雅黑" panose="020B0503020204020204" pitchFamily="34" charset="-122"/>
              </a:endParaRPr>
            </a:p>
          </p:txBody>
        </p:sp>
        <p:pic>
          <p:nvPicPr>
            <p:cNvPr id="103" name="图形 102">
              <a:extLst>
                <a:ext uri="{FF2B5EF4-FFF2-40B4-BE49-F238E27FC236}">
                  <a16:creationId xmlns:a16="http://schemas.microsoft.com/office/drawing/2014/main" id="{5148D4E3-B3D3-4E06-E641-E760626EA29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564880" y="5045110"/>
              <a:ext cx="3098370" cy="940320"/>
            </a:xfrm>
            <a:prstGeom prst="rect">
              <a:avLst/>
            </a:prstGeom>
          </p:spPr>
        </p:pic>
        <p:pic>
          <p:nvPicPr>
            <p:cNvPr id="104" name="图形 103">
              <a:extLst>
                <a:ext uri="{FF2B5EF4-FFF2-40B4-BE49-F238E27FC236}">
                  <a16:creationId xmlns:a16="http://schemas.microsoft.com/office/drawing/2014/main" id="{4C021A9B-8F60-1FB1-0500-91B53D3AC3F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592495" y="5661462"/>
              <a:ext cx="3099764" cy="317738"/>
            </a:xfrm>
            <a:prstGeom prst="rect">
              <a:avLst/>
            </a:prstGeom>
          </p:spPr>
        </p:pic>
        <p:sp>
          <p:nvSpPr>
            <p:cNvPr id="105" name="文本框 104">
              <a:extLst>
                <a:ext uri="{FF2B5EF4-FFF2-40B4-BE49-F238E27FC236}">
                  <a16:creationId xmlns:a16="http://schemas.microsoft.com/office/drawing/2014/main" id="{9F359E60-405E-E938-A346-7BABF987EE1B}"/>
                </a:ext>
              </a:extLst>
            </p:cNvPr>
            <p:cNvSpPr txBox="1"/>
            <p:nvPr/>
          </p:nvSpPr>
          <p:spPr>
            <a:xfrm>
              <a:off x="8233057" y="6272396"/>
              <a:ext cx="1868576" cy="157199"/>
            </a:xfrm>
            <a:prstGeom prst="rect">
              <a:avLst/>
            </a:prstGeom>
            <a:solidFill>
              <a:srgbClr val="FFFFFF"/>
            </a:solidFill>
          </p:spPr>
          <p:txBody>
            <a:bodyPr wrap="square" rtlCol="0">
              <a:spAutoFit/>
            </a:bodyPr>
            <a:lstStyle/>
            <a:p>
              <a:pPr marL="0" marR="0" lvl="0" indent="0" algn="ctr" defTabSz="779145" eaLnBrk="1" fontAlgn="auto" latinLnBrk="0" hangingPunct="1">
                <a:lnSpc>
                  <a:spcPts val="1275"/>
                </a:lnSpc>
                <a:spcBef>
                  <a:spcPts val="0"/>
                </a:spcBef>
                <a:spcAft>
                  <a:spcPts val="0"/>
                </a:spcAft>
                <a:buClrTx/>
                <a:buSzTx/>
                <a:buFontTx/>
                <a:buNone/>
                <a:defRPr/>
              </a:pPr>
              <a:r>
                <a:rPr kumimoji="0" lang="zh-CN" altLang="en-US" sz="1000" b="0" i="0" u="none" strike="noStrike" kern="0" cap="none" spc="0" normalizeH="0" baseline="0" noProof="0" dirty="0">
                  <a:ln>
                    <a:noFill/>
                  </a:ln>
                  <a:solidFill>
                    <a:srgbClr val="000000"/>
                  </a:solidFill>
                  <a:effectLst/>
                  <a:uLnTx/>
                  <a:uFillTx/>
                  <a:latin typeface="Arial" panose="020B0604020202020204"/>
                  <a:ea typeface="微软雅黑" panose="020B0503020204020204" pitchFamily="34" charset="-122"/>
                  <a:cs typeface="+mn-ea"/>
                  <a:sym typeface="+mn-lt"/>
                </a:rPr>
                <a:t>葡萄糖脑苷脂酶（</a:t>
              </a:r>
              <a:r>
                <a:rPr kumimoji="0" lang="en-US" altLang="zh-CN" sz="1000" b="0" i="0" u="none" strike="noStrike" kern="0" cap="none" spc="0" normalizeH="0" baseline="0" noProof="0" dirty="0" err="1">
                  <a:ln>
                    <a:noFill/>
                  </a:ln>
                  <a:solidFill>
                    <a:srgbClr val="000000"/>
                  </a:solidFill>
                  <a:effectLst/>
                  <a:uLnTx/>
                  <a:uFillTx/>
                  <a:latin typeface="Arial" panose="020B0604020202020204"/>
                  <a:ea typeface="微软雅黑" panose="020B0503020204020204" pitchFamily="34" charset="-122"/>
                  <a:cs typeface="+mn-ea"/>
                  <a:sym typeface="+mn-lt"/>
                </a:rPr>
                <a:t>μg</a:t>
              </a:r>
              <a:r>
                <a:rPr kumimoji="0" lang="en-US" altLang="zh-CN" sz="1000" b="0" i="0" u="none" strike="noStrike" kern="0" cap="none" spc="0" normalizeH="0" baseline="0" noProof="0" dirty="0">
                  <a:ln>
                    <a:noFill/>
                  </a:ln>
                  <a:solidFill>
                    <a:srgbClr val="000000"/>
                  </a:solidFill>
                  <a:effectLst/>
                  <a:uLnTx/>
                  <a:uFillTx/>
                  <a:latin typeface="Arial" panose="020B0604020202020204"/>
                  <a:ea typeface="微软雅黑" panose="020B0503020204020204" pitchFamily="34" charset="-122"/>
                  <a:cs typeface="+mn-ea"/>
                  <a:sym typeface="+mn-lt"/>
                </a:rPr>
                <a:t>/ml</a:t>
              </a:r>
              <a:r>
                <a:rPr kumimoji="0" lang="zh-CN" altLang="en-US" sz="1000" b="0" i="0" u="none" strike="noStrike" kern="0" cap="none" spc="0" normalizeH="0" baseline="0" noProof="0" dirty="0">
                  <a:ln>
                    <a:noFill/>
                  </a:ln>
                  <a:solidFill>
                    <a:srgbClr val="000000"/>
                  </a:solidFill>
                  <a:effectLst/>
                  <a:uLnTx/>
                  <a:uFillTx/>
                  <a:latin typeface="Arial" panose="020B0604020202020204"/>
                  <a:ea typeface="微软雅黑" panose="020B0503020204020204" pitchFamily="34" charset="-122"/>
                  <a:cs typeface="+mn-ea"/>
                  <a:sym typeface="+mn-lt"/>
                </a:rPr>
                <a:t>）</a:t>
              </a:r>
            </a:p>
          </p:txBody>
        </p:sp>
        <p:sp>
          <p:nvSpPr>
            <p:cNvPr id="106" name="文本框 105">
              <a:extLst>
                <a:ext uri="{FF2B5EF4-FFF2-40B4-BE49-F238E27FC236}">
                  <a16:creationId xmlns:a16="http://schemas.microsoft.com/office/drawing/2014/main" id="{32DA19D1-D1A9-7E7E-0693-0AE4394F0FD4}"/>
                </a:ext>
              </a:extLst>
            </p:cNvPr>
            <p:cNvSpPr txBox="1"/>
            <p:nvPr/>
          </p:nvSpPr>
          <p:spPr>
            <a:xfrm rot="16200000">
              <a:off x="6181431" y="5408754"/>
              <a:ext cx="1217948" cy="247888"/>
            </a:xfrm>
            <a:prstGeom prst="rect">
              <a:avLst/>
            </a:prstGeom>
            <a:solidFill>
              <a:srgbClr val="FFFFFF"/>
            </a:solidFill>
          </p:spPr>
          <p:txBody>
            <a:bodyPr wrap="square" rtlCol="0">
              <a:spAutoFit/>
            </a:bodyPr>
            <a:lstStyle/>
            <a:p>
              <a:pPr marL="0" marR="0" lvl="0" indent="0" algn="ctr" defTabSz="779145" eaLnBrk="1" fontAlgn="auto" latinLnBrk="0" hangingPunct="1">
                <a:lnSpc>
                  <a:spcPts val="1275"/>
                </a:lnSpc>
                <a:spcBef>
                  <a:spcPts val="0"/>
                </a:spcBef>
                <a:spcAft>
                  <a:spcPts val="0"/>
                </a:spcAft>
                <a:buClrTx/>
                <a:buSzTx/>
                <a:buFontTx/>
                <a:buNone/>
                <a:defRPr/>
              </a:pPr>
              <a:r>
                <a:rPr kumimoji="0" lang="en-US" altLang="zh-CN" sz="1000" b="0" i="0" u="none" strike="noStrike" kern="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ea"/>
                  <a:sym typeface="+mn-lt"/>
                </a:rPr>
                <a:t>RFU/</a:t>
              </a:r>
              <a:r>
                <a:rPr kumimoji="0" lang="zh-CN" altLang="en-US" sz="1000" b="0" i="0" u="none" strike="noStrike" kern="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ea"/>
                  <a:sym typeface="+mn-lt"/>
                </a:rPr>
                <a:t>蛋白</a:t>
              </a:r>
              <a:r>
                <a:rPr kumimoji="0" lang="en-US" altLang="zh-CN" sz="1000" b="0" i="0" u="none" strike="noStrike" kern="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ea"/>
                  <a:sym typeface="+mn-lt"/>
                </a:rPr>
                <a:t>/</a:t>
              </a:r>
              <a:r>
                <a:rPr kumimoji="0" lang="zh-CN" altLang="en-US" sz="1000" b="0" i="0" u="none" strike="noStrike" kern="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ea"/>
                  <a:sym typeface="+mn-lt"/>
                </a:rPr>
                <a:t>小时</a:t>
              </a:r>
            </a:p>
          </p:txBody>
        </p:sp>
        <p:sp>
          <p:nvSpPr>
            <p:cNvPr id="107" name="矩形 106">
              <a:extLst>
                <a:ext uri="{FF2B5EF4-FFF2-40B4-BE49-F238E27FC236}">
                  <a16:creationId xmlns:a16="http://schemas.microsoft.com/office/drawing/2014/main" id="{160B0939-F959-6963-9106-865BA9053E48}"/>
                </a:ext>
              </a:extLst>
            </p:cNvPr>
            <p:cNvSpPr/>
            <p:nvPr/>
          </p:nvSpPr>
          <p:spPr>
            <a:xfrm>
              <a:off x="9161969" y="5474988"/>
              <a:ext cx="71017" cy="50791"/>
            </a:xfrm>
            <a:prstGeom prst="rect">
              <a:avLst/>
            </a:prstGeom>
            <a:solidFill>
              <a:schemeClr val="accent2"/>
            </a:solidFill>
            <a:ln w="12700" cap="flat" cmpd="sng" algn="ctr">
              <a:noFill/>
              <a:prstDash val="solid"/>
              <a:miter lim="800000"/>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defRPr/>
              </a:pPr>
              <a:endParaRPr kumimoji="0" lang="zh-CN" altLang="en-US" sz="1350" b="0" i="0" u="none" strike="noStrike" kern="0" cap="none" spc="0" normalizeH="0" baseline="0" noProof="0">
                <a:ln>
                  <a:noFill/>
                </a:ln>
                <a:solidFill>
                  <a:prstClr val="white"/>
                </a:solidFill>
                <a:effectLst/>
                <a:uLnTx/>
                <a:uFillTx/>
                <a:latin typeface="Arial" panose="020B0604020202020204"/>
                <a:ea typeface="微软雅黑" panose="020B0503020204020204" pitchFamily="34" charset="-122"/>
                <a:cs typeface="+mn-cs"/>
              </a:endParaRPr>
            </a:p>
          </p:txBody>
        </p:sp>
        <p:sp>
          <p:nvSpPr>
            <p:cNvPr id="108" name="矩形 107">
              <a:extLst>
                <a:ext uri="{FF2B5EF4-FFF2-40B4-BE49-F238E27FC236}">
                  <a16:creationId xmlns:a16="http://schemas.microsoft.com/office/drawing/2014/main" id="{CFF41B6F-29FB-AC00-30C5-56E1E99E9CD0}"/>
                </a:ext>
              </a:extLst>
            </p:cNvPr>
            <p:cNvSpPr/>
            <p:nvPr/>
          </p:nvSpPr>
          <p:spPr>
            <a:xfrm>
              <a:off x="10637916" y="5025123"/>
              <a:ext cx="71017" cy="50791"/>
            </a:xfrm>
            <a:prstGeom prst="rect">
              <a:avLst/>
            </a:prstGeom>
            <a:solidFill>
              <a:schemeClr val="accent2"/>
            </a:solidFill>
            <a:ln w="12700" cap="flat" cmpd="sng" algn="ctr">
              <a:noFill/>
              <a:prstDash val="solid"/>
              <a:miter lim="800000"/>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defRPr/>
              </a:pPr>
              <a:endParaRPr kumimoji="0" lang="zh-CN" altLang="en-US" sz="1350" b="0" i="0" u="none" strike="noStrike" kern="0" cap="none" spc="0" normalizeH="0" baseline="0" noProof="0">
                <a:ln>
                  <a:noFill/>
                </a:ln>
                <a:solidFill>
                  <a:prstClr val="white"/>
                </a:solidFill>
                <a:effectLst/>
                <a:uLnTx/>
                <a:uFillTx/>
                <a:latin typeface="Arial" panose="020B0604020202020204"/>
                <a:ea typeface="微软雅黑" panose="020B0503020204020204" pitchFamily="34" charset="-122"/>
                <a:cs typeface="+mn-cs"/>
              </a:endParaRPr>
            </a:p>
          </p:txBody>
        </p:sp>
        <p:sp>
          <p:nvSpPr>
            <p:cNvPr id="109" name="矩形 108">
              <a:extLst>
                <a:ext uri="{FF2B5EF4-FFF2-40B4-BE49-F238E27FC236}">
                  <a16:creationId xmlns:a16="http://schemas.microsoft.com/office/drawing/2014/main" id="{337470B7-CF51-EA16-F12E-2BF2A5A4A3B7}"/>
                </a:ext>
              </a:extLst>
            </p:cNvPr>
            <p:cNvSpPr/>
            <p:nvPr/>
          </p:nvSpPr>
          <p:spPr>
            <a:xfrm>
              <a:off x="8382117" y="5600756"/>
              <a:ext cx="71017" cy="50791"/>
            </a:xfrm>
            <a:prstGeom prst="rect">
              <a:avLst/>
            </a:prstGeom>
            <a:solidFill>
              <a:schemeClr val="accent2"/>
            </a:solidFill>
            <a:ln w="12700" cap="flat" cmpd="sng" algn="ctr">
              <a:noFill/>
              <a:prstDash val="solid"/>
              <a:miter lim="800000"/>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defRPr/>
              </a:pPr>
              <a:r>
                <a:rPr kumimoji="0" lang="en-US" altLang="zh-CN" sz="1350" b="0" i="0" u="none" strike="noStrike" kern="0" cap="none" spc="0" normalizeH="0" baseline="0" noProof="0" dirty="0">
                  <a:ln>
                    <a:noFill/>
                  </a:ln>
                  <a:solidFill>
                    <a:prstClr val="white"/>
                  </a:solidFill>
                  <a:effectLst/>
                  <a:uLnTx/>
                  <a:uFillTx/>
                  <a:latin typeface="Arial" panose="020B0604020202020204"/>
                  <a:ea typeface="微软雅黑" panose="020B0503020204020204" pitchFamily="34" charset="-122"/>
                  <a:cs typeface="+mn-cs"/>
                </a:rPr>
                <a:t> </a:t>
              </a:r>
              <a:endParaRPr kumimoji="0" lang="zh-CN" altLang="en-US" sz="1350" b="0" i="0" u="none" strike="noStrike" kern="0" cap="none" spc="0" normalizeH="0" baseline="0" noProof="0" dirty="0">
                <a:ln>
                  <a:noFill/>
                </a:ln>
                <a:solidFill>
                  <a:prstClr val="white"/>
                </a:solidFill>
                <a:effectLst/>
                <a:uLnTx/>
                <a:uFillTx/>
                <a:latin typeface="Arial" panose="020B0604020202020204"/>
                <a:ea typeface="微软雅黑" panose="020B0503020204020204" pitchFamily="34" charset="-122"/>
                <a:cs typeface="+mn-cs"/>
              </a:endParaRPr>
            </a:p>
          </p:txBody>
        </p:sp>
        <p:sp>
          <p:nvSpPr>
            <p:cNvPr id="110" name="矩形 109">
              <a:extLst>
                <a:ext uri="{FF2B5EF4-FFF2-40B4-BE49-F238E27FC236}">
                  <a16:creationId xmlns:a16="http://schemas.microsoft.com/office/drawing/2014/main" id="{A5A157F9-6CB3-0EA2-2202-89CD718858F3}"/>
                </a:ext>
              </a:extLst>
            </p:cNvPr>
            <p:cNvSpPr/>
            <p:nvPr/>
          </p:nvSpPr>
          <p:spPr>
            <a:xfrm>
              <a:off x="7766993" y="5870968"/>
              <a:ext cx="71017" cy="50791"/>
            </a:xfrm>
            <a:prstGeom prst="rect">
              <a:avLst/>
            </a:prstGeom>
            <a:solidFill>
              <a:schemeClr val="accent2"/>
            </a:solidFill>
            <a:ln w="12700" cap="flat" cmpd="sng" algn="ctr">
              <a:noFill/>
              <a:prstDash val="solid"/>
              <a:miter lim="800000"/>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defRPr/>
              </a:pPr>
              <a:r>
                <a:rPr kumimoji="0" lang="en-US" altLang="zh-CN" sz="1350" b="0" i="0" u="none" strike="noStrike" kern="0" cap="none" spc="0" normalizeH="0" baseline="0" noProof="0" dirty="0">
                  <a:ln>
                    <a:noFill/>
                  </a:ln>
                  <a:solidFill>
                    <a:prstClr val="white"/>
                  </a:solidFill>
                  <a:effectLst/>
                  <a:uLnTx/>
                  <a:uFillTx/>
                  <a:latin typeface="Arial" panose="020B0604020202020204"/>
                  <a:ea typeface="微软雅黑" panose="020B0503020204020204" pitchFamily="34" charset="-122"/>
                  <a:cs typeface="+mn-cs"/>
                </a:rPr>
                <a:t> </a:t>
              </a:r>
              <a:endParaRPr kumimoji="0" lang="zh-CN" altLang="en-US" sz="1350" b="0" i="0" u="none" strike="noStrike" kern="0" cap="none" spc="0" normalizeH="0" baseline="0" noProof="0" dirty="0">
                <a:ln>
                  <a:noFill/>
                </a:ln>
                <a:solidFill>
                  <a:prstClr val="white"/>
                </a:solidFill>
                <a:effectLst/>
                <a:uLnTx/>
                <a:uFillTx/>
                <a:latin typeface="Arial" panose="020B0604020202020204"/>
                <a:ea typeface="微软雅黑" panose="020B0503020204020204" pitchFamily="34" charset="-122"/>
                <a:cs typeface="+mn-cs"/>
              </a:endParaRPr>
            </a:p>
          </p:txBody>
        </p:sp>
        <p:sp>
          <p:nvSpPr>
            <p:cNvPr id="111" name="矩形 110">
              <a:extLst>
                <a:ext uri="{FF2B5EF4-FFF2-40B4-BE49-F238E27FC236}">
                  <a16:creationId xmlns:a16="http://schemas.microsoft.com/office/drawing/2014/main" id="{4B875A10-3E6B-6DEA-F59A-48351A729DEB}"/>
                </a:ext>
              </a:extLst>
            </p:cNvPr>
            <p:cNvSpPr/>
            <p:nvPr/>
          </p:nvSpPr>
          <p:spPr>
            <a:xfrm>
              <a:off x="7616843" y="5874961"/>
              <a:ext cx="71017" cy="50791"/>
            </a:xfrm>
            <a:prstGeom prst="rect">
              <a:avLst/>
            </a:prstGeom>
            <a:solidFill>
              <a:schemeClr val="accent2"/>
            </a:solidFill>
            <a:ln w="12700" cap="flat" cmpd="sng" algn="ctr">
              <a:noFill/>
              <a:prstDash val="solid"/>
              <a:miter lim="800000"/>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defRPr/>
              </a:pPr>
              <a:r>
                <a:rPr kumimoji="0" lang="en-US" altLang="zh-CN" sz="1350" b="0" i="0" u="none" strike="noStrike" kern="0" cap="none" spc="0" normalizeH="0" baseline="0" noProof="0" dirty="0">
                  <a:ln>
                    <a:noFill/>
                  </a:ln>
                  <a:solidFill>
                    <a:prstClr val="white"/>
                  </a:solidFill>
                  <a:effectLst/>
                  <a:uLnTx/>
                  <a:uFillTx/>
                  <a:latin typeface="Arial" panose="020B0604020202020204"/>
                  <a:ea typeface="微软雅黑" panose="020B0503020204020204" pitchFamily="34" charset="-122"/>
                  <a:cs typeface="+mn-cs"/>
                </a:rPr>
                <a:t> </a:t>
              </a:r>
              <a:endParaRPr kumimoji="0" lang="zh-CN" altLang="en-US" sz="1350" b="0" i="0" u="none" strike="noStrike" kern="0" cap="none" spc="0" normalizeH="0" baseline="0" noProof="0" dirty="0">
                <a:ln>
                  <a:noFill/>
                </a:ln>
                <a:solidFill>
                  <a:prstClr val="white"/>
                </a:solidFill>
                <a:effectLst/>
                <a:uLnTx/>
                <a:uFillTx/>
                <a:latin typeface="Arial" panose="020B0604020202020204"/>
                <a:ea typeface="微软雅黑" panose="020B0503020204020204" pitchFamily="34" charset="-122"/>
                <a:cs typeface="+mn-cs"/>
              </a:endParaRPr>
            </a:p>
          </p:txBody>
        </p:sp>
        <p:sp>
          <p:nvSpPr>
            <p:cNvPr id="112" name="矩形 111">
              <a:extLst>
                <a:ext uri="{FF2B5EF4-FFF2-40B4-BE49-F238E27FC236}">
                  <a16:creationId xmlns:a16="http://schemas.microsoft.com/office/drawing/2014/main" id="{D0F9AE58-73FF-A6EF-0135-44E90E57F4AA}"/>
                </a:ext>
              </a:extLst>
            </p:cNvPr>
            <p:cNvSpPr/>
            <p:nvPr/>
          </p:nvSpPr>
          <p:spPr>
            <a:xfrm>
              <a:off x="10658207" y="5652024"/>
              <a:ext cx="71017" cy="50791"/>
            </a:xfrm>
            <a:prstGeom prst="rect">
              <a:avLst/>
            </a:prstGeom>
            <a:solidFill>
              <a:sysClr val="window" lastClr="FFFFFF">
                <a:lumMod val="50000"/>
              </a:sysClr>
            </a:solidFill>
            <a:ln w="12700" cap="flat" cmpd="sng" algn="ctr">
              <a:noFill/>
              <a:prstDash val="solid"/>
              <a:miter lim="800000"/>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defRPr/>
              </a:pPr>
              <a:endParaRPr kumimoji="0" lang="zh-CN" altLang="en-US" sz="1350" b="0" i="0" u="none" strike="noStrike" kern="0" cap="none" spc="0" normalizeH="0" baseline="0" noProof="0">
                <a:ln>
                  <a:noFill/>
                </a:ln>
                <a:solidFill>
                  <a:prstClr val="white"/>
                </a:solidFill>
                <a:effectLst/>
                <a:uLnTx/>
                <a:uFillTx/>
                <a:latin typeface="Arial" panose="020B0604020202020204"/>
                <a:ea typeface="微软雅黑" panose="020B0503020204020204" pitchFamily="34" charset="-122"/>
                <a:cs typeface="+mn-cs"/>
              </a:endParaRPr>
            </a:p>
          </p:txBody>
        </p:sp>
        <p:sp>
          <p:nvSpPr>
            <p:cNvPr id="113" name="矩形 112">
              <a:extLst>
                <a:ext uri="{FF2B5EF4-FFF2-40B4-BE49-F238E27FC236}">
                  <a16:creationId xmlns:a16="http://schemas.microsoft.com/office/drawing/2014/main" id="{1AEAB10E-12D2-E5FB-AC77-F53F008523B3}"/>
                </a:ext>
              </a:extLst>
            </p:cNvPr>
            <p:cNvSpPr/>
            <p:nvPr/>
          </p:nvSpPr>
          <p:spPr>
            <a:xfrm>
              <a:off x="9171249" y="5828583"/>
              <a:ext cx="71017" cy="50791"/>
            </a:xfrm>
            <a:prstGeom prst="rect">
              <a:avLst/>
            </a:prstGeom>
            <a:solidFill>
              <a:sysClr val="window" lastClr="FFFFFF">
                <a:lumMod val="50000"/>
              </a:sysClr>
            </a:solidFill>
            <a:ln w="12700" cap="flat" cmpd="sng" algn="ctr">
              <a:noFill/>
              <a:prstDash val="solid"/>
              <a:miter lim="800000"/>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defRPr/>
              </a:pPr>
              <a:endParaRPr kumimoji="0" lang="zh-CN" altLang="en-US" sz="1350" b="0" i="0" u="none" strike="noStrike" kern="0" cap="none" spc="0" normalizeH="0" baseline="0" noProof="0">
                <a:ln>
                  <a:noFill/>
                </a:ln>
                <a:solidFill>
                  <a:prstClr val="white"/>
                </a:solidFill>
                <a:effectLst/>
                <a:uLnTx/>
                <a:uFillTx/>
                <a:latin typeface="Arial" panose="020B0604020202020204"/>
                <a:ea typeface="微软雅黑" panose="020B0503020204020204" pitchFamily="34" charset="-122"/>
                <a:cs typeface="+mn-cs"/>
              </a:endParaRPr>
            </a:p>
          </p:txBody>
        </p:sp>
        <p:sp>
          <p:nvSpPr>
            <p:cNvPr id="114" name="矩形 113">
              <a:extLst>
                <a:ext uri="{FF2B5EF4-FFF2-40B4-BE49-F238E27FC236}">
                  <a16:creationId xmlns:a16="http://schemas.microsoft.com/office/drawing/2014/main" id="{9815728D-B78B-4C11-243D-A1E22F3C53BA}"/>
                </a:ext>
              </a:extLst>
            </p:cNvPr>
            <p:cNvSpPr/>
            <p:nvPr/>
          </p:nvSpPr>
          <p:spPr>
            <a:xfrm>
              <a:off x="8384412" y="5879375"/>
              <a:ext cx="71017" cy="50791"/>
            </a:xfrm>
            <a:prstGeom prst="rect">
              <a:avLst/>
            </a:prstGeom>
            <a:solidFill>
              <a:sysClr val="window" lastClr="FFFFFF">
                <a:lumMod val="50000"/>
              </a:sysClr>
            </a:solidFill>
            <a:ln w="12700" cap="flat" cmpd="sng" algn="ctr">
              <a:noFill/>
              <a:prstDash val="solid"/>
              <a:miter lim="800000"/>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defRPr/>
              </a:pPr>
              <a:endParaRPr kumimoji="0" lang="zh-CN" altLang="en-US" sz="1350" b="0" i="0" u="none" strike="noStrike" kern="0" cap="none" spc="0" normalizeH="0" baseline="0" noProof="0">
                <a:ln>
                  <a:noFill/>
                </a:ln>
                <a:solidFill>
                  <a:prstClr val="white"/>
                </a:solidFill>
                <a:effectLst/>
                <a:uLnTx/>
                <a:uFillTx/>
                <a:latin typeface="Arial" panose="020B0604020202020204"/>
                <a:ea typeface="微软雅黑" panose="020B0503020204020204" pitchFamily="34" charset="-122"/>
                <a:cs typeface="+mn-cs"/>
              </a:endParaRPr>
            </a:p>
          </p:txBody>
        </p:sp>
        <p:sp>
          <p:nvSpPr>
            <p:cNvPr id="115" name="矩形 114">
              <a:extLst>
                <a:ext uri="{FF2B5EF4-FFF2-40B4-BE49-F238E27FC236}">
                  <a16:creationId xmlns:a16="http://schemas.microsoft.com/office/drawing/2014/main" id="{D7858B73-F8FD-FE8C-5AB9-6D9CCB612528}"/>
                </a:ext>
              </a:extLst>
            </p:cNvPr>
            <p:cNvSpPr/>
            <p:nvPr/>
          </p:nvSpPr>
          <p:spPr>
            <a:xfrm>
              <a:off x="7984608" y="5905980"/>
              <a:ext cx="71017" cy="50791"/>
            </a:xfrm>
            <a:prstGeom prst="rect">
              <a:avLst/>
            </a:prstGeom>
            <a:solidFill>
              <a:sysClr val="window" lastClr="FFFFFF">
                <a:lumMod val="50000"/>
              </a:sysClr>
            </a:solidFill>
            <a:ln w="12700" cap="flat" cmpd="sng" algn="ctr">
              <a:noFill/>
              <a:prstDash val="solid"/>
              <a:miter lim="800000"/>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defRPr/>
              </a:pPr>
              <a:endParaRPr kumimoji="0" lang="zh-CN" altLang="en-US" sz="1350" b="0" i="0" u="none" strike="noStrike" kern="0" cap="none" spc="0" normalizeH="0" baseline="0" noProof="0">
                <a:ln>
                  <a:noFill/>
                </a:ln>
                <a:solidFill>
                  <a:prstClr val="white"/>
                </a:solidFill>
                <a:effectLst/>
                <a:uLnTx/>
                <a:uFillTx/>
                <a:latin typeface="Arial" panose="020B0604020202020204"/>
                <a:ea typeface="微软雅黑" panose="020B0503020204020204" pitchFamily="34" charset="-122"/>
                <a:cs typeface="+mn-cs"/>
              </a:endParaRPr>
            </a:p>
          </p:txBody>
        </p:sp>
        <p:sp>
          <p:nvSpPr>
            <p:cNvPr id="116" name="矩形 115">
              <a:extLst>
                <a:ext uri="{FF2B5EF4-FFF2-40B4-BE49-F238E27FC236}">
                  <a16:creationId xmlns:a16="http://schemas.microsoft.com/office/drawing/2014/main" id="{3E49A82D-C4FA-A4A0-0786-9B6F2FB0ED3C}"/>
                </a:ext>
              </a:extLst>
            </p:cNvPr>
            <p:cNvSpPr/>
            <p:nvPr/>
          </p:nvSpPr>
          <p:spPr>
            <a:xfrm>
              <a:off x="7783311" y="5922910"/>
              <a:ext cx="71017" cy="50791"/>
            </a:xfrm>
            <a:prstGeom prst="rect">
              <a:avLst/>
            </a:prstGeom>
            <a:solidFill>
              <a:sysClr val="window" lastClr="FFFFFF">
                <a:lumMod val="50000"/>
              </a:sysClr>
            </a:solidFill>
            <a:ln w="12700" cap="flat" cmpd="sng" algn="ctr">
              <a:noFill/>
              <a:prstDash val="solid"/>
              <a:miter lim="800000"/>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defRPr/>
              </a:pPr>
              <a:endParaRPr kumimoji="0" lang="zh-CN" altLang="en-US" sz="1350" b="0" i="0" u="none" strike="noStrike" kern="0" cap="none" spc="0" normalizeH="0" baseline="0" noProof="0">
                <a:ln>
                  <a:noFill/>
                </a:ln>
                <a:solidFill>
                  <a:prstClr val="white"/>
                </a:solidFill>
                <a:effectLst/>
                <a:uLnTx/>
                <a:uFillTx/>
                <a:latin typeface="Arial" panose="020B0604020202020204"/>
                <a:ea typeface="微软雅黑" panose="020B0503020204020204" pitchFamily="34" charset="-122"/>
                <a:cs typeface="+mn-cs"/>
              </a:endParaRPr>
            </a:p>
          </p:txBody>
        </p:sp>
        <p:sp>
          <p:nvSpPr>
            <p:cNvPr id="117" name="矩形 116">
              <a:extLst>
                <a:ext uri="{FF2B5EF4-FFF2-40B4-BE49-F238E27FC236}">
                  <a16:creationId xmlns:a16="http://schemas.microsoft.com/office/drawing/2014/main" id="{B189B876-6D7D-FBE0-6E21-19325DD80529}"/>
                </a:ext>
              </a:extLst>
            </p:cNvPr>
            <p:cNvSpPr/>
            <p:nvPr/>
          </p:nvSpPr>
          <p:spPr>
            <a:xfrm>
              <a:off x="7622594" y="5937421"/>
              <a:ext cx="71017" cy="50791"/>
            </a:xfrm>
            <a:prstGeom prst="rect">
              <a:avLst/>
            </a:prstGeom>
            <a:solidFill>
              <a:sysClr val="window" lastClr="FFFFFF">
                <a:lumMod val="50000"/>
              </a:sysClr>
            </a:solidFill>
            <a:ln w="12700" cap="flat" cmpd="sng" algn="ctr">
              <a:noFill/>
              <a:prstDash val="solid"/>
              <a:miter lim="800000"/>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defRPr/>
              </a:pPr>
              <a:endParaRPr kumimoji="0" lang="zh-CN" altLang="en-US" sz="1350" b="0" i="0" u="none" strike="noStrike" kern="0" cap="none" spc="0" normalizeH="0" baseline="0" noProof="0">
                <a:ln>
                  <a:noFill/>
                </a:ln>
                <a:solidFill>
                  <a:prstClr val="white"/>
                </a:solidFill>
                <a:effectLst/>
                <a:uLnTx/>
                <a:uFillTx/>
                <a:latin typeface="Arial" panose="020B0604020202020204"/>
                <a:ea typeface="微软雅黑" panose="020B0503020204020204" pitchFamily="34" charset="-122"/>
                <a:cs typeface="+mn-cs"/>
              </a:endParaRPr>
            </a:p>
          </p:txBody>
        </p:sp>
        <p:cxnSp>
          <p:nvCxnSpPr>
            <p:cNvPr id="118" name="直接连接符 117">
              <a:extLst>
                <a:ext uri="{FF2B5EF4-FFF2-40B4-BE49-F238E27FC236}">
                  <a16:creationId xmlns:a16="http://schemas.microsoft.com/office/drawing/2014/main" id="{05FF2DC2-EBF5-A492-D95B-D2A4D76C36A2}"/>
                </a:ext>
              </a:extLst>
            </p:cNvPr>
            <p:cNvCxnSpPr/>
            <p:nvPr/>
          </p:nvCxnSpPr>
          <p:spPr>
            <a:xfrm>
              <a:off x="8145532" y="5035504"/>
              <a:ext cx="189801" cy="0"/>
            </a:xfrm>
            <a:prstGeom prst="line">
              <a:avLst/>
            </a:prstGeom>
            <a:noFill/>
            <a:ln w="19050" cap="flat" cmpd="sng" algn="ctr">
              <a:solidFill>
                <a:schemeClr val="accent2"/>
              </a:solidFill>
              <a:prstDash val="solid"/>
              <a:miter lim="800000"/>
            </a:ln>
            <a:effectLst/>
          </p:spPr>
        </p:cxnSp>
        <p:sp>
          <p:nvSpPr>
            <p:cNvPr id="119" name="文本框 118">
              <a:extLst>
                <a:ext uri="{FF2B5EF4-FFF2-40B4-BE49-F238E27FC236}">
                  <a16:creationId xmlns:a16="http://schemas.microsoft.com/office/drawing/2014/main" id="{99A8ACA0-5C51-41A5-F981-1928E1E57903}"/>
                </a:ext>
              </a:extLst>
            </p:cNvPr>
            <p:cNvSpPr txBox="1"/>
            <p:nvPr/>
          </p:nvSpPr>
          <p:spPr>
            <a:xfrm>
              <a:off x="8335333" y="4891657"/>
              <a:ext cx="900671" cy="403768"/>
            </a:xfrm>
            <a:prstGeom prst="rect">
              <a:avLst/>
            </a:prstGeom>
            <a:solidFill>
              <a:srgbClr val="FFFFFF"/>
            </a:solidFill>
          </p:spPr>
          <p:txBody>
            <a:bodyPr wrap="square" rtlCol="0">
              <a:spAutoFit/>
            </a:bodyPr>
            <a:lstStyle/>
            <a:p>
              <a:pPr marL="0" marR="0" lvl="0" indent="0" defTabSz="779145" eaLnBrk="1" fontAlgn="auto" latinLnBrk="0" hangingPunct="1">
                <a:spcBef>
                  <a:spcPts val="0"/>
                </a:spcBef>
                <a:spcAft>
                  <a:spcPts val="0"/>
                </a:spcAft>
                <a:buClrTx/>
                <a:buSzTx/>
                <a:buFontTx/>
                <a:buNone/>
                <a:defRPr/>
              </a:pPr>
              <a:r>
                <a:rPr lang="zh-CN" altLang="en-US" sz="1000" kern="0" dirty="0">
                  <a:solidFill>
                    <a:srgbClr val="000000"/>
                  </a:solidFill>
                  <a:latin typeface="Arial" panose="020B0604020202020204"/>
                  <a:ea typeface="微软雅黑" panose="020B0503020204020204" pitchFamily="34" charset="-122"/>
                  <a:cs typeface="+mn-ea"/>
                  <a:sym typeface="+mn-lt"/>
                </a:rPr>
                <a:t>维拉苷酶</a:t>
              </a:r>
              <a:r>
                <a:rPr lang="el-GR" altLang="zh-CN" sz="1000" kern="0" dirty="0">
                  <a:solidFill>
                    <a:srgbClr val="000000"/>
                  </a:solidFill>
                  <a:latin typeface="Arial" panose="020B0604020202020204"/>
                  <a:ea typeface="微软雅黑" panose="020B0503020204020204" pitchFamily="34" charset="-122"/>
                  <a:cs typeface="+mn-ea"/>
                  <a:sym typeface="+mn-lt"/>
                </a:rPr>
                <a:t>α</a:t>
              </a:r>
              <a:endParaRPr lang="en-US" altLang="zh-CN" sz="1000" kern="0" dirty="0">
                <a:solidFill>
                  <a:srgbClr val="000000"/>
                </a:solidFill>
                <a:latin typeface="Arial" panose="020B0604020202020204"/>
                <a:ea typeface="微软雅黑" panose="020B0503020204020204" pitchFamily="34" charset="-122"/>
                <a:cs typeface="+mn-ea"/>
                <a:sym typeface="+mn-lt"/>
              </a:endParaRPr>
            </a:p>
            <a:p>
              <a:pPr marL="0" marR="0" lvl="0" indent="0" defTabSz="779145" eaLnBrk="1" fontAlgn="auto" latinLnBrk="0" hangingPunct="1">
                <a:spcBef>
                  <a:spcPts val="0"/>
                </a:spcBef>
                <a:spcAft>
                  <a:spcPts val="0"/>
                </a:spcAft>
                <a:buClrTx/>
                <a:buSzTx/>
                <a:buFontTx/>
                <a:buNone/>
                <a:defRPr/>
              </a:pPr>
              <a:r>
                <a:rPr kumimoji="0" lang="zh-CN" altLang="en-US" sz="1000" b="0" i="0" u="none" strike="noStrike" kern="0" cap="none" spc="0" normalizeH="0" baseline="0" noProof="0" dirty="0">
                  <a:ln>
                    <a:noFill/>
                  </a:ln>
                  <a:solidFill>
                    <a:srgbClr val="000000"/>
                  </a:solidFill>
                  <a:effectLst/>
                  <a:uLnTx/>
                  <a:uFillTx/>
                  <a:latin typeface="Arial" panose="020B0604020202020204"/>
                  <a:ea typeface="微软雅黑" panose="020B0503020204020204" pitchFamily="34" charset="-122"/>
                  <a:cs typeface="+mn-ea"/>
                  <a:sym typeface="+mn-lt"/>
                </a:rPr>
                <a:t>伊米苷酶</a:t>
              </a:r>
            </a:p>
          </p:txBody>
        </p:sp>
        <p:sp>
          <p:nvSpPr>
            <p:cNvPr id="120" name="矩形 119">
              <a:extLst>
                <a:ext uri="{FF2B5EF4-FFF2-40B4-BE49-F238E27FC236}">
                  <a16:creationId xmlns:a16="http://schemas.microsoft.com/office/drawing/2014/main" id="{6148893C-E7F2-6A8E-1508-31542456F882}"/>
                </a:ext>
              </a:extLst>
            </p:cNvPr>
            <p:cNvSpPr/>
            <p:nvPr/>
          </p:nvSpPr>
          <p:spPr>
            <a:xfrm>
              <a:off x="8206212" y="5123606"/>
              <a:ext cx="71017" cy="50791"/>
            </a:xfrm>
            <a:prstGeom prst="rect">
              <a:avLst/>
            </a:prstGeom>
            <a:solidFill>
              <a:sysClr val="window" lastClr="FFFFFF">
                <a:lumMod val="50000"/>
              </a:sysClr>
            </a:solidFill>
            <a:ln w="12700" cap="flat" cmpd="sng" algn="ctr">
              <a:noFill/>
              <a:prstDash val="solid"/>
              <a:miter lim="800000"/>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defRPr/>
              </a:pPr>
              <a:endParaRPr kumimoji="0" lang="zh-CN" altLang="en-US" sz="1350" b="0" i="0" u="none" strike="noStrike" kern="0" cap="none" spc="0" normalizeH="0" baseline="0" noProof="0">
                <a:ln>
                  <a:noFill/>
                </a:ln>
                <a:solidFill>
                  <a:prstClr val="white"/>
                </a:solidFill>
                <a:effectLst/>
                <a:uLnTx/>
                <a:uFillTx/>
                <a:latin typeface="Arial" panose="020B0604020202020204"/>
                <a:ea typeface="微软雅黑" panose="020B0503020204020204" pitchFamily="34" charset="-122"/>
                <a:cs typeface="+mn-cs"/>
              </a:endParaRPr>
            </a:p>
          </p:txBody>
        </p:sp>
        <p:sp>
          <p:nvSpPr>
            <p:cNvPr id="121" name="矩形 120">
              <a:extLst>
                <a:ext uri="{FF2B5EF4-FFF2-40B4-BE49-F238E27FC236}">
                  <a16:creationId xmlns:a16="http://schemas.microsoft.com/office/drawing/2014/main" id="{273F0405-14B6-73EA-B055-0FB3E8262D75}"/>
                </a:ext>
              </a:extLst>
            </p:cNvPr>
            <p:cNvSpPr/>
            <p:nvPr/>
          </p:nvSpPr>
          <p:spPr>
            <a:xfrm>
              <a:off x="8206212" y="5006971"/>
              <a:ext cx="71017" cy="50791"/>
            </a:xfrm>
            <a:prstGeom prst="rect">
              <a:avLst/>
            </a:prstGeom>
            <a:solidFill>
              <a:schemeClr val="accent2"/>
            </a:solidFill>
            <a:ln w="12700" cap="flat" cmpd="sng" algn="ctr">
              <a:noFill/>
              <a:prstDash val="solid"/>
              <a:miter lim="800000"/>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defRPr/>
              </a:pPr>
              <a:endParaRPr kumimoji="0" lang="zh-CN" altLang="en-US" sz="1350" b="0" i="0" u="none" strike="noStrike" kern="0" cap="none" spc="0" normalizeH="0" baseline="0" noProof="0">
                <a:ln>
                  <a:noFill/>
                </a:ln>
                <a:solidFill>
                  <a:prstClr val="white"/>
                </a:solidFill>
                <a:effectLst/>
                <a:uLnTx/>
                <a:uFillTx/>
                <a:latin typeface="Arial" panose="020B0604020202020204"/>
                <a:ea typeface="微软雅黑" panose="020B0503020204020204" pitchFamily="34" charset="-122"/>
                <a:cs typeface="+mn-cs"/>
              </a:endParaRPr>
            </a:p>
          </p:txBody>
        </p:sp>
        <p:cxnSp>
          <p:nvCxnSpPr>
            <p:cNvPr id="122" name="直接连接符 121">
              <a:extLst>
                <a:ext uri="{FF2B5EF4-FFF2-40B4-BE49-F238E27FC236}">
                  <a16:creationId xmlns:a16="http://schemas.microsoft.com/office/drawing/2014/main" id="{022633F0-3671-E587-A1FB-FD6E87F96D52}"/>
                </a:ext>
              </a:extLst>
            </p:cNvPr>
            <p:cNvCxnSpPr/>
            <p:nvPr/>
          </p:nvCxnSpPr>
          <p:spPr>
            <a:xfrm>
              <a:off x="8145532" y="5148640"/>
              <a:ext cx="189801" cy="0"/>
            </a:xfrm>
            <a:prstGeom prst="line">
              <a:avLst/>
            </a:prstGeom>
            <a:noFill/>
            <a:ln w="19050" cap="flat" cmpd="sng" algn="ctr">
              <a:solidFill>
                <a:sysClr val="window" lastClr="FFFFFF">
                  <a:lumMod val="50000"/>
                </a:sysClr>
              </a:solidFill>
              <a:prstDash val="solid"/>
              <a:miter lim="800000"/>
            </a:ln>
            <a:effectLst/>
          </p:spPr>
        </p:cxnSp>
        <p:sp>
          <p:nvSpPr>
            <p:cNvPr id="123" name="文本框 122">
              <a:extLst>
                <a:ext uri="{FF2B5EF4-FFF2-40B4-BE49-F238E27FC236}">
                  <a16:creationId xmlns:a16="http://schemas.microsoft.com/office/drawing/2014/main" id="{AA70FB77-DEE3-60EF-E082-4B7F4A207E5D}"/>
                </a:ext>
              </a:extLst>
            </p:cNvPr>
            <p:cNvSpPr txBox="1"/>
            <p:nvPr/>
          </p:nvSpPr>
          <p:spPr>
            <a:xfrm>
              <a:off x="7266601" y="4557422"/>
              <a:ext cx="3694927" cy="265969"/>
            </a:xfrm>
            <a:prstGeom prst="rect">
              <a:avLst/>
            </a:prstGeom>
            <a:noFill/>
          </p:spPr>
          <p:txBody>
            <a:bodyPr wrap="square" rtlCol="0" anchor="ctr" anchorCtr="0">
              <a:noAutofit/>
            </a:bodyPr>
            <a:lstStyle/>
            <a:p>
              <a:pPr algn="ctr" defTabSz="779145">
                <a:lnSpc>
                  <a:spcPts val="1275"/>
                </a:lnSpc>
                <a:defRPr/>
              </a:pPr>
              <a:r>
                <a:rPr lang="zh-CN" altLang="en-US" sz="1100" b="1" u="sng" kern="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维拉苷酶</a:t>
              </a:r>
              <a:r>
                <a:rPr lang="el-GR" altLang="zh-CN" sz="1100" b="1" u="sng" kern="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α</a:t>
              </a:r>
              <a:r>
                <a:rPr lang="zh-CN" altLang="en-US" sz="1100" b="1" u="sng" kern="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和伊米苷酶内化至巨噬细胞的速率比较</a:t>
              </a:r>
              <a:r>
                <a:rPr lang="en-US" altLang="zh-CN" sz="1100" b="1" u="sng" baseline="30000" dirty="0">
                  <a:solidFill>
                    <a:prstClr val="black"/>
                  </a:solidFill>
                  <a:latin typeface="微软雅黑" panose="020B0503020204020204" pitchFamily="34" charset="-122"/>
                  <a:ea typeface="微软雅黑" panose="020B0503020204020204" pitchFamily="34" charset="-122"/>
                </a:rPr>
                <a:t>2</a:t>
              </a:r>
              <a:endParaRPr lang="en-US" altLang="zh-CN" sz="1100" b="1" u="sng" kern="0" dirty="0">
                <a:solidFill>
                  <a:srgbClr val="000000"/>
                </a:solidFill>
                <a:latin typeface="微软雅黑" panose="020B0503020204020204" pitchFamily="34" charset="-122"/>
                <a:ea typeface="微软雅黑" panose="020B0503020204020204" pitchFamily="34" charset="-122"/>
                <a:cs typeface="Arial" panose="020B0604020202020204" pitchFamily="34" charset="0"/>
              </a:endParaRPr>
            </a:p>
          </p:txBody>
        </p:sp>
        <p:sp>
          <p:nvSpPr>
            <p:cNvPr id="126" name="矩形 125">
              <a:extLst>
                <a:ext uri="{FF2B5EF4-FFF2-40B4-BE49-F238E27FC236}">
                  <a16:creationId xmlns:a16="http://schemas.microsoft.com/office/drawing/2014/main" id="{B3FEB0D3-C06D-67F4-B82C-BB0EA727874E}"/>
                </a:ext>
              </a:extLst>
            </p:cNvPr>
            <p:cNvSpPr/>
            <p:nvPr/>
          </p:nvSpPr>
          <p:spPr>
            <a:xfrm>
              <a:off x="6425904" y="4073547"/>
              <a:ext cx="5256000" cy="363292"/>
            </a:xfrm>
            <a:prstGeom prst="rect">
              <a:avLst/>
            </a:prstGeom>
            <a:solidFill>
              <a:schemeClr val="accent2">
                <a:lumMod val="75000"/>
              </a:schemeClr>
            </a:solidFill>
            <a:ln w="28575">
              <a:noFill/>
            </a:ln>
          </p:spPr>
          <p:style>
            <a:lnRef idx="1">
              <a:schemeClr val="accent1"/>
            </a:lnRef>
            <a:fillRef idx="0">
              <a:schemeClr val="accent1"/>
            </a:fillRef>
            <a:effectRef idx="0">
              <a:schemeClr val="accent1"/>
            </a:effectRef>
            <a:fontRef idx="minor">
              <a:schemeClr val="tx1"/>
            </a:fontRef>
          </p:style>
          <p:txBody>
            <a:bodyPr wrap="none" rtlCol="0" anchor="ctr"/>
            <a:lstStyle/>
            <a:p>
              <a:pPr algn="ctr"/>
              <a:r>
                <a:rPr kumimoji="1" lang="zh-CN" altLang="en-US" sz="1600" b="1" dirty="0">
                  <a:solidFill>
                    <a:schemeClr val="bg1"/>
                  </a:solidFill>
                  <a:latin typeface="Arial" panose="020B0604020202020204" pitchFamily="34" charset="0"/>
                  <a:ea typeface="微软雅黑" panose="020B0503020204020204" pitchFamily="34" charset="-122"/>
                </a:rPr>
                <a:t>人巨噬细胞对维拉苷酶的吸收速率是伊米苷酶的</a:t>
              </a:r>
              <a:r>
                <a:rPr kumimoji="1" lang="en-US" altLang="zh-CN" sz="1600" b="1" dirty="0">
                  <a:solidFill>
                    <a:schemeClr val="bg1"/>
                  </a:solidFill>
                  <a:latin typeface="Arial" panose="020B0604020202020204" pitchFamily="34" charset="0"/>
                  <a:ea typeface="微软雅黑" panose="020B0503020204020204" pitchFamily="34" charset="-122"/>
                </a:rPr>
                <a:t>2.5</a:t>
              </a:r>
              <a:r>
                <a:rPr kumimoji="1" lang="zh-CN" altLang="en-US" sz="1600" b="1" dirty="0">
                  <a:solidFill>
                    <a:schemeClr val="bg1"/>
                  </a:solidFill>
                  <a:latin typeface="Arial" panose="020B0604020202020204" pitchFamily="34" charset="0"/>
                  <a:ea typeface="微软雅黑" panose="020B0503020204020204" pitchFamily="34" charset="-122"/>
                </a:rPr>
                <a:t>倍</a:t>
              </a:r>
            </a:p>
          </p:txBody>
        </p:sp>
      </p:grpSp>
      <p:grpSp>
        <p:nvGrpSpPr>
          <p:cNvPr id="154" name="组合 153">
            <a:extLst>
              <a:ext uri="{FF2B5EF4-FFF2-40B4-BE49-F238E27FC236}">
                <a16:creationId xmlns:a16="http://schemas.microsoft.com/office/drawing/2014/main" id="{B1AC1C12-1AF0-8E0A-8942-4986562A2B50}"/>
              </a:ext>
            </a:extLst>
          </p:cNvPr>
          <p:cNvGrpSpPr/>
          <p:nvPr/>
        </p:nvGrpSpPr>
        <p:grpSpPr>
          <a:xfrm>
            <a:off x="406453" y="1384183"/>
            <a:ext cx="5602046" cy="5128026"/>
            <a:chOff x="330952" y="1384183"/>
            <a:chExt cx="5602046" cy="5128026"/>
          </a:xfrm>
        </p:grpSpPr>
        <p:sp>
          <p:nvSpPr>
            <p:cNvPr id="16" name="文本框 15">
              <a:extLst>
                <a:ext uri="{FF2B5EF4-FFF2-40B4-BE49-F238E27FC236}">
                  <a16:creationId xmlns:a16="http://schemas.microsoft.com/office/drawing/2014/main" id="{EF666D6C-CFFA-BD88-39F9-3DEF28023D8B}"/>
                </a:ext>
              </a:extLst>
            </p:cNvPr>
            <p:cNvSpPr txBox="1"/>
            <p:nvPr/>
          </p:nvSpPr>
          <p:spPr>
            <a:xfrm>
              <a:off x="362078" y="1795652"/>
              <a:ext cx="5399946" cy="2166758"/>
            </a:xfrm>
            <a:prstGeom prst="rect">
              <a:avLst/>
            </a:prstGeom>
            <a:noFill/>
          </p:spPr>
          <p:txBody>
            <a:bodyPr wrap="square">
              <a:spAutoFit/>
            </a:bodyPr>
            <a:lstStyle/>
            <a:p>
              <a:pPr marL="376237" lvl="0" indent="-285750" algn="just">
                <a:lnSpc>
                  <a:spcPct val="150000"/>
                </a:lnSpc>
                <a:spcBef>
                  <a:spcPts val="600"/>
                </a:spcBef>
                <a:spcAft>
                  <a:spcPts val="600"/>
                </a:spcAft>
                <a:buFont typeface="Wingdings" panose="05000000000000000000" pitchFamily="2" charset="2"/>
                <a:buChar char="l"/>
              </a:pPr>
              <a:r>
                <a:rPr lang="zh-CN" altLang="en-US" sz="1400" b="1" dirty="0">
                  <a:latin typeface="微软雅黑" panose="020B0503020204020204" pitchFamily="34" charset="-122"/>
                  <a:ea typeface="微软雅黑" panose="020B0503020204020204" pitchFamily="34" charset="-122"/>
                  <a:cs typeface="Arial" panose="020B0604020202020204" pitchFamily="34" charset="0"/>
                </a:rPr>
                <a:t>生产工艺</a:t>
              </a:r>
              <a:r>
                <a:rPr lang="zh-CN" altLang="en-US" sz="1400" dirty="0">
                  <a:latin typeface="微软雅黑" panose="020B0503020204020204" pitchFamily="34" charset="-122"/>
                  <a:ea typeface="微软雅黑" panose="020B0503020204020204" pitchFamily="34" charset="-122"/>
                  <a:cs typeface="Arial" panose="020B0604020202020204" pitchFamily="34" charset="0"/>
                </a:rPr>
                <a:t>：</a:t>
              </a:r>
              <a:r>
                <a:rPr lang="zh-CN" altLang="en-US" sz="1400" dirty="0">
                  <a:latin typeface="微软雅黑" panose="020B0503020204020204" pitchFamily="34" charset="-122"/>
                  <a:ea typeface="微软雅黑" panose="020B0503020204020204" pitchFamily="34" charset="-122"/>
                </a:rPr>
                <a:t>维拉苷酶</a:t>
              </a:r>
              <a:r>
                <a:rPr lang="el-GR" altLang="zh-CN" sz="1400" dirty="0">
                  <a:latin typeface="微软雅黑" panose="020B0503020204020204" pitchFamily="34" charset="-122"/>
                  <a:ea typeface="微软雅黑" panose="020B0503020204020204" pitchFamily="34" charset="-122"/>
                </a:rPr>
                <a:t>α</a:t>
              </a:r>
              <a:r>
                <a:rPr lang="zh-CN" altLang="en-US" sz="1400" dirty="0">
                  <a:latin typeface="微软雅黑" panose="020B0503020204020204" pitchFamily="34" charset="-122"/>
                  <a:ea typeface="微软雅黑" panose="020B0503020204020204" pitchFamily="34" charset="-122"/>
                </a:rPr>
                <a:t>是在源于</a:t>
              </a:r>
              <a:r>
                <a:rPr lang="zh-CN" altLang="en-US" sz="1400" b="1" dirty="0">
                  <a:solidFill>
                    <a:srgbClr val="C00000"/>
                  </a:solidFill>
                  <a:latin typeface="微软雅黑" panose="020B0503020204020204" pitchFamily="34" charset="-122"/>
                  <a:ea typeface="微软雅黑" panose="020B0503020204020204" pitchFamily="34" charset="-122"/>
                </a:rPr>
                <a:t>人的细胞系</a:t>
              </a:r>
              <a:r>
                <a:rPr lang="zh-CN" altLang="en-US" sz="1400" dirty="0">
                  <a:latin typeface="微软雅黑" panose="020B0503020204020204" pitchFamily="34" charset="-122"/>
                  <a:ea typeface="微软雅黑" panose="020B0503020204020204" pitchFamily="34" charset="-122"/>
                </a:rPr>
                <a:t>中使用基因激活技术生产的</a:t>
              </a:r>
              <a:r>
                <a:rPr lang="zh-CN" altLang="en-US" sz="1400" dirty="0">
                  <a:latin typeface="微软雅黑" panose="020B0503020204020204" pitchFamily="34" charset="-122"/>
                  <a:ea typeface="微软雅黑" panose="020B0503020204020204" pitchFamily="34" charset="-122"/>
                  <a:cs typeface="Arial" panose="020B0604020202020204" pitchFamily="34" charset="0"/>
                </a:rPr>
                <a:t>；而伊米苷酶采用传统的克隆技术，将修饰的基因插入</a:t>
              </a:r>
              <a:r>
                <a:rPr lang="zh-CN" altLang="en-US" sz="1400" b="1" dirty="0">
                  <a:solidFill>
                    <a:srgbClr val="C00000"/>
                  </a:solidFill>
                  <a:latin typeface="微软雅黑" panose="020B0503020204020204" pitchFamily="34" charset="-122"/>
                  <a:ea typeface="微软雅黑" panose="020B0503020204020204" pitchFamily="34" charset="-122"/>
                  <a:cs typeface="Arial" panose="020B0604020202020204" pitchFamily="34" charset="0"/>
                </a:rPr>
                <a:t>仓鼠卵巢细胞系</a:t>
              </a:r>
              <a:r>
                <a:rPr lang="zh-CN" altLang="en-US" sz="1400" dirty="0">
                  <a:latin typeface="微软雅黑" panose="020B0503020204020204" pitchFamily="34" charset="-122"/>
                  <a:ea typeface="微软雅黑" panose="020B0503020204020204" pitchFamily="34" charset="-122"/>
                  <a:cs typeface="Arial" panose="020B0604020202020204" pitchFamily="34" charset="0"/>
                </a:rPr>
                <a:t>中生产</a:t>
              </a:r>
              <a:endParaRPr lang="en-US" altLang="zh-CN" sz="1400" dirty="0">
                <a:latin typeface="微软雅黑" panose="020B0503020204020204" pitchFamily="34" charset="-122"/>
                <a:ea typeface="微软雅黑" panose="020B0503020204020204" pitchFamily="34" charset="-122"/>
                <a:cs typeface="Arial" panose="020B0604020202020204" pitchFamily="34" charset="0"/>
              </a:endParaRPr>
            </a:p>
            <a:p>
              <a:pPr marL="376237" lvl="0" indent="-285750" algn="just">
                <a:lnSpc>
                  <a:spcPct val="150000"/>
                </a:lnSpc>
                <a:spcBef>
                  <a:spcPts val="600"/>
                </a:spcBef>
                <a:spcAft>
                  <a:spcPts val="600"/>
                </a:spcAft>
                <a:buFont typeface="Wingdings" panose="05000000000000000000" pitchFamily="2" charset="2"/>
                <a:buChar char="l"/>
              </a:pPr>
              <a:r>
                <a:rPr lang="zh-CN" altLang="en-US" sz="1400" b="1" dirty="0">
                  <a:latin typeface="微软雅黑" panose="020B0503020204020204" pitchFamily="34" charset="-122"/>
                  <a:ea typeface="微软雅黑" panose="020B0503020204020204" pitchFamily="34" charset="-122"/>
                  <a:cs typeface="Arial" panose="020B0604020202020204" pitchFamily="34" charset="0"/>
                </a:rPr>
                <a:t>氨基酸序列</a:t>
              </a:r>
              <a:r>
                <a:rPr lang="zh-CN" altLang="en-US" sz="1400" dirty="0">
                  <a:latin typeface="微软雅黑" panose="020B0503020204020204" pitchFamily="34" charset="-122"/>
                  <a:ea typeface="微软雅黑" panose="020B0503020204020204" pitchFamily="34" charset="-122"/>
                  <a:cs typeface="Arial" panose="020B0604020202020204" pitchFamily="34" charset="0"/>
                </a:rPr>
                <a:t>：维拉苷酶</a:t>
              </a:r>
              <a:r>
                <a:rPr lang="en-US" altLang="zh-CN" sz="1400" dirty="0">
                  <a:latin typeface="微软雅黑" panose="020B0503020204020204" pitchFamily="34" charset="-122"/>
                  <a:ea typeface="微软雅黑" panose="020B0503020204020204" pitchFamily="34" charset="-122"/>
                  <a:cs typeface="Arial" panose="020B0604020202020204" pitchFamily="34" charset="0"/>
                </a:rPr>
                <a:t>α</a:t>
              </a:r>
              <a:r>
                <a:rPr lang="zh-CN" altLang="en-US" sz="1400" dirty="0">
                  <a:latin typeface="微软雅黑" panose="020B0503020204020204" pitchFamily="34" charset="-122"/>
                  <a:ea typeface="微软雅黑" panose="020B0503020204020204" pitchFamily="34" charset="-122"/>
                  <a:cs typeface="Arial" panose="020B0604020202020204" pitchFamily="34" charset="0"/>
                </a:rPr>
                <a:t>具有与天然人葡萄糖脑苷脂酶完全相同的氨基酸序列；而伊米苷酶的氨基酸序列在</a:t>
              </a:r>
              <a:r>
                <a:rPr lang="en-US" altLang="zh-CN" sz="1400" dirty="0">
                  <a:latin typeface="微软雅黑" panose="020B0503020204020204" pitchFamily="34" charset="-122"/>
                  <a:ea typeface="微软雅黑" panose="020B0503020204020204" pitchFamily="34" charset="-122"/>
                  <a:cs typeface="Arial" panose="020B0604020202020204" pitchFamily="34" charset="0"/>
                </a:rPr>
                <a:t>R495H</a:t>
              </a:r>
              <a:r>
                <a:rPr lang="zh-CN" altLang="en-US" sz="1400" dirty="0">
                  <a:latin typeface="微软雅黑" panose="020B0503020204020204" pitchFamily="34" charset="-122"/>
                  <a:ea typeface="微软雅黑" panose="020B0503020204020204" pitchFamily="34" charset="-122"/>
                  <a:cs typeface="Arial" panose="020B0604020202020204" pitchFamily="34" charset="0"/>
                </a:rPr>
                <a:t>位点上与天然人葡萄糖脑苷脂酶不同</a:t>
              </a:r>
              <a:endParaRPr lang="en-US" altLang="zh-CN" sz="1400" dirty="0">
                <a:latin typeface="微软雅黑" panose="020B0503020204020204" pitchFamily="34" charset="-122"/>
                <a:ea typeface="微软雅黑" panose="020B0503020204020204" pitchFamily="34" charset="-122"/>
                <a:cs typeface="Arial" panose="020B0604020202020204" pitchFamily="34" charset="0"/>
              </a:endParaRPr>
            </a:p>
          </p:txBody>
        </p:sp>
        <p:sp>
          <p:nvSpPr>
            <p:cNvPr id="99" name="文本框 98">
              <a:extLst>
                <a:ext uri="{FF2B5EF4-FFF2-40B4-BE49-F238E27FC236}">
                  <a16:creationId xmlns:a16="http://schemas.microsoft.com/office/drawing/2014/main" id="{99762656-BA3B-4F57-8233-52CC91F6A9AA}"/>
                </a:ext>
              </a:extLst>
            </p:cNvPr>
            <p:cNvSpPr txBox="1"/>
            <p:nvPr/>
          </p:nvSpPr>
          <p:spPr>
            <a:xfrm>
              <a:off x="330952" y="5778330"/>
              <a:ext cx="5422951" cy="706982"/>
            </a:xfrm>
            <a:prstGeom prst="rect">
              <a:avLst/>
            </a:prstGeom>
            <a:noFill/>
          </p:spPr>
          <p:txBody>
            <a:bodyPr wrap="square">
              <a:spAutoFit/>
            </a:bodyPr>
            <a:lstStyle/>
            <a:p>
              <a:pPr marL="376237" lvl="0" indent="-285750" algn="just">
                <a:lnSpc>
                  <a:spcPct val="150000"/>
                </a:lnSpc>
                <a:spcBef>
                  <a:spcPts val="600"/>
                </a:spcBef>
                <a:spcAft>
                  <a:spcPts val="600"/>
                </a:spcAft>
                <a:buFont typeface="Wingdings" panose="05000000000000000000" pitchFamily="2" charset="2"/>
                <a:buChar char="l"/>
              </a:pPr>
              <a:r>
                <a:rPr lang="zh-CN" altLang="en-US" sz="1400" b="1" dirty="0">
                  <a:latin typeface="微软雅黑" panose="020B0503020204020204" pitchFamily="34" charset="-122"/>
                  <a:ea typeface="微软雅黑" panose="020B0503020204020204" pitchFamily="34" charset="-122"/>
                  <a:cs typeface="Arial" panose="020B0604020202020204" pitchFamily="34" charset="0"/>
                </a:rPr>
                <a:t>分子结构：</a:t>
              </a:r>
              <a:r>
                <a:rPr lang="zh-CN" altLang="en-US" sz="1400" dirty="0">
                  <a:solidFill>
                    <a:srgbClr val="1A1918"/>
                  </a:solidFill>
                  <a:latin typeface="微软雅黑" panose="020B0503020204020204" pitchFamily="34" charset="-122"/>
                  <a:ea typeface="微软雅黑" panose="020B0503020204020204" pitchFamily="34" charset="-122"/>
                </a:rPr>
                <a:t>晶体结构中高甘露糖型聚糖链更长，对巨噬细胞甘露糖受体亲和力更高</a:t>
              </a:r>
              <a:endParaRPr lang="en-US" altLang="zh-CN" sz="1400" baseline="30000" dirty="0">
                <a:latin typeface="微软雅黑" panose="020B0503020204020204" pitchFamily="34" charset="-122"/>
                <a:ea typeface="微软雅黑" panose="020B0503020204020204" pitchFamily="34" charset="-122"/>
                <a:cs typeface="Arial" panose="020B0604020202020204" pitchFamily="34" charset="0"/>
              </a:endParaRPr>
            </a:p>
          </p:txBody>
        </p:sp>
        <p:sp>
          <p:nvSpPr>
            <p:cNvPr id="124" name="矩形: 圆角 123">
              <a:extLst>
                <a:ext uri="{FF2B5EF4-FFF2-40B4-BE49-F238E27FC236}">
                  <a16:creationId xmlns:a16="http://schemas.microsoft.com/office/drawing/2014/main" id="{AA0AC2CB-304C-EF8A-47C0-FC0FDF05C1F0}"/>
                </a:ext>
              </a:extLst>
            </p:cNvPr>
            <p:cNvSpPr/>
            <p:nvPr/>
          </p:nvSpPr>
          <p:spPr>
            <a:xfrm>
              <a:off x="455096" y="1395627"/>
              <a:ext cx="5472239" cy="5116582"/>
            </a:xfrm>
            <a:prstGeom prst="roundRect">
              <a:avLst>
                <a:gd name="adj" fmla="val 0"/>
              </a:avLst>
            </a:prstGeom>
            <a:noFill/>
            <a:ln w="19050">
              <a:solidFill>
                <a:schemeClr val="accent2"/>
              </a:soli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wrap="none" rtlCol="0" anchor="ctr"/>
            <a:lstStyle/>
            <a:p>
              <a:pPr algn="ctr"/>
              <a:endParaRPr kumimoji="1" lang="zh-CN" altLang="en-US" dirty="0">
                <a:latin typeface="Arial" panose="020B0604020202020204" pitchFamily="34" charset="0"/>
                <a:ea typeface="微软雅黑" panose="020B0503020204020204" pitchFamily="34" charset="-122"/>
              </a:endParaRPr>
            </a:p>
          </p:txBody>
        </p:sp>
        <p:sp>
          <p:nvSpPr>
            <p:cNvPr id="125" name="矩形 124">
              <a:extLst>
                <a:ext uri="{FF2B5EF4-FFF2-40B4-BE49-F238E27FC236}">
                  <a16:creationId xmlns:a16="http://schemas.microsoft.com/office/drawing/2014/main" id="{BD60F537-BDDB-6936-E30C-9E231DF2D842}"/>
                </a:ext>
              </a:extLst>
            </p:cNvPr>
            <p:cNvSpPr/>
            <p:nvPr/>
          </p:nvSpPr>
          <p:spPr>
            <a:xfrm>
              <a:off x="460760" y="1384183"/>
              <a:ext cx="5472238" cy="363292"/>
            </a:xfrm>
            <a:prstGeom prst="rect">
              <a:avLst/>
            </a:prstGeom>
            <a:solidFill>
              <a:schemeClr val="accent2">
                <a:lumMod val="75000"/>
              </a:schemeClr>
            </a:solidFill>
            <a:ln w="28575">
              <a:noFill/>
            </a:ln>
          </p:spPr>
          <p:style>
            <a:lnRef idx="1">
              <a:schemeClr val="accent1"/>
            </a:lnRef>
            <a:fillRef idx="0">
              <a:schemeClr val="accent1"/>
            </a:fillRef>
            <a:effectRef idx="0">
              <a:schemeClr val="accent1"/>
            </a:effectRef>
            <a:fontRef idx="minor">
              <a:schemeClr val="tx1"/>
            </a:fontRef>
          </p:style>
          <p:txBody>
            <a:bodyPr wrap="none" rtlCol="0" anchor="ctr"/>
            <a:lstStyle/>
            <a:p>
              <a:pPr algn="ctr"/>
              <a:r>
                <a:rPr kumimoji="1" lang="zh-CN" altLang="en-US" sz="1600" b="1" dirty="0">
                  <a:solidFill>
                    <a:schemeClr val="bg1"/>
                  </a:solidFill>
                  <a:latin typeface="Arial" panose="020B0604020202020204" pitchFamily="34" charset="0"/>
                  <a:ea typeface="微软雅黑" panose="020B0503020204020204" pitchFamily="34" charset="-122"/>
                </a:rPr>
                <a:t>独特创新（注册分类</a:t>
              </a:r>
              <a:r>
                <a:rPr kumimoji="1" lang="en-US" altLang="zh-CN" sz="1600" b="1" dirty="0">
                  <a:solidFill>
                    <a:schemeClr val="bg1"/>
                  </a:solidFill>
                  <a:latin typeface="Arial" panose="020B0604020202020204" pitchFamily="34" charset="0"/>
                  <a:ea typeface="微软雅黑" panose="020B0503020204020204" pitchFamily="34" charset="-122"/>
                </a:rPr>
                <a:t>: </a:t>
              </a:r>
              <a:r>
                <a:rPr kumimoji="1" lang="zh-CN" altLang="en-US" sz="1600" b="1" dirty="0">
                  <a:solidFill>
                    <a:schemeClr val="bg1"/>
                  </a:solidFill>
                  <a:latin typeface="Arial" panose="020B0604020202020204" pitchFamily="34" charset="0"/>
                  <a:ea typeface="微软雅黑" panose="020B0503020204020204" pitchFamily="34" charset="-122"/>
                </a:rPr>
                <a:t>治疗用生物制品</a:t>
              </a:r>
              <a:r>
                <a:rPr kumimoji="1" lang="en-US" altLang="zh-CN" sz="1600" b="1" dirty="0">
                  <a:solidFill>
                    <a:schemeClr val="bg1"/>
                  </a:solidFill>
                  <a:latin typeface="Arial" panose="020B0604020202020204" pitchFamily="34" charset="0"/>
                  <a:ea typeface="微软雅黑" panose="020B0503020204020204" pitchFamily="34" charset="-122"/>
                </a:rPr>
                <a:t>3.1</a:t>
              </a:r>
              <a:r>
                <a:rPr kumimoji="1" lang="zh-CN" altLang="en-US" sz="1600" b="1" dirty="0">
                  <a:solidFill>
                    <a:schemeClr val="bg1"/>
                  </a:solidFill>
                  <a:latin typeface="Arial" panose="020B0604020202020204" pitchFamily="34" charset="0"/>
                  <a:ea typeface="微软雅黑" panose="020B0503020204020204" pitchFamily="34" charset="-122"/>
                </a:rPr>
                <a:t>类）</a:t>
              </a:r>
            </a:p>
          </p:txBody>
        </p:sp>
        <p:grpSp>
          <p:nvGrpSpPr>
            <p:cNvPr id="150" name="组合 149">
              <a:extLst>
                <a:ext uri="{FF2B5EF4-FFF2-40B4-BE49-F238E27FC236}">
                  <a16:creationId xmlns:a16="http://schemas.microsoft.com/office/drawing/2014/main" id="{8AF05248-BCC7-C3A3-A913-B99E08792956}"/>
                </a:ext>
              </a:extLst>
            </p:cNvPr>
            <p:cNvGrpSpPr/>
            <p:nvPr/>
          </p:nvGrpSpPr>
          <p:grpSpPr>
            <a:xfrm>
              <a:off x="1882875" y="3971245"/>
              <a:ext cx="2711223" cy="1750666"/>
              <a:chOff x="1726635" y="3993424"/>
              <a:chExt cx="2711223" cy="2034916"/>
            </a:xfrm>
          </p:grpSpPr>
          <p:sp>
            <p:nvSpPr>
              <p:cNvPr id="141" name="文本框 140">
                <a:extLst>
                  <a:ext uri="{FF2B5EF4-FFF2-40B4-BE49-F238E27FC236}">
                    <a16:creationId xmlns:a16="http://schemas.microsoft.com/office/drawing/2014/main" id="{70E67151-AA6E-FE88-A5D7-6385F51885D4}"/>
                  </a:ext>
                </a:extLst>
              </p:cNvPr>
              <p:cNvSpPr txBox="1"/>
              <p:nvPr/>
            </p:nvSpPr>
            <p:spPr>
              <a:xfrm>
                <a:off x="1789331" y="3993424"/>
                <a:ext cx="2648527" cy="261610"/>
              </a:xfrm>
              <a:prstGeom prst="rect">
                <a:avLst/>
              </a:prstGeom>
              <a:noFill/>
            </p:spPr>
            <p:txBody>
              <a:bodyPr wrap="square">
                <a:spAutoFit/>
              </a:bodyPr>
              <a:lstStyle/>
              <a:p>
                <a:pPr algn="ctr"/>
                <a:r>
                  <a:rPr lang="zh-CN" altLang="en-US" sz="1100" b="1" i="0" u="sng" strike="noStrike" baseline="0" dirty="0">
                    <a:solidFill>
                      <a:srgbClr val="1A1918"/>
                    </a:solidFill>
                    <a:latin typeface="Arial" panose="020B0604020202020204" pitchFamily="34" charset="0"/>
                    <a:ea typeface="微软雅黑" panose="020B0503020204020204" pitchFamily="34" charset="-122"/>
                  </a:rPr>
                  <a:t>体外研究数据中的酶结构图比较</a:t>
                </a:r>
                <a:r>
                  <a:rPr lang="en-US" altLang="zh-CN" sz="1100" b="1" i="0" u="sng" strike="noStrike" baseline="30000" dirty="0">
                    <a:solidFill>
                      <a:srgbClr val="1A1918"/>
                    </a:solidFill>
                    <a:latin typeface="Arial" panose="020B0604020202020204" pitchFamily="34" charset="0"/>
                    <a:ea typeface="微软雅黑" panose="020B0503020204020204" pitchFamily="34" charset="-122"/>
                  </a:rPr>
                  <a:t>2</a:t>
                </a:r>
                <a:endParaRPr lang="en-US" sz="1100" b="1" u="sng" baseline="30000" dirty="0">
                  <a:solidFill>
                    <a:srgbClr val="1A1918"/>
                  </a:solidFill>
                  <a:latin typeface="Arial" panose="020B0604020202020204" pitchFamily="34" charset="0"/>
                  <a:ea typeface="微软雅黑" panose="020B0503020204020204" pitchFamily="34" charset="-122"/>
                </a:endParaRPr>
              </a:p>
            </p:txBody>
          </p:sp>
          <p:grpSp>
            <p:nvGrpSpPr>
              <p:cNvPr id="142" name="组合 141">
                <a:extLst>
                  <a:ext uri="{FF2B5EF4-FFF2-40B4-BE49-F238E27FC236}">
                    <a16:creationId xmlns:a16="http://schemas.microsoft.com/office/drawing/2014/main" id="{651E7D27-6542-90A5-FBB6-0E0D0777F449}"/>
                  </a:ext>
                </a:extLst>
              </p:cNvPr>
              <p:cNvGrpSpPr/>
              <p:nvPr/>
            </p:nvGrpSpPr>
            <p:grpSpPr>
              <a:xfrm>
                <a:off x="1726635" y="4287799"/>
                <a:ext cx="2711222" cy="1740541"/>
                <a:chOff x="2818811" y="1990046"/>
                <a:chExt cx="2711222" cy="1740541"/>
              </a:xfrm>
            </p:grpSpPr>
            <p:grpSp>
              <p:nvGrpSpPr>
                <p:cNvPr id="143" name="组合 142">
                  <a:extLst>
                    <a:ext uri="{FF2B5EF4-FFF2-40B4-BE49-F238E27FC236}">
                      <a16:creationId xmlns:a16="http://schemas.microsoft.com/office/drawing/2014/main" id="{09B4D6C4-CD1E-94B8-E735-51B9EBD0471E}"/>
                    </a:ext>
                  </a:extLst>
                </p:cNvPr>
                <p:cNvGrpSpPr/>
                <p:nvPr/>
              </p:nvGrpSpPr>
              <p:grpSpPr>
                <a:xfrm>
                  <a:off x="2881507" y="1990046"/>
                  <a:ext cx="2648526" cy="1740541"/>
                  <a:chOff x="4668699" y="1306024"/>
                  <a:chExt cx="3961194" cy="3059205"/>
                </a:xfrm>
                <a:effectLst>
                  <a:outerShdw blurRad="50800" dist="38100" dir="2700000" algn="tl" rotWithShape="0">
                    <a:prstClr val="black">
                      <a:alpha val="40000"/>
                    </a:prstClr>
                  </a:outerShdw>
                </a:effectLst>
              </p:grpSpPr>
              <p:sp>
                <p:nvSpPr>
                  <p:cNvPr id="146" name="Rounded Rectangle 18">
                    <a:extLst>
                      <a:ext uri="{FF2B5EF4-FFF2-40B4-BE49-F238E27FC236}">
                        <a16:creationId xmlns:a16="http://schemas.microsoft.com/office/drawing/2014/main" id="{027266A8-9F4D-C4C7-0B14-91A3270A4880}"/>
                      </a:ext>
                    </a:extLst>
                  </p:cNvPr>
                  <p:cNvSpPr/>
                  <p:nvPr/>
                </p:nvSpPr>
                <p:spPr>
                  <a:xfrm>
                    <a:off x="4669893" y="1306024"/>
                    <a:ext cx="1908000" cy="614666"/>
                  </a:xfrm>
                  <a:prstGeom prst="rect">
                    <a:avLst/>
                  </a:prstGeom>
                  <a:solidFill>
                    <a:schemeClr val="bg1">
                      <a:lumMod val="50000"/>
                    </a:schemeClr>
                  </a:solidFill>
                  <a:ln w="9525">
                    <a:noFill/>
                    <a:miter lim="800000"/>
                  </a:ln>
                  <a:effectLst/>
                </p:spPr>
                <p:txBody>
                  <a:bodyPr wrap="square" lIns="36000" tIns="36000" rIns="36000" bIns="36000" anchor="ctr" anchorCtr="0">
                    <a:noAutofit/>
                  </a:bodyPr>
                  <a:lstStyle/>
                  <a:p>
                    <a:pPr algn="ctr" rtl="0"/>
                    <a:r>
                      <a:rPr lang="zh-CN" altLang="en-US" sz="1100" b="1" dirty="0">
                        <a:solidFill>
                          <a:schemeClr val="bg1"/>
                        </a:solidFill>
                        <a:latin typeface="微软雅黑" panose="020B0503020204020204" pitchFamily="34" charset="-122"/>
                        <a:ea typeface="微软雅黑" panose="020B0503020204020204" pitchFamily="34" charset="-122"/>
                        <a:sym typeface="微软雅黑" panose="020B0503020204020204" pitchFamily="34" charset="-122"/>
                      </a:rPr>
                      <a:t>葡萄糖脑苷脂酶</a:t>
                    </a:r>
                  </a:p>
                </p:txBody>
              </p:sp>
              <p:pic>
                <p:nvPicPr>
                  <p:cNvPr id="147" name="Picture 2">
                    <a:extLst>
                      <a:ext uri="{FF2B5EF4-FFF2-40B4-BE49-F238E27FC236}">
                        <a16:creationId xmlns:a16="http://schemas.microsoft.com/office/drawing/2014/main" id="{04E7D015-2488-5802-262D-67AD323820B3}"/>
                      </a:ext>
                    </a:extLst>
                  </p:cNvPr>
                  <p:cNvPicPr>
                    <a:picLocks noChangeAspect="1" noChangeArrowheads="1"/>
                  </p:cNvPicPr>
                  <p:nvPr/>
                </p:nvPicPr>
                <p:blipFill rotWithShape="1">
                  <a:blip r:embed="rId7" cstate="print">
                    <a:extLst>
                      <a:ext uri="{28A0092B-C50C-407E-A947-70E740481C1C}">
                        <a14:useLocalDpi xmlns:a14="http://schemas.microsoft.com/office/drawing/2010/main" val="0"/>
                      </a:ext>
                    </a:extLst>
                  </a:blip>
                  <a:srcRect l="18410" r="11605"/>
                  <a:stretch>
                    <a:fillRect/>
                  </a:stretch>
                </p:blipFill>
                <p:spPr bwMode="auto">
                  <a:xfrm>
                    <a:off x="4668699" y="2006297"/>
                    <a:ext cx="1908000" cy="235893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48" name="Rounded Rectangle 18">
                    <a:extLst>
                      <a:ext uri="{FF2B5EF4-FFF2-40B4-BE49-F238E27FC236}">
                        <a16:creationId xmlns:a16="http://schemas.microsoft.com/office/drawing/2014/main" id="{72DFC224-7A19-FBA1-EFE2-08D7FD2AE1C6}"/>
                      </a:ext>
                    </a:extLst>
                  </p:cNvPr>
                  <p:cNvSpPr/>
                  <p:nvPr/>
                </p:nvSpPr>
                <p:spPr>
                  <a:xfrm>
                    <a:off x="6721893" y="1306024"/>
                    <a:ext cx="1908000" cy="614666"/>
                  </a:xfrm>
                  <a:prstGeom prst="rect">
                    <a:avLst/>
                  </a:prstGeom>
                  <a:solidFill>
                    <a:schemeClr val="bg1">
                      <a:lumMod val="50000"/>
                    </a:schemeClr>
                  </a:solidFill>
                  <a:ln w="9525">
                    <a:noFill/>
                    <a:miter lim="800000"/>
                  </a:ln>
                  <a:effectLst/>
                </p:spPr>
                <p:txBody>
                  <a:bodyPr wrap="square" lIns="36000" tIns="36000" rIns="36000" bIns="36000" anchor="ctr" anchorCtr="0">
                    <a:noAutofit/>
                  </a:bodyPr>
                  <a:lstStyle/>
                  <a:p>
                    <a:pPr algn="ctr" rtl="0"/>
                    <a:r>
                      <a:rPr lang="zh-CN" altLang="en-US" sz="1100" b="1" dirty="0">
                        <a:solidFill>
                          <a:schemeClr val="bg1"/>
                        </a:solidFill>
                        <a:latin typeface="微软雅黑" panose="020B0503020204020204" pitchFamily="34" charset="-122"/>
                        <a:ea typeface="微软雅黑" panose="020B0503020204020204" pitchFamily="34" charset="-122"/>
                        <a:sym typeface="微软雅黑" panose="020B0503020204020204" pitchFamily="34" charset="-122"/>
                      </a:rPr>
                      <a:t>维拉苷酶</a:t>
                    </a:r>
                    <a:r>
                      <a:rPr lang="el-GR" altLang="zh-CN" sz="1100" b="1" dirty="0">
                        <a:solidFill>
                          <a:schemeClr val="bg1"/>
                        </a:solidFill>
                        <a:latin typeface="微软雅黑" panose="020B0503020204020204" pitchFamily="34" charset="-122"/>
                        <a:ea typeface="微软雅黑" panose="020B0503020204020204" pitchFamily="34" charset="-122"/>
                        <a:sym typeface="微软雅黑" panose="020B0503020204020204" pitchFamily="34" charset="-122"/>
                      </a:rPr>
                      <a:t>α </a:t>
                    </a:r>
                  </a:p>
                </p:txBody>
              </p:sp>
              <p:pic>
                <p:nvPicPr>
                  <p:cNvPr id="149" name="Picture 2">
                    <a:extLst>
                      <a:ext uri="{FF2B5EF4-FFF2-40B4-BE49-F238E27FC236}">
                        <a16:creationId xmlns:a16="http://schemas.microsoft.com/office/drawing/2014/main" id="{7D740C1D-2E3A-FD1A-EB55-329F3947244E}"/>
                      </a:ext>
                    </a:extLst>
                  </p:cNvPr>
                  <p:cNvPicPr>
                    <a:picLocks noChangeAspect="1" noChangeArrowheads="1"/>
                  </p:cNvPicPr>
                  <p:nvPr/>
                </p:nvPicPr>
                <p:blipFill rotWithShape="1">
                  <a:blip r:embed="rId7" cstate="print">
                    <a:extLst>
                      <a:ext uri="{28A0092B-C50C-407E-A947-70E740481C1C}">
                        <a14:useLocalDpi xmlns:a14="http://schemas.microsoft.com/office/drawing/2010/main" val="0"/>
                      </a:ext>
                    </a:extLst>
                  </a:blip>
                  <a:srcRect l="18410" r="11605"/>
                  <a:stretch>
                    <a:fillRect/>
                  </a:stretch>
                </p:blipFill>
                <p:spPr bwMode="auto">
                  <a:xfrm>
                    <a:off x="6721893" y="2006297"/>
                    <a:ext cx="1908000" cy="235893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sp>
              <p:nvSpPr>
                <p:cNvPr id="144" name="Rectangle 35">
                  <a:extLst>
                    <a:ext uri="{FF2B5EF4-FFF2-40B4-BE49-F238E27FC236}">
                      <a16:creationId xmlns:a16="http://schemas.microsoft.com/office/drawing/2014/main" id="{B78BCFE3-7732-DE83-7A23-2149CDEE65D0}"/>
                    </a:ext>
                  </a:extLst>
                </p:cNvPr>
                <p:cNvSpPr/>
                <p:nvPr/>
              </p:nvSpPr>
              <p:spPr>
                <a:xfrm>
                  <a:off x="4225688" y="2359728"/>
                  <a:ext cx="822190" cy="261610"/>
                </a:xfrm>
                <a:prstGeom prst="rect">
                  <a:avLst/>
                </a:prstGeom>
              </p:spPr>
              <p:txBody>
                <a:bodyPr wrap="square">
                  <a:spAutoFit/>
                </a:bodyPr>
                <a:lstStyle/>
                <a:p>
                  <a:r>
                    <a:rPr lang="zh-CN" altLang="en-US" sz="1100" b="1" dirty="0">
                      <a:solidFill>
                        <a:schemeClr val="accent2"/>
                      </a:solidFill>
                      <a:latin typeface="Arial" panose="020B0604020202020204" pitchFamily="34" charset="0"/>
                      <a:ea typeface="微软雅黑" panose="020B0503020204020204" pitchFamily="34" charset="-122"/>
                    </a:rPr>
                    <a:t>全人源</a:t>
                  </a:r>
                  <a:endParaRPr lang="en-US" altLang="zh-CN" sz="1100" b="1" dirty="0">
                    <a:solidFill>
                      <a:schemeClr val="accent2"/>
                    </a:solidFill>
                    <a:latin typeface="Arial" panose="020B0604020202020204" pitchFamily="34" charset="0"/>
                    <a:ea typeface="微软雅黑" panose="020B0503020204020204" pitchFamily="34" charset="-122"/>
                  </a:endParaRPr>
                </a:p>
              </p:txBody>
            </p:sp>
            <p:sp>
              <p:nvSpPr>
                <p:cNvPr id="145" name="Rectangle 35">
                  <a:extLst>
                    <a:ext uri="{FF2B5EF4-FFF2-40B4-BE49-F238E27FC236}">
                      <a16:creationId xmlns:a16="http://schemas.microsoft.com/office/drawing/2014/main" id="{C9E586F5-BFEF-1986-A150-23020AF00217}"/>
                    </a:ext>
                  </a:extLst>
                </p:cNvPr>
                <p:cNvSpPr/>
                <p:nvPr/>
              </p:nvSpPr>
              <p:spPr>
                <a:xfrm>
                  <a:off x="2818811" y="2359728"/>
                  <a:ext cx="759341" cy="261610"/>
                </a:xfrm>
                <a:prstGeom prst="rect">
                  <a:avLst/>
                </a:prstGeom>
              </p:spPr>
              <p:txBody>
                <a:bodyPr wrap="square">
                  <a:spAutoFit/>
                </a:bodyPr>
                <a:lstStyle/>
                <a:p>
                  <a:r>
                    <a:rPr lang="zh-CN" altLang="en-US" sz="1100" b="1" dirty="0">
                      <a:solidFill>
                        <a:schemeClr val="accent2"/>
                      </a:solidFill>
                      <a:latin typeface="Arial" panose="020B0604020202020204" pitchFamily="34" charset="0"/>
                      <a:ea typeface="微软雅黑" panose="020B0503020204020204" pitchFamily="34" charset="-122"/>
                    </a:rPr>
                    <a:t>人体内</a:t>
                  </a:r>
                  <a:endParaRPr lang="en-US" altLang="zh-CN" sz="1100" b="1" dirty="0">
                    <a:solidFill>
                      <a:schemeClr val="accent2"/>
                    </a:solidFill>
                    <a:latin typeface="Arial" panose="020B0604020202020204" pitchFamily="34" charset="0"/>
                    <a:ea typeface="微软雅黑" panose="020B0503020204020204" pitchFamily="34" charset="-122"/>
                  </a:endParaRPr>
                </a:p>
              </p:txBody>
            </p:sp>
          </p:grpSp>
        </p:grpSp>
      </p:grpSp>
      <p:sp>
        <p:nvSpPr>
          <p:cNvPr id="155" name="文本框 154">
            <a:extLst>
              <a:ext uri="{FF2B5EF4-FFF2-40B4-BE49-F238E27FC236}">
                <a16:creationId xmlns:a16="http://schemas.microsoft.com/office/drawing/2014/main" id="{AD2B6DFE-B08A-4FAE-6600-20D27BC81E25}"/>
              </a:ext>
            </a:extLst>
          </p:cNvPr>
          <p:cNvSpPr txBox="1"/>
          <p:nvPr/>
        </p:nvSpPr>
        <p:spPr>
          <a:xfrm>
            <a:off x="500154" y="6646341"/>
            <a:ext cx="11391809" cy="184666"/>
          </a:xfrm>
          <a:prstGeom prst="rect">
            <a:avLst/>
          </a:prstGeom>
          <a:noFill/>
        </p:spPr>
        <p:txBody>
          <a:bodyPr wrap="square">
            <a:spAutoFit/>
          </a:bodyPr>
          <a:lstStyle/>
          <a:p>
            <a:r>
              <a:rPr lang="zh-CN" altLang="en-US" sz="600" dirty="0">
                <a:latin typeface="Arial" panose="020B0604020202020204" pitchFamily="34" charset="0"/>
                <a:ea typeface="微软雅黑" panose="020B0503020204020204" pitchFamily="34" charset="-122"/>
              </a:rPr>
              <a:t>参考文献：</a:t>
            </a:r>
            <a:r>
              <a:rPr lang="en-US" sz="600" dirty="0">
                <a:latin typeface="Arial" panose="020B0604020202020204" pitchFamily="34" charset="0"/>
                <a:ea typeface="微软雅黑" panose="020B0503020204020204" pitchFamily="34" charset="-122"/>
              </a:rPr>
              <a:t>1.</a:t>
            </a:r>
            <a:r>
              <a:rPr lang="da-DK" altLang="zh-CN" sz="600" dirty="0">
                <a:latin typeface="Arial" panose="020B0604020202020204" pitchFamily="34" charset="0"/>
                <a:ea typeface="微软雅黑" panose="020B0503020204020204" pitchFamily="34" charset="-122"/>
              </a:rPr>
              <a:t> </a:t>
            </a:r>
            <a:r>
              <a:rPr lang="da-DK" altLang="zh-CN" sz="600" dirty="0" err="1">
                <a:latin typeface="Arial" panose="020B0604020202020204" pitchFamily="34" charset="0"/>
                <a:ea typeface="微软雅黑" panose="020B0503020204020204" pitchFamily="34" charset="-122"/>
              </a:rPr>
              <a:t>Revel-VilkS</a:t>
            </a:r>
            <a:r>
              <a:rPr lang="da-DK" altLang="zh-CN" sz="600" dirty="0">
                <a:latin typeface="Arial" panose="020B0604020202020204" pitchFamily="34" charset="0"/>
                <a:ea typeface="微软雅黑" panose="020B0503020204020204" pitchFamily="34" charset="-122"/>
              </a:rPr>
              <a:t>, et al. Br J </a:t>
            </a:r>
            <a:r>
              <a:rPr lang="da-DK" altLang="zh-CN" sz="600" dirty="0" err="1">
                <a:latin typeface="Arial" panose="020B0604020202020204" pitchFamily="34" charset="0"/>
                <a:ea typeface="微软雅黑" panose="020B0503020204020204" pitchFamily="34" charset="-122"/>
              </a:rPr>
              <a:t>Haematol</a:t>
            </a:r>
            <a:r>
              <a:rPr lang="da-DK" altLang="zh-CN" sz="600" dirty="0">
                <a:latin typeface="Arial" panose="020B0604020202020204" pitchFamily="34" charset="0"/>
                <a:ea typeface="微软雅黑" panose="020B0503020204020204" pitchFamily="34" charset="-122"/>
              </a:rPr>
              <a:t>. 2018;182(4):467-480.; 2. </a:t>
            </a:r>
            <a:r>
              <a:rPr lang="pt-BR" altLang="zh-CN" sz="600" dirty="0" err="1">
                <a:latin typeface="Arial" panose="020B0604020202020204" pitchFamily="34" charset="0"/>
                <a:ea typeface="微软雅黑" panose="020B0503020204020204" pitchFamily="34" charset="-122"/>
              </a:rPr>
              <a:t>Dvir</a:t>
            </a:r>
            <a:r>
              <a:rPr lang="pt-BR" altLang="zh-CN" sz="600" dirty="0">
                <a:latin typeface="Arial" panose="020B0604020202020204" pitchFamily="34" charset="0"/>
                <a:ea typeface="微软雅黑" panose="020B0503020204020204" pitchFamily="34" charset="-122"/>
              </a:rPr>
              <a:t> H, et al. EMBO Rep 2003;4(7):704–9.; 3. </a:t>
            </a:r>
            <a:r>
              <a:rPr kumimoji="1" lang="en-US" altLang="zh-CN" sz="600" dirty="0" err="1">
                <a:solidFill>
                  <a:srgbClr val="1A1918"/>
                </a:solidFill>
                <a:latin typeface="Arial" panose="020B0604020202020204" pitchFamily="34" charset="0"/>
                <a:ea typeface="微软雅黑" panose="020B0503020204020204" pitchFamily="34" charset="-122"/>
              </a:rPr>
              <a:t>Brumshtein</a:t>
            </a:r>
            <a:r>
              <a:rPr kumimoji="1" lang="en-US" altLang="zh-CN" sz="600" dirty="0">
                <a:solidFill>
                  <a:srgbClr val="1A1918"/>
                </a:solidFill>
                <a:latin typeface="Arial" panose="020B0604020202020204" pitchFamily="34" charset="0"/>
                <a:ea typeface="微软雅黑" panose="020B0503020204020204" pitchFamily="34" charset="-122"/>
              </a:rPr>
              <a:t> B, et al. Glycobiology 2010;20(1):24–32.</a:t>
            </a:r>
            <a:r>
              <a:rPr lang="en-US" altLang="zh-CN" sz="600" dirty="0">
                <a:latin typeface="Arial" panose="020B0604020202020204" pitchFamily="34" charset="0"/>
                <a:ea typeface="微软雅黑" panose="020B0503020204020204" pitchFamily="34" charset="-122"/>
              </a:rPr>
              <a:t> </a:t>
            </a:r>
            <a:endParaRPr lang="zh-CN" altLang="en-US" sz="600" dirty="0">
              <a:latin typeface="Arial" panose="020B0604020202020204" pitchFamily="34" charset="0"/>
              <a:ea typeface="微软雅黑" panose="020B0503020204020204" pitchFamily="34" charset="-122"/>
            </a:endParaRPr>
          </a:p>
        </p:txBody>
      </p:sp>
    </p:spTree>
    <p:extLst>
      <p:ext uri="{BB962C8B-B14F-4D97-AF65-F5344CB8AC3E}">
        <p14:creationId xmlns:p14="http://schemas.microsoft.com/office/powerpoint/2010/main" val="513165850"/>
      </p:ext>
    </p:extLst>
  </p:cSld>
  <p:clrMapOvr>
    <a:masterClrMapping/>
  </p:clrMapOvr>
  <p:transition spd="slow">
    <p:push dir="u"/>
  </p:transition>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7037&quot;&gt;&lt;version val=&quot;32900&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Day&gt;&lt;m_yearfmt&gt;&lt;begin val=&quot;0&quot;/&gt;&lt;end val=&quot;4&quot;/&gt;&lt;/m_yearfmt&gt;&lt;/m_precDefaultDay&gt;&lt;m_precDefaultWeek&gt;&lt;m_yearfmt&gt;&lt;begin val=&quot;0&quot;/&gt;&lt;end val=&quot;4&quot;/&gt;&lt;/m_yearfmt&gt;&lt;/m_precDefaultWeek&gt;&lt;m_precDefaultMonth&gt;&lt;m_yearfmt&gt;&lt;begin val=&quot;0&quot;/&gt;&lt;end val=&quot;4&quot;/&gt;&lt;/m_yearfmt&gt;&lt;/m_precDefaultMonth&gt;&lt;m_precDefaultQuarter&gt;&lt;m_yearfmt&gt;&lt;begin val=&quot;0&quot;/&gt;&lt;end val=&quot;4&quot;/&gt;&lt;/m_yearfmt&gt;&lt;/m_precDefaultQuarter&gt;&lt;m_precDefaultYear&gt;&lt;m_yearfmt&gt;&lt;begin val=&quot;0&quot;/&gt;&lt;end val=&quot;4&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0&quot;/&gt;&lt;/m_mruColor&gt;&lt;m_eweekdayFirstOfWeek val=&quot;2&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CMdtSejGNFskfoszYHdwB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CMdtSejGNFskfoszYHdwB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CMdtSejGNFskfoszYHdwB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CMdtSejGNFskfoszYHdwB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CMdtSejGNFskfoszYHdwB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91s2wmrLno._6pCV7LnEi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CMdtSejGNFskfoszYHdwB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CMdtSejGNFskfoszYHdwB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Takeda Slide Master">
  <a:themeElements>
    <a:clrScheme name="Takeda 2021">
      <a:dk1>
        <a:srgbClr val="34373F"/>
      </a:dk1>
      <a:lt1>
        <a:srgbClr val="FFFFFF"/>
      </a:lt1>
      <a:dk2>
        <a:srgbClr val="34373F"/>
      </a:dk2>
      <a:lt2>
        <a:srgbClr val="FFFFFF"/>
      </a:lt2>
      <a:accent1>
        <a:srgbClr val="E1242A"/>
      </a:accent1>
      <a:accent2>
        <a:srgbClr val="891515"/>
      </a:accent2>
      <a:accent3>
        <a:srgbClr val="34373F"/>
      </a:accent3>
      <a:accent4>
        <a:srgbClr val="A1A4AC"/>
      </a:accent4>
      <a:accent5>
        <a:srgbClr val="EDF2F4"/>
      </a:accent5>
      <a:accent6>
        <a:srgbClr val="FFFFFF"/>
      </a:accent6>
      <a:hlink>
        <a:srgbClr val="34373F"/>
      </a:hlink>
      <a:folHlink>
        <a:srgbClr val="34373F"/>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28575">
          <a:noFill/>
        </a:ln>
      </a:spPr>
      <a:bodyPr wrap="none" rtlCol="0" anchor="ctr"/>
      <a:lstStyle>
        <a:defPPr algn="ctr">
          <a:defRPr kumimoji="1" dirty="0"/>
        </a:defPPr>
      </a:lstStyle>
      <a:style>
        <a:lnRef idx="1">
          <a:schemeClr val="accent1"/>
        </a:lnRef>
        <a:fillRef idx="0">
          <a:schemeClr val="accent1"/>
        </a:fillRef>
        <a:effectRef idx="0">
          <a:schemeClr val="accent1"/>
        </a:effectRef>
        <a:fontRef idx="minor">
          <a:schemeClr val="tx1"/>
        </a:fontRef>
      </a:style>
    </a:spDef>
  </a:objectDefaults>
  <a:extraClrSchemeLst/>
  <a:extLst>
    <a:ext uri="{05A4C25C-085E-4340-85A3-A5531E510DB2}">
      <thm15:themeFamily xmlns:thm15="http://schemas.microsoft.com/office/thememl/2012/main" name="Takeda_Slide_Template_EN_v2021.pptx  -  Read-Only" id="{4D7F2B62-39F3-45C2-87FE-0ED37DE4A081}" vid="{51788A9A-1DEA-4E9D-BCB3-CA5139AC34B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6E788AB4271D2F4B82540158621652FA" ma:contentTypeVersion="13" ma:contentTypeDescription="Create a new document." ma:contentTypeScope="" ma:versionID="841054a330d1441e23e9b56358b486a2">
  <xsd:schema xmlns:xsd="http://www.w3.org/2001/XMLSchema" xmlns:xs="http://www.w3.org/2001/XMLSchema" xmlns:p="http://schemas.microsoft.com/office/2006/metadata/properties" xmlns:ns3="c35d9128-0199-448a-8954-7c37adaffeb5" xmlns:ns4="a6f08481-6c03-4d4f-8c55-15386435109c" targetNamespace="http://schemas.microsoft.com/office/2006/metadata/properties" ma:root="true" ma:fieldsID="2d0b0b793b54908d3c23faa78937d367" ns3:_="" ns4:_="">
    <xsd:import namespace="c35d9128-0199-448a-8954-7c37adaffeb5"/>
    <xsd:import namespace="a6f08481-6c03-4d4f-8c55-15386435109c"/>
    <xsd:element name="properties">
      <xsd:complexType>
        <xsd:sequence>
          <xsd:element name="documentManagement">
            <xsd:complexType>
              <xsd:all>
                <xsd:element ref="ns3:MediaServiceMetadata" minOccurs="0"/>
                <xsd:element ref="ns3:MediaServiceFastMetadata" minOccurs="0"/>
                <xsd:element ref="ns3:MediaServiceDateTaken" minOccurs="0"/>
                <xsd:element ref="ns3:MediaServiceAutoTags" minOccurs="0"/>
                <xsd:element ref="ns3:MediaServiceLocation" minOccurs="0"/>
                <xsd:element ref="ns3:MediaServiceOCR" minOccurs="0"/>
                <xsd:element ref="ns3:MediaServiceAutoKeyPoints" minOccurs="0"/>
                <xsd:element ref="ns3:MediaServiceKeyPoints" minOccurs="0"/>
                <xsd:element ref="ns3:MediaServiceGenerationTime" minOccurs="0"/>
                <xsd:element ref="ns3:MediaServiceEventHashCode" minOccurs="0"/>
                <xsd:element ref="ns4:SharedWithUsers" minOccurs="0"/>
                <xsd:element ref="ns4:SharedWithDetails" minOccurs="0"/>
                <xsd:element ref="ns4:SharingHintHash"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c35d9128-0199-448a-8954-7c37adaffeb5"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Tags" ma:index="11" nillable="true" ma:displayName="Tags" ma:internalName="MediaServiceAutoTags" ma:readOnly="true">
      <xsd:simpleType>
        <xsd:restriction base="dms:Text"/>
      </xsd:simpleType>
    </xsd:element>
    <xsd:element name="MediaServiceLocation" ma:index="12" nillable="true" ma:displayName="Location" ma:internalName="MediaServiceLocation" ma:readOnly="true">
      <xsd:simpleType>
        <xsd:restriction base="dms:Text"/>
      </xsd:simpleType>
    </xsd:element>
    <xsd:element name="MediaServiceOCR" ma:index="13" nillable="true" ma:displayName="Extracted Text" ma:internalName="MediaServiceOCR" ma:readOnly="true">
      <xsd:simpleType>
        <xsd:restriction base="dms:Note">
          <xsd:maxLength value="255"/>
        </xsd:restriction>
      </xsd:simpleType>
    </xsd:element>
    <xsd:element name="MediaServiceAutoKeyPoints" ma:index="14" nillable="true" ma:displayName="MediaServiceAutoKeyPoints" ma:hidden="true" ma:internalName="MediaServiceAutoKeyPoints" ma:readOnly="true">
      <xsd:simpleType>
        <xsd:restriction base="dms:Note"/>
      </xsd:simpleType>
    </xsd:element>
    <xsd:element name="MediaServiceKeyPoints" ma:index="15" nillable="true" ma:displayName="KeyPoints" ma:internalName="MediaServiceKeyPoints" ma:readOnly="true">
      <xsd:simpleType>
        <xsd:restriction base="dms:Note">
          <xsd:maxLength value="255"/>
        </xsd:restrictio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a6f08481-6c03-4d4f-8c55-15386435109c" elementFormDefault="qualified">
    <xsd:import namespace="http://schemas.microsoft.com/office/2006/documentManagement/types"/>
    <xsd:import namespace="http://schemas.microsoft.com/office/infopath/2007/PartnerControls"/>
    <xsd:element name="SharedWithUsers" ma:index="1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9" nillable="true" ma:displayName="Shared With Details" ma:internalName="SharedWithDetails" ma:readOnly="true">
      <xsd:simpleType>
        <xsd:restriction base="dms:Note">
          <xsd:maxLength value="255"/>
        </xsd:restriction>
      </xsd:simpleType>
    </xsd:element>
    <xsd:element name="SharingHintHash" ma:index="20"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8C19292C-02CA-454B-826A-C373CCBD4BE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c35d9128-0199-448a-8954-7c37adaffeb5"/>
    <ds:schemaRef ds:uri="a6f08481-6c03-4d4f-8c55-15386435109c"/>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2064AA88-9994-4773-9B46-6F25641ADC01}">
  <ds:schemaRefs>
    <ds:schemaRef ds:uri="http://schemas.microsoft.com/office/2006/metadata/properties"/>
    <ds:schemaRef ds:uri="http://purl.org/dc/elements/1.1/"/>
    <ds:schemaRef ds:uri="c35d9128-0199-448a-8954-7c37adaffeb5"/>
    <ds:schemaRef ds:uri="http://purl.org/dc/terms/"/>
    <ds:schemaRef ds:uri="http://schemas.openxmlformats.org/package/2006/metadata/core-properties"/>
    <ds:schemaRef ds:uri="http://purl.org/dc/dcmitype/"/>
    <ds:schemaRef ds:uri="http://schemas.microsoft.com/office/infopath/2007/PartnerControls"/>
    <ds:schemaRef ds:uri="http://schemas.microsoft.com/office/2006/documentManagement/types"/>
    <ds:schemaRef ds:uri="a6f08481-6c03-4d4f-8c55-15386435109c"/>
    <ds:schemaRef ds:uri="http://www.w3.org/XML/1998/namespace"/>
  </ds:schemaRefs>
</ds:datastoreItem>
</file>

<file path=customXml/itemProps3.xml><?xml version="1.0" encoding="utf-8"?>
<ds:datastoreItem xmlns:ds="http://schemas.openxmlformats.org/officeDocument/2006/customXml" ds:itemID="{FCC3BB52-6112-4A90-B1AF-BB2849B50567}">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blank</Template>
  <TotalTime>1373</TotalTime>
  <Words>2324</Words>
  <Application>Microsoft Office PowerPoint</Application>
  <PresentationFormat>宽屏</PresentationFormat>
  <Paragraphs>202</Paragraphs>
  <Slides>9</Slides>
  <Notes>8</Notes>
  <HiddenSlides>0</HiddenSlides>
  <MMClips>0</MMClips>
  <ScaleCrop>false</ScaleCrop>
  <HeadingPairs>
    <vt:vector size="8" baseType="variant">
      <vt:variant>
        <vt:lpstr>已用的字体</vt:lpstr>
      </vt:variant>
      <vt:variant>
        <vt:i4>5</vt:i4>
      </vt:variant>
      <vt:variant>
        <vt:lpstr>主题</vt:lpstr>
      </vt:variant>
      <vt:variant>
        <vt:i4>1</vt:i4>
      </vt:variant>
      <vt:variant>
        <vt:lpstr>嵌入 OLE 服务器</vt:lpstr>
      </vt:variant>
      <vt:variant>
        <vt:i4>1</vt:i4>
      </vt:variant>
      <vt:variant>
        <vt:lpstr>幻灯片标题</vt:lpstr>
      </vt:variant>
      <vt:variant>
        <vt:i4>9</vt:i4>
      </vt:variant>
    </vt:vector>
  </HeadingPairs>
  <TitlesOfParts>
    <vt:vector size="16" baseType="lpstr">
      <vt:lpstr>BlinkMacSystemFont</vt:lpstr>
      <vt:lpstr>微软雅黑</vt:lpstr>
      <vt:lpstr>Arial</vt:lpstr>
      <vt:lpstr>Calibri</vt:lpstr>
      <vt:lpstr>Wingdings</vt:lpstr>
      <vt:lpstr>Takeda Slide Master</vt:lpstr>
      <vt:lpstr>think-cell 幻灯片</vt:lpstr>
      <vt:lpstr>注射用维拉苷酶α （维葡瑞®）</vt:lpstr>
      <vt:lpstr>目录</vt:lpstr>
      <vt:lpstr>基本信息</vt:lpstr>
      <vt:lpstr>基本信息</vt:lpstr>
      <vt:lpstr>公平性</vt:lpstr>
      <vt:lpstr>安全性</vt:lpstr>
      <vt:lpstr>有效性</vt:lpstr>
      <vt:lpstr>有效性</vt:lpstr>
      <vt:lpstr>创新性</vt:lpstr>
    </vt:vector>
  </TitlesOfParts>
  <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akeda  PowerPoint Template</dc:title>
  <dc:subject/>
  <dc:creator>Jiang, Abi</dc:creator>
  <cp:keywords/>
  <dc:description/>
  <cp:lastModifiedBy>Sheng, Yanan</cp:lastModifiedBy>
  <cp:revision>29</cp:revision>
  <cp:lastPrinted>2022-07-13T03:55:17Z</cp:lastPrinted>
  <dcterms:created xsi:type="dcterms:W3CDTF">2021-09-13T09:25:45Z</dcterms:created>
  <dcterms:modified xsi:type="dcterms:W3CDTF">2023-07-14T03:45:23Z</dcterms:modified>
  <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6E788AB4271D2F4B82540158621652FA</vt:lpwstr>
  </property>
</Properties>
</file>